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2.xml" ContentType="application/vnd.openxmlformats-officedocument.theme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theme/theme3.xml" ContentType="application/vnd.openxmlformats-officedocument.theme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5.xml" ContentType="application/vnd.openxmlformats-officedocument.presentationml.notesSlide+xml"/>
  <Override PartName="/ppt/charts/chartEx1.xml" ContentType="application/vnd.ms-office.chartex+xml"/>
  <Override PartName="/ppt/charts/style4.xml" ContentType="application/vnd.ms-office.chartstyle+xml"/>
  <Override PartName="/ppt/charts/colors4.xml" ContentType="application/vnd.ms-office.chartcolorstyle+xml"/>
  <Override PartName="/ppt/notesSlides/notesSlide16.xml" ContentType="application/vnd.openxmlformats-officedocument.presentationml.notesSlide+xml"/>
  <Override PartName="/ppt/charts/chartEx2.xml" ContentType="application/vnd.ms-office.chartex+xml"/>
  <Override PartName="/ppt/charts/style5.xml" ContentType="application/vnd.ms-office.chartstyle+xml"/>
  <Override PartName="/ppt/charts/colors5.xml" ContentType="application/vnd.ms-office.chartcolorstyle+xml"/>
  <Override PartName="/ppt/charts/chartEx3.xml" ContentType="application/vnd.ms-office.chartex+xml"/>
  <Override PartName="/ppt/charts/style6.xml" ContentType="application/vnd.ms-office.chartstyle+xml"/>
  <Override PartName="/ppt/charts/colors6.xml" ContentType="application/vnd.ms-office.chartcolorstyle+xml"/>
  <Override PartName="/ppt/charts/chartEx4.xml" ContentType="application/vnd.ms-office.chartex+xml"/>
  <Override PartName="/ppt/charts/style7.xml" ContentType="application/vnd.ms-office.chartstyle+xml"/>
  <Override PartName="/ppt/charts/colors7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charts/chartEx5.xml" ContentType="application/vnd.ms-office.chartex+xml"/>
  <Override PartName="/ppt/charts/style8.xml" ContentType="application/vnd.ms-office.chartstyle+xml"/>
  <Override PartName="/ppt/charts/colors8.xml" ContentType="application/vnd.ms-office.chartcolorstyl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2" r:id="rId4"/>
    <p:sldMasterId id="2147483701" r:id="rId5"/>
    <p:sldMasterId id="2147483745" r:id="rId6"/>
    <p:sldMasterId id="2147483783" r:id="rId7"/>
  </p:sldMasterIdLst>
  <p:notesMasterIdLst>
    <p:notesMasterId r:id="rId41"/>
  </p:notesMasterIdLst>
  <p:handoutMasterIdLst>
    <p:handoutMasterId r:id="rId42"/>
  </p:handoutMasterIdLst>
  <p:sldIdLst>
    <p:sldId id="3824" r:id="rId8"/>
    <p:sldId id="4063" r:id="rId9"/>
    <p:sldId id="318" r:id="rId10"/>
    <p:sldId id="3922" r:id="rId11"/>
    <p:sldId id="3870" r:id="rId12"/>
    <p:sldId id="3842" r:id="rId13"/>
    <p:sldId id="3843" r:id="rId14"/>
    <p:sldId id="355" r:id="rId15"/>
    <p:sldId id="4000" r:id="rId16"/>
    <p:sldId id="356" r:id="rId17"/>
    <p:sldId id="4107" r:id="rId18"/>
    <p:sldId id="3875" r:id="rId19"/>
    <p:sldId id="4008" r:id="rId20"/>
    <p:sldId id="4108" r:id="rId21"/>
    <p:sldId id="3920" r:id="rId22"/>
    <p:sldId id="3907" r:id="rId23"/>
    <p:sldId id="3908" r:id="rId24"/>
    <p:sldId id="4069" r:id="rId25"/>
    <p:sldId id="416" r:id="rId26"/>
    <p:sldId id="4022" r:id="rId27"/>
    <p:sldId id="3909" r:id="rId28"/>
    <p:sldId id="4017" r:id="rId29"/>
    <p:sldId id="3917" r:id="rId30"/>
    <p:sldId id="4025" r:id="rId31"/>
    <p:sldId id="257" r:id="rId32"/>
    <p:sldId id="3918" r:id="rId33"/>
    <p:sldId id="4078" r:id="rId34"/>
    <p:sldId id="4071" r:id="rId35"/>
    <p:sldId id="4080" r:id="rId36"/>
    <p:sldId id="4081" r:id="rId37"/>
    <p:sldId id="4082" r:id="rId38"/>
    <p:sldId id="4010" r:id="rId39"/>
    <p:sldId id="4113" r:id="rId40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CFCC186-0CDF-E61B-7975-6D78C35078C3}" name="Scott Dowell" initials="SD" userId="S::Scott.Dowell@gatesfoundation.org::dbe9ee4b-bcd1-49d1-9738-507b28716621" providerId="AD"/>
  <p188:author id="{C4BF21B0-5299-A2F8-BFC6-7DBEBF0104F7}" name="Blau, Dianna M. (CDC/DDPHSIS/CGH/OD)" initials="BDM(" userId="S::bvv1@cdc.gov::c31f6c50-03c4-46ea-ab08-7be174c771bc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lau, Dianna M. (CDC/DDPHSIS/CGH/OD)" initials="BDM(" lastIdx="15" clrIdx="0">
    <p:extLst>
      <p:ext uri="{19B8F6BF-5375-455C-9EA6-DF929625EA0E}">
        <p15:presenceInfo xmlns:p15="http://schemas.microsoft.com/office/powerpoint/2012/main" userId="S::bvv1@cdc.gov::c31f6c50-03c4-46ea-ab08-7be174c771bc" providerId="AD"/>
      </p:ext>
    </p:extLst>
  </p:cmAuthor>
  <p:cmAuthor id="2" name="Whitney, Cynthia" initials="WC" lastIdx="15" clrIdx="1">
    <p:extLst>
      <p:ext uri="{19B8F6BF-5375-455C-9EA6-DF929625EA0E}">
        <p15:presenceInfo xmlns:p15="http://schemas.microsoft.com/office/powerpoint/2012/main" userId="S::cwhitne@emory.edu::49ac2f5a-6bca-49ed-8831-318800766cb0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55DC6"/>
    <a:srgbClr val="93D500"/>
    <a:srgbClr val="4C9C2E"/>
    <a:srgbClr val="CCCCFF"/>
    <a:srgbClr val="00A7E1"/>
    <a:srgbClr val="99CCFF"/>
    <a:srgbClr val="6699FF"/>
    <a:srgbClr val="EBE717"/>
    <a:srgbClr val="F4436C"/>
    <a:srgbClr val="D0CFC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1E171933-4619-4E11-9A3F-F7608DF75F80}" styleName="Medium Style 1 - Accent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4"/>
              </a:solidFill>
            </a:ln>
          </a:left>
          <a:right>
            <a:ln w="12700" cmpd="sng">
              <a:solidFill>
                <a:schemeClr val="accent4"/>
              </a:solidFill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 w="12700" cmpd="sng">
              <a:solidFill>
                <a:schemeClr val="accent4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4">
              <a:tint val="20000"/>
            </a:schemeClr>
          </a:solidFill>
        </a:fill>
      </a:tcStyle>
    </a:band1H>
    <a:band1V>
      <a:tcStyle>
        <a:tcBdr/>
        <a:fill>
          <a:solidFill>
            <a:schemeClr val="accent4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46F890A9-2807-4EBB-B81D-B2AA78EC7F39}" styleName="Dark Style 2 - Accent 5/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59" d="100"/>
          <a:sy n="59" d="100"/>
        </p:scale>
        <p:origin x="1072" y="5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6.xml"/><Relationship Id="rId18" Type="http://schemas.openxmlformats.org/officeDocument/2006/relationships/slide" Target="slides/slide11.xml"/><Relationship Id="rId26" Type="http://schemas.openxmlformats.org/officeDocument/2006/relationships/slide" Target="slides/slide19.xml"/><Relationship Id="rId39" Type="http://schemas.openxmlformats.org/officeDocument/2006/relationships/slide" Target="slides/slide32.xml"/><Relationship Id="rId21" Type="http://schemas.openxmlformats.org/officeDocument/2006/relationships/slide" Target="slides/slide14.xml"/><Relationship Id="rId34" Type="http://schemas.openxmlformats.org/officeDocument/2006/relationships/slide" Target="slides/slide27.xml"/><Relationship Id="rId42" Type="http://schemas.openxmlformats.org/officeDocument/2006/relationships/handoutMaster" Target="handoutMasters/handout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9" Type="http://schemas.openxmlformats.org/officeDocument/2006/relationships/slide" Target="slides/slide2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slide" Target="slides/slide17.xml"/><Relationship Id="rId32" Type="http://schemas.openxmlformats.org/officeDocument/2006/relationships/slide" Target="slides/slide25.xml"/><Relationship Id="rId37" Type="http://schemas.openxmlformats.org/officeDocument/2006/relationships/slide" Target="slides/slide30.xml"/><Relationship Id="rId40" Type="http://schemas.openxmlformats.org/officeDocument/2006/relationships/slide" Target="slides/slide33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slide" Target="slides/slide16.xml"/><Relationship Id="rId28" Type="http://schemas.openxmlformats.org/officeDocument/2006/relationships/slide" Target="slides/slide21.xml"/><Relationship Id="rId36" Type="http://schemas.openxmlformats.org/officeDocument/2006/relationships/slide" Target="slides/slide29.xml"/><Relationship Id="rId10" Type="http://schemas.openxmlformats.org/officeDocument/2006/relationships/slide" Target="slides/slide3.xml"/><Relationship Id="rId19" Type="http://schemas.openxmlformats.org/officeDocument/2006/relationships/slide" Target="slides/slide12.xml"/><Relationship Id="rId31" Type="http://schemas.openxmlformats.org/officeDocument/2006/relationships/slide" Target="slides/slide24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slide" Target="slides/slide15.xml"/><Relationship Id="rId27" Type="http://schemas.openxmlformats.org/officeDocument/2006/relationships/slide" Target="slides/slide20.xml"/><Relationship Id="rId30" Type="http://schemas.openxmlformats.org/officeDocument/2006/relationships/slide" Target="slides/slide23.xml"/><Relationship Id="rId35" Type="http://schemas.openxmlformats.org/officeDocument/2006/relationships/slide" Target="slides/slide28.xml"/><Relationship Id="rId43" Type="http://schemas.openxmlformats.org/officeDocument/2006/relationships/commentAuthors" Target="commentAuthors.xml"/><Relationship Id="rId48" Type="http://schemas.microsoft.com/office/2018/10/relationships/authors" Target="authors.xml"/><Relationship Id="rId8" Type="http://schemas.openxmlformats.org/officeDocument/2006/relationships/slide" Target="slides/slide1.xml"/><Relationship Id="rId3" Type="http://schemas.openxmlformats.org/officeDocument/2006/relationships/customXml" Target="../customXml/item3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slide" Target="slides/slide18.xml"/><Relationship Id="rId33" Type="http://schemas.openxmlformats.org/officeDocument/2006/relationships/slide" Target="slides/slide26.xml"/><Relationship Id="rId38" Type="http://schemas.openxmlformats.org/officeDocument/2006/relationships/slide" Target="slides/slide31.xml"/><Relationship Id="rId46" Type="http://schemas.openxmlformats.org/officeDocument/2006/relationships/theme" Target="theme/theme1.xml"/><Relationship Id="rId20" Type="http://schemas.openxmlformats.org/officeDocument/2006/relationships/slide" Target="slides/slide13.xml"/><Relationship Id="rId41" Type="http://schemas.openxmlformats.org/officeDocument/2006/relationships/notesMaster" Target="notesMasters/notesMaster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Ex1.xml.rels><?xml version="1.0" encoding="UTF-8" standalone="yes"?>
<Relationships xmlns="http://schemas.openxmlformats.org/package/2006/relationships"><Relationship Id="rId3" Type="http://schemas.microsoft.com/office/2011/relationships/chartColorStyle" Target="colors4.xml"/><Relationship Id="rId2" Type="http://schemas.microsoft.com/office/2011/relationships/chartStyle" Target="style4.xml"/><Relationship Id="rId1" Type="http://schemas.openxmlformats.org/officeDocument/2006/relationships/package" Target="../embeddings/Microsoft_Excel_Worksheet3.xlsx"/></Relationships>
</file>

<file path=ppt/charts/_rels/chartEx2.xml.rels><?xml version="1.0" encoding="UTF-8" standalone="yes"?>
<Relationships xmlns="http://schemas.openxmlformats.org/package/2006/relationships"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Ex3.xml.rels><?xml version="1.0" encoding="UTF-8" standalone="yes"?>
<Relationships xmlns="http://schemas.openxmlformats.org/package/2006/relationships"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Ex4.xml.rels><?xml version="1.0" encoding="UTF-8" standalone="yes"?>
<Relationships xmlns="http://schemas.openxmlformats.org/package/2006/relationships"><Relationship Id="rId3" Type="http://schemas.microsoft.com/office/2011/relationships/chartColorStyle" Target="colors7.xml"/><Relationship Id="rId2" Type="http://schemas.microsoft.com/office/2011/relationships/chartStyle" Target="style7.xml"/><Relationship Id="rId1" Type="http://schemas.openxmlformats.org/officeDocument/2006/relationships/oleObject" Target="https://cdc-my.sharepoint.com/personal/bvv1_cdc_gov/Documents/+My_Documents/CHAMPS/0000%20All%20analyses/April%202021/Neonate%20UC%20breakdown_April2021.xlsx" TargetMode="External"/></Relationships>
</file>

<file path=ppt/charts/_rels/chartEx5.xml.rels><?xml version="1.0" encoding="UTF-8" standalone="yes"?>
<Relationships xmlns="http://schemas.openxmlformats.org/package/2006/relationships"><Relationship Id="rId3" Type="http://schemas.microsoft.com/office/2011/relationships/chartColorStyle" Target="colors8.xml"/><Relationship Id="rId2" Type="http://schemas.microsoft.com/office/2011/relationships/chartStyle" Target="style8.xml"/><Relationship Id="rId1" Type="http://schemas.openxmlformats.org/officeDocument/2006/relationships/oleObject" Target="https://cdc-my.sharepoint.com/personal/bvv1_cdc_gov/Documents/+My_Documents/CHAMPS/0000%20All%20analyses/April%202021/Neonate%20UC%20breakdown_April2021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6AC4-A54C-B444-E636984BB02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2-CD97-4052-8E01-8EFD2080D2E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6AC4-A54C-B444-E636984BB02F}"/>
              </c:ext>
            </c:extLst>
          </c:dPt>
          <c:dLbls>
            <c:dLbl>
              <c:idx val="0"/>
              <c:layout>
                <c:manualLayout>
                  <c:x val="-0.2183930858509455"/>
                  <c:y val="0.11676305723412481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6AC4-A54C-B444-E636984BB02F}"/>
                </c:ext>
              </c:extLst>
            </c:dLbl>
            <c:dLbl>
              <c:idx val="1"/>
              <c:layout>
                <c:manualLayout>
                  <c:x val="0.12156084073373338"/>
                  <c:y val="-0.19529771714582189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43614728823953"/>
                      <c:h val="0.2515692079187776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2-CD97-4052-8E01-8EFD2080D2E7}"/>
                </c:ext>
              </c:extLst>
            </c:dLbl>
            <c:dLbl>
              <c:idx val="2"/>
              <c:layout>
                <c:manualLayout>
                  <c:x val="0.22453836056968107"/>
                  <c:y val="0.2114954017375735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6AC4-A54C-B444-E636984BB0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ato" panose="020F0502020204030203" pitchFamily="34" charset="77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tillbirth</c:v>
                </c:pt>
                <c:pt idx="1">
                  <c:v>Neonates</c:v>
                </c:pt>
                <c:pt idx="2">
                  <c:v>1-59m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3271</c:v>
                </c:pt>
                <c:pt idx="1">
                  <c:v>3472</c:v>
                </c:pt>
                <c:pt idx="2">
                  <c:v>266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D97-4052-8E01-8EFD2080D2E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latin typeface="Lato" panose="020F0502020204030203" pitchFamily="34" charset="77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7109-405B-B875-C5585E92EC2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7109-405B-B875-C5585E92EC2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7109-405B-B875-C5585E92EC2F}"/>
              </c:ext>
            </c:extLst>
          </c:dPt>
          <c:dLbls>
            <c:dLbl>
              <c:idx val="0"/>
              <c:layout>
                <c:manualLayout>
                  <c:x val="-0.22351914539995835"/>
                  <c:y val="0.13690232761602475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7109-405B-B875-C5585E92EC2F}"/>
                </c:ext>
              </c:extLst>
            </c:dLbl>
            <c:dLbl>
              <c:idx val="1"/>
              <c:layout>
                <c:manualLayout>
                  <c:x val="0.15085260958523547"/>
                  <c:y val="-0.19368285723005554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43614728823953"/>
                      <c:h val="0.2483392337585708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7109-405B-B875-C5585E92EC2F}"/>
                </c:ext>
              </c:extLst>
            </c:dLbl>
            <c:dLbl>
              <c:idx val="2"/>
              <c:layout>
                <c:manualLayout>
                  <c:x val="0.21460810496324811"/>
                  <c:y val="0.20711535331339392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7109-405B-B875-C5585E92EC2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ato" panose="020F0502020204030203" pitchFamily="34" charset="0"/>
                    <a:ea typeface="Lato" panose="020F0502020204030203" pitchFamily="34" charset="0"/>
                    <a:cs typeface="Lato" panose="020F050202020403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tillbirth</c:v>
                </c:pt>
                <c:pt idx="1">
                  <c:v>Neonates</c:v>
                </c:pt>
                <c:pt idx="2">
                  <c:v>1-59m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864</c:v>
                </c:pt>
                <c:pt idx="1">
                  <c:v>2083</c:v>
                </c:pt>
                <c:pt idx="2">
                  <c:v>135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109-405B-B875-C5585E92EC2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Column1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9187-45A8-A993-CBCC6437FB3C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9187-45A8-A993-CBCC6437FB3C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9187-45A8-A993-CBCC6437FB3C}"/>
              </c:ext>
            </c:extLst>
          </c:dPt>
          <c:dLbls>
            <c:dLbl>
              <c:idx val="0"/>
              <c:layout>
                <c:manualLayout>
                  <c:x val="-0.24203892391728282"/>
                  <c:y val="0.12651935949866733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187-45A8-A993-CBCC6437FB3C}"/>
                </c:ext>
              </c:extLst>
            </c:dLbl>
            <c:dLbl>
              <c:idx val="1"/>
              <c:layout>
                <c:manualLayout>
                  <c:x val="0.16256931712583622"/>
                  <c:y val="-0.16945792386416814"/>
                </c:manualLayout>
              </c:layout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943614728823953"/>
                      <c:h val="0.287098923681051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9187-45A8-A993-CBCC6437FB3C}"/>
                </c:ext>
              </c:extLst>
            </c:dLbl>
            <c:dLbl>
              <c:idx val="2"/>
              <c:layout>
                <c:manualLayout>
                  <c:x val="0.19141225304674758"/>
                  <c:y val="0.22845963295285765"/>
                </c:manualLayout>
              </c:layout>
              <c:tx>
                <c:rich>
                  <a:bodyPr/>
                  <a:lstStyle/>
                  <a:p>
                    <a:fld id="{8C2123BC-8059-4606-868C-E4EEE62FFE5B}" type="CATEGORYNAME">
                      <a:rPr lang="en-US"/>
                      <a:pPr/>
                      <a:t>[CATEGORY NAME]</a:t>
                    </a:fld>
                    <a:r>
                      <a:rPr lang="en-US" baseline="0"/>
                      <a:t>, </a:t>
                    </a:r>
                    <a:fld id="{FE7E52BE-7909-4501-91C1-D6AD6A417F70}" type="VALUE">
                      <a:rPr lang="en-US" baseline="0"/>
                      <a:pPr/>
                      <a:t>[VALUE]</a:t>
                    </a:fld>
                    <a:r>
                      <a:rPr lang="en-US" baseline="0"/>
                      <a:t>, </a:t>
                    </a:r>
                  </a:p>
                  <a:p>
                    <a:fld id="{0A08CB97-E368-427C-8C66-EDFF61D52273}" type="PERCENTAGE">
                      <a:rPr lang="en-US" baseline="0" smtClean="0"/>
                      <a:pPr/>
                      <a:t>[PERCENTAGE]</a:t>
                    </a:fld>
                    <a:endParaRPr lang="en-GB"/>
                  </a:p>
                </c:rich>
              </c:tx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9187-45A8-A993-CBCC6437FB3C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Lato" panose="020F0502020204030203" pitchFamily="34" charset="0"/>
                    <a:ea typeface="Lato" panose="020F0502020204030203" pitchFamily="34" charset="0"/>
                    <a:cs typeface="Lato" panose="020F0502020204030203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Stillbirth</c:v>
                </c:pt>
                <c:pt idx="1">
                  <c:v>Neonates</c:v>
                </c:pt>
                <c:pt idx="2">
                  <c:v>1-59mo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1294</c:v>
                </c:pt>
                <c:pt idx="1">
                  <c:v>1433</c:v>
                </c:pt>
                <c:pt idx="2">
                  <c:v>94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9187-45A8-A993-CBCC6437FB3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 b="1">
          <a:latin typeface="Lato" panose="020F0502020204030203" pitchFamily="34" charset="0"/>
          <a:ea typeface="Lato" panose="020F0502020204030203" pitchFamily="34" charset="0"/>
          <a:cs typeface="Lato" panose="020F0502020204030203" pitchFamily="34" charset="0"/>
        </a:defRPr>
      </a:pPr>
      <a:endParaRPr lang="en-US"/>
    </a:p>
  </c:txPr>
  <c:externalData r:id="rId3">
    <c:autoUpdate val="0"/>
  </c:externalData>
</c:chartSpace>
</file>

<file path=ppt/charts/chartEx1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Sheet1!$A$2:$B$10</cx:f>
        <cx:lvl ptCount="9">
          <cx:pt idx="0">Infection/Sepsis</cx:pt>
          <cx:pt idx="1">Syphilis</cx:pt>
          <cx:pt idx="2">Perinatal asphyxia/hypoxia</cx:pt>
          <cx:pt idx="3">Other</cx:pt>
          <cx:pt idx="4">Placental complications</cx:pt>
          <cx:pt idx="5">Umbilical cord complications</cx:pt>
          <cx:pt idx="6">Congenital birth defects</cx:pt>
          <cx:pt idx="7">Poisoning</cx:pt>
          <cx:pt idx="8">Undetermined</cx:pt>
        </cx:lvl>
        <cx:lvl ptCount="9">
          <cx:pt idx="0">Communicable</cx:pt>
          <cx:pt idx="1">Communicable</cx:pt>
          <cx:pt idx="2">Maternal, Neonatal, Nutritional</cx:pt>
          <cx:pt idx="3">Maternal, Neonatal, Nutritional</cx:pt>
          <cx:pt idx="4">Maternal, Neonatal, Nutritional</cx:pt>
          <cx:pt idx="5">Maternal, Neonatal, Nutritional</cx:pt>
          <cx:pt idx="6">Noncommunicable</cx:pt>
          <cx:pt idx="7">Noncommunicable</cx:pt>
          <cx:pt idx="8">Undetermined</cx:pt>
        </cx:lvl>
        <cx:lvl ptCount="0"/>
      </cx:strDim>
      <cx:numDim type="size">
        <cx:f>Sheet1!$C$2:$C$10</cx:f>
        <cx:lvl ptCount="9" formatCode="General">
          <cx:pt idx="0">114</cx:pt>
          <cx:pt idx="1">7</cx:pt>
          <cx:pt idx="2">975</cx:pt>
          <cx:pt idx="3">42</cx:pt>
          <cx:pt idx="4">5</cx:pt>
          <cx:pt idx="5">1</cx:pt>
          <cx:pt idx="6">93</cx:pt>
          <cx:pt idx="7">1</cx:pt>
          <cx:pt idx="8">56</cx:pt>
        </cx:lvl>
      </cx:numDim>
    </cx:data>
  </cx:chartData>
  <cx:chart>
    <cx:plotArea>
      <cx:plotAreaRegion>
        <cx:series layoutId="treemap" uniqueId="{EAD55BBC-CBE4-4C69-BC76-628EAC0A4F19}">
          <cx:tx>
            <cx:txData>
              <cx:f>Sheet1!$C$1</cx:f>
              <cx:v>Series1</cx:v>
            </cx:txData>
          </cx:tx>
          <cx:dataLabels pos="inEnd">
            <cx:txPr>
              <a:bodyPr vertOverflow="overflow" horzOverflow="overflow" wrap="square" lIns="0" tIns="0" rIns="0" bIns="0"/>
              <a:lstStyle/>
              <a:p>
                <a:pPr algn="ctr" rtl="0">
                  <a:defRPr sz="2000" b="0" i="0">
                    <a:solidFill>
                      <a:srgbClr val="FFFFFF"/>
                    </a:solidFill>
                    <a:latin typeface="Lato" panose="020F0502020204030203"/>
                    <a:ea typeface="Lato" panose="020F0502020204030203"/>
                    <a:cs typeface="Lato" panose="020F0502020204030203"/>
                  </a:defRPr>
                </a:pPr>
                <a:endParaRPr lang="en-US" sz="2000">
                  <a:latin typeface="Lato" panose="020F0502020204030203"/>
                </a:endParaRPr>
              </a:p>
            </cx:txPr>
            <cx:visibility seriesName="0" categoryName="1" value="0"/>
            <cx:separator>, </cx:separator>
            <cx:dataLabel idx="6">
              <cx:txPr>
                <a:bodyPr vertOverflow="overflow" horzOverflow="overflow" wrap="square" lIns="0" tIns="0" rIns="0" bIns="0"/>
                <a:lstStyle/>
                <a:p>
                  <a:pPr algn="ctr" rtl="0">
                    <a:defRPr sz="1400"/>
                  </a:pPr>
                  <a:r>
                    <a:rPr lang="en-US" sz="1400">
                      <a:latin typeface="Lato" panose="020F0502020204030203"/>
                    </a:rPr>
                    <a:t>Placental complications</a:t>
                  </a:r>
                </a:p>
              </cx:txPr>
              <cx:visibility seriesName="0" categoryName="1" value="0"/>
              <cx:separator>, </cx:separator>
            </cx:dataLabel>
            <cx:dataLabel idx="7">
              <cx:txPr>
                <a:bodyPr vertOverflow="overflow" horzOverflow="overflow" wrap="square" lIns="0" tIns="0" rIns="0" bIns="0"/>
                <a:lstStyle/>
                <a:p>
                  <a:pPr algn="ctr" rtl="0">
                    <a:defRPr sz="1400"/>
                  </a:pPr>
                  <a:r>
                    <a:rPr lang="en-US" sz="1400">
                      <a:latin typeface="Lato" panose="020F0502020204030203"/>
                    </a:rPr>
                    <a:t>Umbilical cord complications</a:t>
                  </a:r>
                </a:p>
              </cx:txPr>
              <cx:visibility seriesName="0" categoryName="1" value="0"/>
              <cx:separator>, </cx:separator>
            </cx:dataLabel>
            <cx:dataLabel idx="9">
              <cx:txPr>
                <a:bodyPr vertOverflow="overflow" horzOverflow="overflow" wrap="square" lIns="0" tIns="0" rIns="0" bIns="0"/>
                <a:lstStyle/>
                <a:p>
                  <a:pPr algn="ctr" rtl="0">
                    <a:defRPr sz="1800"/>
                  </a:pPr>
                  <a:r>
                    <a:rPr lang="en-US" sz="1800">
                      <a:latin typeface="Lato" panose="020F0502020204030203"/>
                    </a:rPr>
                    <a:t>Congenital birth defects</a:t>
                  </a:r>
                </a:p>
              </cx:txPr>
              <cx:visibility seriesName="0" categoryName="1" value="0"/>
              <cx:separator>, </cx:separator>
            </cx:dataLabel>
            <cx:dataLabel idx="12">
              <cx:txPr>
                <a:bodyPr vertOverflow="overflow" horzOverflow="overflow" wrap="square" lIns="0" tIns="0" rIns="0" bIns="0"/>
                <a:lstStyle/>
                <a:p>
                  <a:pPr algn="ctr" rtl="0">
                    <a:defRPr sz="2000"/>
                  </a:pPr>
                  <a:r>
                    <a:rPr lang="en-US" sz="2000">
                      <a:latin typeface="Lato" panose="020F0502020204030203"/>
                    </a:rPr>
                    <a:t>Undetermined</a:t>
                  </a:r>
                </a:p>
              </cx:txPr>
              <cx:visibility seriesName="0" categoryName="1" value="0"/>
              <cx:separator>, </cx:separator>
            </cx:dataLabel>
            <cx:dataLabelHidden idx="0"/>
            <cx:dataLabelHidden idx="2"/>
            <cx:dataLabelHidden idx="3"/>
            <cx:dataLabelHidden idx="5"/>
            <cx:dataLabelHidden idx="8"/>
            <cx:dataLabelHidden idx="11"/>
          </cx:dataLabels>
          <cx:dataId val="0"/>
          <cx:layoutPr>
            <cx:parentLabelLayout val="overlapping"/>
          </cx:layoutPr>
        </cx:series>
      </cx:plotAreaRegion>
    </cx:plotArea>
    <cx:legend pos="b" align="ctr" overlay="0"/>
  </cx:chart>
</cx:chartSpace>
</file>

<file path=ppt/charts/chartEx2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</cx:chart>
</cx:chartSpace>
</file>

<file path=ppt/charts/chartEx3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>
    <cx:plotArea>
      <cx:plotAreaRegion/>
    </cx:plotArea>
  </cx:chart>
</cx:chartSpace>
</file>

<file path=ppt/charts/chartEx4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all neonate'!$A$2:$B$29</cx:f>
        <cx:lvl ptCount="28">
          <cx:pt idx="0">Neonatal preterm birth complications</cx:pt>
          <cx:pt idx="1">Perinatal asphyxia/hypoxia</cx:pt>
          <cx:pt idx="2">Neonatal aspiration syndromes</cx:pt>
          <cx:pt idx="3">Other neonatal disorders</cx:pt>
          <cx:pt idx="4">Neonatal encephalopathy</cx:pt>
          <cx:pt idx="5">Umbilical cord complications</cx:pt>
          <cx:pt idx="6">Cesarean delivery</cx:pt>
          <cx:pt idx="7">Obstructed labor and fetal malpresentation</cx:pt>
          <cx:pt idx="8">Maternal hypertension</cx:pt>
          <cx:pt idx="9">Placental complications</cx:pt>
          <cx:pt idx="10">Maternal infection</cx:pt>
          <cx:pt idx="11">Neonatal sepsis</cx:pt>
          <cx:pt idx="12">Congenital infection</cx:pt>
          <cx:pt idx="13">Lower respiratory infections</cx:pt>
          <cx:pt idx="14">Meningitis/Encephalitis</cx:pt>
          <cx:pt idx="15">Chorioamnionitis and membrane complications</cx:pt>
          <cx:pt idx="16">Syphilis</cx:pt>
          <cx:pt idx="17">Diarrheal Diseases</cx:pt>
          <cx:pt idx="18">Measles</cx:pt>
          <cx:pt idx="19">HIV</cx:pt>
          <cx:pt idx="20">Other infections</cx:pt>
          <cx:pt idx="21">Congenital birth defects</cx:pt>
          <cx:pt idx="22">Other</cx:pt>
          <cx:pt idx="23">Liver disease</cx:pt>
          <cx:pt idx="24">Other endocrine, metabolic, blood, and immune disorders</cx:pt>
          <cx:pt idx="25">Injury</cx:pt>
          <cx:pt idx="26">Other disorders of fluid, electrolyte and acid-base balance</cx:pt>
          <cx:pt idx="27">Undetermined</cx:pt>
        </cx:lvl>
        <cx:lvl ptCount="28">
          <cx:pt idx="0">Maternal, Neonatal, Nutritional</cx:pt>
          <cx:pt idx="1">Maternal, Neonatal, Nutritional</cx:pt>
          <cx:pt idx="2">Maternal, Neonatal, Nutritional</cx:pt>
          <cx:pt idx="3">Maternal, Neonatal, Nutritional</cx:pt>
          <cx:pt idx="4">Maternal, Neonatal, Nutritional</cx:pt>
          <cx:pt idx="5">Maternal, Neonatal, Nutritional</cx:pt>
          <cx:pt idx="6">Maternal, Neonatal, Nutritional</cx:pt>
          <cx:pt idx="7">Maternal, Neonatal, Nutritional</cx:pt>
          <cx:pt idx="8">Maternal, Neonatal, Nutritional</cx:pt>
          <cx:pt idx="9">Maternal, Neonatal, Nutritional</cx:pt>
          <cx:pt idx="10">Maternal, Neonatal, Nutritional</cx:pt>
          <cx:pt idx="11">Communicable</cx:pt>
          <cx:pt idx="12">Communicable</cx:pt>
          <cx:pt idx="13">Communicable</cx:pt>
          <cx:pt idx="14">Communicable</cx:pt>
          <cx:pt idx="15">Communicable</cx:pt>
          <cx:pt idx="16">Communicable</cx:pt>
          <cx:pt idx="17">Communicable</cx:pt>
          <cx:pt idx="18">Communicable</cx:pt>
          <cx:pt idx="19">Communicable</cx:pt>
          <cx:pt idx="20">Communicable</cx:pt>
          <cx:pt idx="21">Noncommunicable</cx:pt>
          <cx:pt idx="22">Noncommunicable</cx:pt>
          <cx:pt idx="23">Noncommunicable</cx:pt>
          <cx:pt idx="24">Noncommunicable</cx:pt>
          <cx:pt idx="25">Noncommunicable</cx:pt>
          <cx:pt idx="26">Noncommunicable</cx:pt>
          <cx:pt idx="27">Undetermined</cx:pt>
        </cx:lvl>
      </cx:strDim>
      <cx:numDim type="size">
        <cx:f>'all neonate'!$C$2:$C$29</cx:f>
        <cx:lvl ptCount="28" formatCode="General">
          <cx:pt idx="0">528</cx:pt>
          <cx:pt idx="1">423</cx:pt>
          <cx:pt idx="2">29</cx:pt>
          <cx:pt idx="3">29</cx:pt>
          <cx:pt idx="4">15</cx:pt>
          <cx:pt idx="5">2</cx:pt>
          <cx:pt idx="6">1</cx:pt>
          <cx:pt idx="7">1</cx:pt>
          <cx:pt idx="8">2</cx:pt>
          <cx:pt idx="9">3</cx:pt>
          <cx:pt idx="10">1</cx:pt>
          <cx:pt idx="11">145</cx:pt>
          <cx:pt idx="12">55</cx:pt>
          <cx:pt idx="13">27</cx:pt>
          <cx:pt idx="14">6</cx:pt>
          <cx:pt idx="15">3</cx:pt>
          <cx:pt idx="16">7</cx:pt>
          <cx:pt idx="17">2</cx:pt>
          <cx:pt idx="18">1</cx:pt>
          <cx:pt idx="19">1</cx:pt>
          <cx:pt idx="20">3</cx:pt>
          <cx:pt idx="21">114</cx:pt>
          <cx:pt idx="22">30</cx:pt>
          <cx:pt idx="23">1</cx:pt>
          <cx:pt idx="24">1</cx:pt>
          <cx:pt idx="25">2</cx:pt>
          <cx:pt idx="26">1</cx:pt>
          <cx:pt idx="27">20</cx:pt>
        </cx:lvl>
      </cx:numDim>
    </cx:data>
  </cx:chartData>
  <cx:chart>
    <cx:plotArea>
      <cx:plotAreaRegion>
        <cx:series layoutId="treemap" uniqueId="{996404D4-308C-4F7D-9F09-409CC9BFBAC8}">
          <cx:dataPt idx="0">
            <cx:spPr>
              <a:solidFill>
                <a:srgbClr val="655DC5"/>
              </a:solidFill>
            </cx:spPr>
          </cx:dataPt>
          <cx:dataPt idx="12">
            <cx:spPr>
              <a:solidFill>
                <a:srgbClr val="F4426C"/>
              </a:solidFill>
            </cx:spPr>
          </cx:dataPt>
          <cx:dataLabels pos="inEnd">
            <cx:txPr>
              <a:bodyPr spcFirstLastPara="1" vertOverflow="ellipsis" horzOverflow="overflow" wrap="square" lIns="0" tIns="0" rIns="0" bIns="0" anchor="ctr" anchorCtr="1"/>
              <a:lstStyle/>
              <a:p>
                <a:pPr algn="ctr" rtl="0">
                  <a:defRPr sz="1600" b="0"/>
                </a:pPr>
                <a:endParaRPr lang="en-US" sz="1600" b="0" i="0" u="none" strike="noStrike" baseline="0">
                  <a:solidFill>
                    <a:srgbClr val="FFFFFF"/>
                  </a:solidFill>
                  <a:latin typeface="Arial" panose="020B0604020202020204"/>
                </a:endParaRPr>
              </a:p>
            </cx:txPr>
            <cx:visibility seriesName="0" categoryName="1" value="0"/>
            <cx:separator>, </cx:separator>
            <cx:dataLabelHidden idx="0"/>
            <cx:dataLabelHidden idx="12"/>
            <cx:dataLabelHidden idx="23"/>
            <cx:dataLabelHidden idx="30"/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hartEx5.xml><?xml version="1.0" encoding="utf-8"?>
<cx:chartSpace xmlns:a="http://schemas.openxmlformats.org/drawingml/2006/main" xmlns:r="http://schemas.openxmlformats.org/officeDocument/2006/relationships" xmlns:cx="http://schemas.microsoft.com/office/drawing/2014/chartex">
  <cx:chartData>
    <cx:externalData r:id="rId1" cx:autoUpdate="0"/>
    <cx:data id="0">
      <cx:strDim type="cat">
        <cx:f>'1-59mo'!$A$2:$B$40</cx:f>
        <cx:lvl ptCount="39">
          <cx:pt idx="0">HIV</cx:pt>
          <cx:pt idx="1">Malaria</cx:pt>
          <cx:pt idx="2">Lower respiratory infections</cx:pt>
          <cx:pt idx="3">Diarrheal Diseases</cx:pt>
          <cx:pt idx="4">Sepsis</cx:pt>
          <cx:pt idx="5">Other infections</cx:pt>
          <cx:pt idx="6">Meningitis/Encephalitis</cx:pt>
          <cx:pt idx="7">Congenital infection</cx:pt>
          <cx:pt idx="8">Measles</cx:pt>
          <cx:pt idx="9">Tuberculosis</cx:pt>
          <cx:pt idx="10">HIV exposure</cx:pt>
          <cx:pt idx="11">Syphilis</cx:pt>
          <cx:pt idx="12">Upper respiratory infections</cx:pt>
          <cx:pt idx="13">Rabies</cx:pt>
          <cx:pt idx="14">Malnutrition</cx:pt>
          <cx:pt idx="15">Neonatal preterm birth complications</cx:pt>
          <cx:pt idx="16">Other neonatal disorders</cx:pt>
          <cx:pt idx="17">Neonatal encephalopathy</cx:pt>
          <cx:pt idx="18">Congenital birth defects</cx:pt>
          <cx:pt idx="19">Injury</cx:pt>
          <cx:pt idx="20">Other respiratory disease</cx:pt>
          <cx:pt idx="21">Cancer</cx:pt>
          <cx:pt idx="22">Sudden infant death syndrome</cx:pt>
          <cx:pt idx="23">Poisoning</cx:pt>
          <cx:pt idx="24">Other neurological disorders</cx:pt>
          <cx:pt idx="25">Liver disease</cx:pt>
          <cx:pt idx="26">Other</cx:pt>
          <cx:pt idx="27">Sickle cell disorders</cx:pt>
          <cx:pt idx="28">Paralytic ileus and intestinal obstruction</cx:pt>
          <cx:pt idx="29">Other endocrine, metabolic, blood, and immune disorders</cx:pt>
          <cx:pt idx="30">Epilepsy</cx:pt>
          <cx:pt idx="31">Other skin and subcutaneous diseases</cx:pt>
          <cx:pt idx="32">Heart Diseases</cx:pt>
          <cx:pt idx="33">Diabetes</cx:pt>
          <cx:pt idx="34">Anemias</cx:pt>
          <cx:pt idx="35">Other immunodeficiencies</cx:pt>
          <cx:pt idx="36">Motor neuron disease</cx:pt>
          <cx:pt idx="37">Undetermined</cx:pt>
        </cx:lvl>
        <cx:lvl ptCount="39">
          <cx:pt idx="0">Communicable</cx:pt>
          <cx:pt idx="1">Communicable</cx:pt>
          <cx:pt idx="2">Communicable</cx:pt>
          <cx:pt idx="3">Communicable</cx:pt>
          <cx:pt idx="4">Communicable</cx:pt>
          <cx:pt idx="5">Communicable</cx:pt>
          <cx:pt idx="6">Communicable</cx:pt>
          <cx:pt idx="7">Communicable</cx:pt>
          <cx:pt idx="8">Communicable</cx:pt>
          <cx:pt idx="9">Communicable</cx:pt>
          <cx:pt idx="10">Communicable</cx:pt>
          <cx:pt idx="11">Communicable</cx:pt>
          <cx:pt idx="12">Communicable</cx:pt>
          <cx:pt idx="13">Communicable</cx:pt>
          <cx:pt idx="14">Maternal, Neonatal, Nutritional</cx:pt>
          <cx:pt idx="15">Maternal, Neonatal, Nutritional</cx:pt>
          <cx:pt idx="16">Maternal, Neonatal, Nutritional</cx:pt>
          <cx:pt idx="17">Maternal, Neonatal, Nutritional</cx:pt>
          <cx:pt idx="18">Noncommunicable</cx:pt>
          <cx:pt idx="19">Noncommunicable</cx:pt>
          <cx:pt idx="20">Noncommunicable</cx:pt>
          <cx:pt idx="21">Noncommunicable</cx:pt>
          <cx:pt idx="22">Noncommunicable</cx:pt>
          <cx:pt idx="23">Noncommunicable</cx:pt>
          <cx:pt idx="24">Noncommunicable</cx:pt>
          <cx:pt idx="25">Noncommunicable</cx:pt>
          <cx:pt idx="26">Noncommunicable</cx:pt>
          <cx:pt idx="27">Noncommunicable</cx:pt>
          <cx:pt idx="28">Noncommunicable</cx:pt>
          <cx:pt idx="29">Noncommunicable</cx:pt>
          <cx:pt idx="30">Noncommunicable</cx:pt>
          <cx:pt idx="31">Noncommunicable</cx:pt>
          <cx:pt idx="32">Noncommunicable</cx:pt>
          <cx:pt idx="33">Noncommunicable</cx:pt>
          <cx:pt idx="34">Noncommunicable</cx:pt>
          <cx:pt idx="35">Noncommunicable</cx:pt>
          <cx:pt idx="36">Noncommunicable</cx:pt>
          <cx:pt idx="37">Undetermined</cx:pt>
        </cx:lvl>
      </cx:strDim>
      <cx:numDim type="size">
        <cx:f>'1-59mo'!$C$2:$C$40</cx:f>
        <cx:lvl ptCount="39" formatCode="General">
          <cx:pt idx="0">94</cx:pt>
          <cx:pt idx="1">119</cx:pt>
          <cx:pt idx="2">90</cx:pt>
          <cx:pt idx="3">65</cx:pt>
          <cx:pt idx="4">49</cx:pt>
          <cx:pt idx="5">21</cx:pt>
          <cx:pt idx="6">6</cx:pt>
          <cx:pt idx="7">5</cx:pt>
          <cx:pt idx="8">3</cx:pt>
          <cx:pt idx="9">7</cx:pt>
          <cx:pt idx="10">1</cx:pt>
          <cx:pt idx="11">4</cx:pt>
          <cx:pt idx="12">2</cx:pt>
          <cx:pt idx="13">1</cx:pt>
          <cx:pt idx="14">172</cx:pt>
          <cx:pt idx="15">49</cx:pt>
          <cx:pt idx="16">6</cx:pt>
          <cx:pt idx="17">1</cx:pt>
          <cx:pt idx="18">78</cx:pt>
          <cx:pt idx="19">42</cx:pt>
          <cx:pt idx="20">20</cx:pt>
          <cx:pt idx="21">7</cx:pt>
          <cx:pt idx="22">5</cx:pt>
          <cx:pt idx="23">7</cx:pt>
          <cx:pt idx="24">10</cx:pt>
          <cx:pt idx="25">6</cx:pt>
          <cx:pt idx="26">10</cx:pt>
          <cx:pt idx="27">8</cx:pt>
          <cx:pt idx="28">4</cx:pt>
          <cx:pt idx="29">7</cx:pt>
          <cx:pt idx="30">3</cx:pt>
          <cx:pt idx="31">3</cx:pt>
          <cx:pt idx="32">2</cx:pt>
          <cx:pt idx="33">1</cx:pt>
          <cx:pt idx="34">1</cx:pt>
          <cx:pt idx="35">1</cx:pt>
          <cx:pt idx="36">1</cx:pt>
          <cx:pt idx="37">29</cx:pt>
        </cx:lvl>
      </cx:numDim>
    </cx:data>
  </cx:chartData>
  <cx:chart>
    <cx:plotArea>
      <cx:plotAreaRegion>
        <cx:series layoutId="treemap" uniqueId="{61F70679-EACC-44AA-A536-8799FDE19EDF}">
          <cx:dataLabels pos="inEnd">
            <cx:txPr>
              <a:bodyPr vertOverflow="overflow" horzOverflow="overflow" wrap="square" lIns="0" tIns="0" rIns="0" bIns="0"/>
              <a:lstStyle/>
              <a:p>
                <a:pPr algn="ctr" rtl="0">
                  <a:defRPr sz="1600" b="0" i="0">
                    <a:solidFill>
                      <a:srgbClr val="FFFFFF"/>
                    </a:solidFill>
                    <a:latin typeface="Arial" panose="020B0604020202020204" pitchFamily="34" charset="0"/>
                    <a:ea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 sz="1600"/>
              </a:p>
            </cx:txPr>
            <cx:visibility seriesName="0" categoryName="1" value="0"/>
            <cx:separator>, </cx:separator>
            <cx:dataLabelHidden idx="0"/>
            <cx:dataLabelHidden idx="15"/>
            <cx:dataLabelHidden idx="20"/>
            <cx:dataLabelHidden idx="21"/>
            <cx:dataLabelHidden idx="41"/>
          </cx:dataLabels>
          <cx:dataId val="0"/>
          <cx:layoutPr>
            <cx:parentLabelLayout val="overlapping"/>
          </cx:layoutPr>
        </cx:series>
      </cx:plotAreaRegion>
    </cx:plotArea>
  </cx:chart>
</cx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417">
  <cs:axisTitle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bg1">
          <a:lumMod val="65000"/>
        </a:schemeClr>
      </a:solidFill>
      <a:ln>
        <a:solidFill>
          <a:schemeClr val="bg1"/>
        </a:solidFill>
      </a:ln>
    </cs:spPr>
    <cs:defRPr sz="1197"/>
  </cs:axisTitle>
  <cs:categoryAxis>
    <cs:lnRef idx="0"/>
    <cs:fillRef idx="0"/>
    <cs:effectRef idx="0"/>
    <cs:fontRef idx="minor">
      <a:schemeClr val="dk1">
        <a:lumMod val="65000"/>
        <a:lumOff val="35000"/>
      </a:schemeClr>
    </cs:fontRef>
    <cs:defRPr sz="1197"/>
  </cs:categoryAxis>
  <cs:chartArea>
    <cs:lnRef idx="0"/>
    <cs:fillRef idx="0"/>
    <cs:effectRef idx="0"/>
    <cs:fontRef idx="minor">
      <a:schemeClr val="dk1"/>
    </cs:fontRef>
    <cs:spPr>
      <a:pattFill prst="dkDnDiag">
        <a:fgClr>
          <a:schemeClr val="lt1">
            <a:lumMod val="95000"/>
          </a:schemeClr>
        </a:fgClr>
        <a:bgClr>
          <a:schemeClr val="lt1"/>
        </a:bgClr>
      </a:pattFill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/>
  </cs:chartArea>
  <cs:dataLabel>
    <cs:lnRef idx="0"/>
    <cs:fillRef idx="0"/>
    <cs:effectRef idx="0"/>
    <cs:fontRef idx="minor">
      <a:schemeClr val="lt1"/>
    </cs:fontRef>
    <cs:defRPr sz="1197" b="1"/>
    <cs:bodyPr lIns="38100" tIns="19050" rIns="38100" bIns="19050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5000"/>
        </a:schemeClr>
      </a:solidFill>
      <a:ln w="9525">
        <a:solidFill>
          <a:schemeClr val="dk1">
            <a:lumMod val="25000"/>
            <a:lumOff val="75000"/>
          </a:schemeClr>
        </a:solidFill>
      </a:ln>
    </cs:spPr>
    <cs:defRPr sz="1197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20000"/>
          </a:prstClr>
        </a:outerShdw>
      </a:effectLst>
      <a:scene3d>
        <a:camera prst="orthographicFront"/>
        <a:lightRig rig="threePt" dir="t"/>
      </a:scene3d>
      <a:sp3d prstMaterial="matte"/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dk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064" kern="1200"/>
  </cs:dataTable>
  <cs:downBar>
    <cs:lnRef idx="0"/>
    <cs:fillRef idx="0"/>
    <cs:effectRef idx="0"/>
    <cs:fontRef idx="minor">
      <a:schemeClr val="dk1"/>
    </cs:fontRef>
    <cs:spPr>
      <a:solidFill>
        <a:schemeClr val="dk1"/>
      </a:solidFill>
    </cs:spPr>
  </cs:downBar>
  <cs:drop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0"/>
            <a:lumOff val="50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5000"/>
            <a:lumOff val="95000"/>
            <a:lumOff val="10000"/>
          </a:schemeClr>
        </a:soli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 cap="flat" cmpd="sng" algn="ctr">
        <a:solidFill>
          <a:schemeClr val="dk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>
          <a:alpha val="78000"/>
        </a:schemeClr>
      </a:solidFill>
    </cs:spPr>
    <cs:defRPr sz="1197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dk1">
        <a:lumMod val="65000"/>
        <a:lumOff val="35000"/>
      </a:schemeClr>
    </cs:fontRef>
    <cs:defRPr sz="1197"/>
  </cs:seriesAxis>
  <cs:seriesLine>
    <cs:lnRef idx="0"/>
    <cs:fillRef idx="0"/>
    <cs:effectRef idx="0"/>
    <cs:fontRef idx="minor">
      <a:schemeClr val="dk1"/>
    </cs:fontRef>
    <cs:spPr>
      <a:ln w="9525" cap="flat">
        <a:solidFill>
          <a:schemeClr val="bg1">
            <a:lumMod val="50000"/>
          </a:schemeClr>
        </a:solidFill>
        <a:round/>
      </a:ln>
    </cs:spPr>
  </cs:seriesLine>
  <cs:title>
    <cs:lnRef idx="0"/>
    <cs:fillRef idx="0"/>
    <cs:effectRef idx="0"/>
    <cs:fontRef idx="minor">
      <a:schemeClr val="dk1">
        <a:lumMod val="65000"/>
        <a:lumOff val="35000"/>
      </a:schemeClr>
    </cs:fontRef>
    <cs:defRPr sz="2200" b="1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dk1">
        <a:lumMod val="65000"/>
        <a:lumOff val="35000"/>
      </a:schemeClr>
    </cs:fontRef>
    <cs:defRPr sz="1197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</cs:spPr>
  </cs:upBar>
  <cs:valueAxis>
    <cs:lnRef idx="0"/>
    <cs:fillRef idx="0"/>
    <cs:effectRef idx="0"/>
    <cs:fontRef idx="minor">
      <a:schemeClr val="dk1">
        <a:lumMod val="65000"/>
        <a:lumOff val="35000"/>
      </a:schemeClr>
    </cs:fontRef>
    <cs:defRPr sz="1197"/>
  </cs:valueAxis>
  <cs:wall>
    <cs:lnRef idx="0"/>
    <cs:fillRef idx="0"/>
    <cs:effectRef idx="0"/>
    <cs:fontRef idx="minor">
      <a:schemeClr val="dk1"/>
    </cs:fontRef>
  </cs:wall>
</cs:chartStyle>
</file>

<file path=ppt/charts/style5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6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7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410">
  <cs:axisTitle>
    <cs:lnRef idx="0"/>
    <cs:fillRef idx="0"/>
    <cs:effectRef idx="0"/>
    <cs:fontRef idx="minor">
      <a:schemeClr val="tx1">
        <a:lumMod val="65000"/>
        <a:lumOff val="35000"/>
      </a:schemeClr>
    </cs:fontRef>
    <cs:spPr>
      <a:solidFill>
        <a:schemeClr val="bg1">
          <a:lumMod val="65000"/>
        </a:schemeClr>
      </a:solidFill>
      <a:ln w="19050">
        <a:solidFill>
          <a:schemeClr val="bg1"/>
        </a:solidFill>
      </a:ln>
    </cs:spPr>
    <cs:defRPr sz="9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/>
  </cs:chartArea>
  <cs:dataLabel>
    <cs:lnRef idx="0"/>
    <cs:fillRef idx="0"/>
    <cs:effectRef idx="0"/>
    <cs:fontRef idx="minor">
      <a:schemeClr val="lt1"/>
    </cs:fontRef>
    <cs:defRPr sz="9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/>
  </cs:seriesAxis>
  <cs:seriesLine>
    <cs:lnRef idx="0"/>
    <cs:fillRef idx="0"/>
    <cs:effectRef idx="0"/>
    <cs:fontRef idx="minor">
      <a:schemeClr val="tx1"/>
    </cs:fontRef>
    <cs:spPr>
      <a:ln w="9525" cap="flat">
        <a:solidFill>
          <a:srgbClr val="D9D9D9"/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/>
  </cs:valueAxis>
  <cs:wall>
    <cs:lnRef idx="0"/>
    <cs:fillRef idx="0"/>
    <cs:effectRef idx="0"/>
    <cs:fontRef idx="minor">
      <a:schemeClr val="tx1"/>
    </cs:fontRef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78BE6502-93CA-EC4A-858E-E369DA1D4F0E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5CC2AE5-7399-4A45-95D6-5D4450CF4273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7A5F2A1-47DE-184A-A4A2-86DDA300299B}" type="datetimeFigureOut">
              <a:rPr lang="en-US" smtClean="0"/>
              <a:t>11/29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6C920D1-F303-1840-A8A6-BBE92EAA955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B1A292-D9BA-CA4B-B2DF-6DF905B2AF94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7D2F64-B8E2-9D4C-A011-436AB6F791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19082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1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1" i="0">
                <a:latin typeface="Arial" panose="020B0604020202020204" pitchFamily="34" charset="0"/>
              </a:defRPr>
            </a:lvl1pPr>
          </a:lstStyle>
          <a:p>
            <a:fld id="{BF1A1884-90FD-5D47-9031-6F98DD4F08AC}" type="datetimeFigureOut">
              <a:rPr lang="en-US" smtClean="0"/>
              <a:pPr/>
              <a:t>11/29/2022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1" i="0">
                <a:latin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1" i="0">
                <a:latin typeface="Arial" panose="020B0604020202020204" pitchFamily="34" charset="0"/>
              </a:defRPr>
            </a:lvl1pPr>
          </a:lstStyle>
          <a:p>
            <a:fld id="{9B940301-1173-A34E-9446-7BEF096E2D3F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0720522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70" rtl="0" eaLnBrk="1" latinLnBrk="0" hangingPunct="1">
      <a:defRPr sz="1600" b="1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609585" algn="l" defTabSz="1219170" rtl="0" eaLnBrk="1" latinLnBrk="0" hangingPunct="1">
      <a:defRPr sz="1600" b="1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1219170" algn="l" defTabSz="1219170" rtl="0" eaLnBrk="1" latinLnBrk="0" hangingPunct="1">
      <a:defRPr sz="1600" b="1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828754" algn="l" defTabSz="1219170" rtl="0" eaLnBrk="1" latinLnBrk="0" hangingPunct="1">
      <a:defRPr sz="1600" b="1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2438339" algn="l" defTabSz="1219170" rtl="0" eaLnBrk="1" latinLnBrk="0" hangingPunct="1">
      <a:defRPr sz="1600" b="1" i="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3047924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121917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D618DB-39E5-4D99-B01D-0D06E09E91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799327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40301-1173-A34E-9446-7BEF096E2D3F}" type="slidenum">
              <a:rPr lang="en-US" smtClean="0"/>
              <a:pPr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8459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/>
            <a:fld id="{9D0E5C69-906D-41D9-9593-C125ECA380BB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/>
              <a:t>13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515911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991317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B85FBB2-9F2A-4EF2-B328-669F376FD19C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20527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56-58% fresh stillbirth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405094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370418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40301-1173-A34E-9446-7BEF096E2D3F}" type="slidenum">
              <a:rPr lang="en-US" smtClean="0"/>
              <a:pPr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836292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ention surfactant issue. Most facilities in our sites do not have surfactant or other equipment needed.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0E5C69-906D-41D9-9593-C125ECA380BB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10743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940301-1173-A34E-9446-7BEF096E2D3F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79865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2900303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292978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otes for rate graph:</a:t>
            </a: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kern="1200" baseline="300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1</a:t>
            </a:r>
            <a:r>
              <a:rPr lang="en-US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djusted for age of the child and season of death.</a:t>
            </a:r>
            <a:endParaRPr lang="en-US" sz="1800" b="0" i="0" u="none" strike="noStrike">
              <a:effectLst/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kern="1200" baseline="300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2</a:t>
            </a:r>
            <a:r>
              <a:rPr lang="en-US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djusted for location of death.</a:t>
            </a:r>
            <a:endParaRPr lang="en-US" sz="1800" b="0" i="0" u="none" strike="noStrike">
              <a:effectLst/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kern="1200" baseline="300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3</a:t>
            </a:r>
            <a:r>
              <a:rPr lang="en-US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Adjusted for age of the child.</a:t>
            </a:r>
            <a:endParaRPr lang="en-US" sz="1800" b="0" i="0" u="none" strike="noStrike">
              <a:effectLst/>
              <a:latin typeface="Arial" panose="020B0604020202020204" pitchFamily="34" charset="0"/>
            </a:endParaRPr>
          </a:p>
          <a:p>
            <a:pPr marL="0" algn="l" rtl="0" eaLnBrk="1" fontAlgn="b" latinLnBrk="0" hangingPunct="1">
              <a:spcBef>
                <a:spcPts val="0"/>
              </a:spcBef>
              <a:spcAft>
                <a:spcPts val="0"/>
              </a:spcAft>
            </a:pPr>
            <a:r>
              <a:rPr lang="en-US" sz="1800" b="0" i="0" u="none" strike="noStrike" kern="1200" baseline="300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4</a:t>
            </a:r>
            <a:r>
              <a:rPr lang="en-US" sz="1800" b="0" i="0" u="none" strike="noStrike" kern="1200">
                <a:solidFill>
                  <a:srgbClr val="000000"/>
                </a:solidFill>
                <a:effectLst/>
                <a:latin typeface="Arial" panose="020B0604020202020204" pitchFamily="34" charset="0"/>
              </a:rPr>
              <a:t>No factors met criteria for adjustment.</a:t>
            </a:r>
            <a:endParaRPr lang="en-US" sz="1800" b="0" i="0" u="none" strike="noStrike">
              <a:effectLst/>
              <a:latin typeface="Arial" panose="020B0604020202020204" pitchFamily="34" charset="0"/>
            </a:endParaRPr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34FD40-1EF5-4E49-9001-2560BF8025B7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08950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62239203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baseline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62DB42B-EC52-40AB-A52C-0E7FEA527DAB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44403489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6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3517716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9D618DB-39E5-4D99-B01D-0D06E09E915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07993275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Move data dissemination to before the main focus areas</a:t>
            </a:r>
          </a:p>
          <a:p>
            <a:r>
              <a:rPr lang="en-US"/>
              <a:t>Why does D2A matter</a:t>
            </a:r>
          </a:p>
          <a:p>
            <a:r>
              <a:rPr lang="en-US"/>
              <a:t>Change this slide into the story slide of why D2A matters – can use SA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16844060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0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814446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/>
              <a:t>promote high quality respectable care for women (looking for funding)</a:t>
            </a:r>
          </a:p>
          <a:p>
            <a:r>
              <a:rPr lang="en-ZA"/>
              <a:t>Explain CLIMB in a bit more detail</a:t>
            </a:r>
            <a:endParaRPr lang="en-GB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1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054411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Nigeria- 2 catchment areas: Cross River state (Calabar) in south and Bauchi state in north</a:t>
            </a:r>
          </a:p>
          <a:p>
            <a:r>
              <a:rPr lang="en-US"/>
              <a:t>Pakistan- Karachi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B0C627-F60F-4957-AD5F-B47749802045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356111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B940301-1173-A34E-9446-7BEF096E2D3F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790531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/>
            <a:fld id="{9D0E5C69-906D-41D9-9593-C125ECA380BB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/>
              <a:t>6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3483565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0E5C69-906D-41D9-9593-C125ECA380BB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705249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sz="16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Respiratory- 42</a:t>
            </a:r>
          </a:p>
          <a:p>
            <a:r>
              <a:rPr lang="en-US" sz="16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Enteric- 39</a:t>
            </a:r>
          </a:p>
          <a:p>
            <a:r>
              <a:rPr lang="en-US" sz="16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lood/CSF Tier 1- 25</a:t>
            </a:r>
          </a:p>
          <a:p>
            <a:r>
              <a:rPr lang="en-US" sz="1600" b="1" i="0" kern="1200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+mn-ea"/>
                <a:cs typeface="+mn-cs"/>
              </a:rPr>
              <a:t>Blood/CSF Tier 2- 27</a:t>
            </a:r>
          </a:p>
          <a:p>
            <a:endParaRPr lang="en-US" dirty="0"/>
          </a:p>
          <a:p>
            <a:r>
              <a:rPr lang="en-US" dirty="0"/>
              <a:t>Pathology- special stains, immunohistochemistry, additional tissue PCR- TELEPATHOLOG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3177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D0E5C69-906D-41D9-9593-C125ECA380BB}" type="slidenum"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3177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9280898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31774"/>
            <a:fld id="{9D0E5C69-906D-41D9-9593-C125ECA380BB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/>
              <a:t>9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987976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defTabSz="931774"/>
            <a:fld id="{9D0E5C69-906D-41D9-9593-C125ECA380BB}" type="slidenum">
              <a:rPr lang="en-US">
                <a:solidFill>
                  <a:prstClr val="black"/>
                </a:solidFill>
                <a:latin typeface="Calibri" panose="020F0502020204030204"/>
              </a:rPr>
              <a:pPr defTabSz="931774"/>
              <a:t>10</a:t>
            </a:fld>
            <a:endParaRPr lang="en-US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585477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1.png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4.png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3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3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7.pn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.png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4.png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9.png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8.png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1.pn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7.png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7.png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2.png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7.png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8.pn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1.pn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png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2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27.png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2CAE27F-3901-E645-A050-04D292BC5F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887" y="3741414"/>
            <a:ext cx="6261100" cy="6261100"/>
          </a:xfrm>
          <a:prstGeom prst="rect">
            <a:avLst/>
          </a:prstGeom>
        </p:spPr>
      </p:pic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5D88603-6CF0-554D-A01B-4DB487C125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59555" y="2060430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5EBD1C-9E2A-5F44-A475-20AEE0BE1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A26284B5-FD9E-674B-931D-213871FA19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47664"/>
            <a:ext cx="6172200" cy="6184900"/>
          </a:xfrm>
          <a:prstGeom prst="rect">
            <a:avLst/>
          </a:prstGeom>
        </p:spPr>
      </p:pic>
      <p:sp>
        <p:nvSpPr>
          <p:cNvPr id="27" name="SmartArt Placeholder 22">
            <a:extLst>
              <a:ext uri="{FF2B5EF4-FFF2-40B4-BE49-F238E27FC236}">
                <a16:creationId xmlns:a16="http://schemas.microsoft.com/office/drawing/2014/main" id="{24682560-C988-C447-94DB-D056433DFE73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10162827" y="1770413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9E15FB48-D55E-A04D-BBCE-7829E532A0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59523" y="2060430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240B5320-E0BF-EF41-978E-FD04E7F95CF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97" y="350630"/>
            <a:ext cx="5467231" cy="1752985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E67348-07E2-E341-BE1C-6892ADE15B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95266" y="2856393"/>
            <a:ext cx="3411763" cy="29974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/>
            </a:lvl1pPr>
          </a:lstStyle>
          <a:p>
            <a:r>
              <a:rPr lang="en-US"/>
              <a:t>Tagline Artwork</a:t>
            </a:r>
          </a:p>
        </p:txBody>
      </p:sp>
    </p:spTree>
    <p:extLst>
      <p:ext uri="{BB962C8B-B14F-4D97-AF65-F5344CB8AC3E}">
        <p14:creationId xmlns:p14="http://schemas.microsoft.com/office/powerpoint/2010/main" val="251539820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ext, Icon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7230B98-9502-A84D-A2AA-98FC7A7D1C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121FA2E2-7654-FD4A-B68E-7556E8EBD8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715725-BB28-0841-8CB1-3B304DB1FD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5489" y="1788906"/>
            <a:ext cx="5964238" cy="1001936"/>
          </a:xfrm>
          <a:prstGeom prst="rect">
            <a:avLst/>
          </a:prstGeom>
        </p:spPr>
        <p:txBody>
          <a:bodyPr/>
          <a:lstStyle>
            <a:lvl1pPr>
              <a:defRPr b="0"/>
            </a:lvl1pPr>
            <a:lvl2pPr>
              <a:defRPr b="0"/>
            </a:lvl2pPr>
            <a:lvl3pPr>
              <a:defRPr b="0"/>
            </a:lvl3pPr>
            <a:lvl4pPr>
              <a:defRPr b="0"/>
            </a:lvl4pPr>
            <a:lvl5pPr>
              <a:defRPr b="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31B08A85-57C6-004F-9D30-EBF7C6AF4D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02311" y="1788906"/>
            <a:ext cx="3724275" cy="34940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548A37F-3911-8440-9AD5-7799F6E9A6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2244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926205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Footer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60D960-A93E-6043-879C-CCC4A4A6B4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337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491C5BE7-C9F2-1045-9292-D05879627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B68E21B8-DD2B-4049-BA21-23F8F9ADE7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03204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Footer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D02F481-44F2-3141-BD25-86FBBBD6C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157944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3794408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MPS Dark Green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43095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MPS Light Green">
    <p:bg>
      <p:bgPr>
        <a:solidFill>
          <a:srgbClr val="93D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298548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MPS Yellow">
    <p:bg>
      <p:bgPr>
        <a:solidFill>
          <a:srgbClr val="EBE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876785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33CB607-E2B7-3C41-95A1-A8ECAD37225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F5888B-5DC5-BF48-ABE7-17DB8064A1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81532097-9F56-6B42-BA4D-DA58D7D4BA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sp>
        <p:nvSpPr>
          <p:cNvPr id="5" name="Picture Placeholder 22">
            <a:extLst>
              <a:ext uri="{FF2B5EF4-FFF2-40B4-BE49-F238E27FC236}">
                <a16:creationId xmlns:a16="http://schemas.microsoft.com/office/drawing/2014/main" id="{88E58F44-E130-0B41-89DF-E7C2603AFC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6" name="Picture Placeholder 22">
            <a:extLst>
              <a:ext uri="{FF2B5EF4-FFF2-40B4-BE49-F238E27FC236}">
                <a16:creationId xmlns:a16="http://schemas.microsoft.com/office/drawing/2014/main" id="{1B9A83BB-087B-C246-BBF9-3BAB33E9E17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7" name="Picture Placeholder 22">
            <a:extLst>
              <a:ext uri="{FF2B5EF4-FFF2-40B4-BE49-F238E27FC236}">
                <a16:creationId xmlns:a16="http://schemas.microsoft.com/office/drawing/2014/main" id="{78EAAED6-8CF0-124B-8BC4-9AE7166847A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8" name="Picture Placeholder 22">
            <a:extLst>
              <a:ext uri="{FF2B5EF4-FFF2-40B4-BE49-F238E27FC236}">
                <a16:creationId xmlns:a16="http://schemas.microsoft.com/office/drawing/2014/main" id="{29B15B3C-87AA-F44C-A2B8-A7BE01C4A3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BAE9FFF7-A43C-9443-B6EF-DAAFBCD464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D595D02D-E670-EA4C-B905-CDDEAAD678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D5B1CC0-1FA1-564A-8C09-9A6597D05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8740" y="-3408704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62E0CB2-3271-FE49-9BEA-C958E33CA0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7DA942F-2633-4346-B1E7-C868AF92F8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626" y="870794"/>
            <a:ext cx="3915049" cy="125530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315C81A-D9F6-D94E-86D6-7EC345D0C7C9}"/>
              </a:ext>
            </a:extLst>
          </p:cNvPr>
          <p:cNvSpPr txBox="1"/>
          <p:nvPr userDrawn="1"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champshealth.org</a:t>
            </a:r>
            <a:endParaRPr lang="en-US" sz="2400" b="1">
              <a:solidFill>
                <a:schemeClr val="bg1"/>
              </a:solidFill>
              <a:latin typeface="Lato" panose="020F0502020204030203" pitchFamily="34" charset="77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8D8CDE-84C4-C242-AAE7-93D5BD88A7F9}"/>
              </a:ext>
            </a:extLst>
          </p:cNvPr>
          <p:cNvSpPr txBox="1"/>
          <p:nvPr userDrawn="1"/>
        </p:nvSpPr>
        <p:spPr>
          <a:xfrm>
            <a:off x="2365135" y="6114658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To learn more about CHAMPS contact us at </a:t>
            </a:r>
            <a:r>
              <a:rPr lang="en-US" sz="1200" b="1" err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info@champshealth.org</a:t>
            </a:r>
            <a:r>
              <a:rPr lang="en-US" sz="1200" b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0138472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A picture containing drawing&#10;&#10;Description automatically generated">
            <a:extLst>
              <a:ext uri="{FF2B5EF4-FFF2-40B4-BE49-F238E27FC236}">
                <a16:creationId xmlns:a16="http://schemas.microsoft.com/office/drawing/2014/main" id="{CF85DA1E-17B2-3E45-A84F-2E48CD4F38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8E3E61D8-9C10-984A-B122-F8836BE255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8002" y="870794"/>
            <a:ext cx="3915051" cy="125530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4BDE2F7-30DA-3B40-9BBF-D75C5F1720E8}"/>
              </a:ext>
            </a:extLst>
          </p:cNvPr>
          <p:cNvSpPr txBox="1"/>
          <p:nvPr userDrawn="1"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pshealth.org</a:t>
            </a:r>
            <a:endParaRPr lang="en-US" sz="2400" b="1">
              <a:solidFill>
                <a:srgbClr val="4C9C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E06B245E-DA73-BC46-AEFE-26E269DFBE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22">
            <a:extLst>
              <a:ext uri="{FF2B5EF4-FFF2-40B4-BE49-F238E27FC236}">
                <a16:creationId xmlns:a16="http://schemas.microsoft.com/office/drawing/2014/main" id="{F134088F-A77B-2C49-96E5-319B58A460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7" name="Picture Placeholder 22">
            <a:extLst>
              <a:ext uri="{FF2B5EF4-FFF2-40B4-BE49-F238E27FC236}">
                <a16:creationId xmlns:a16="http://schemas.microsoft.com/office/drawing/2014/main" id="{D9DEF449-43A5-D14E-B1EE-060CCA6C89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8" name="Picture Placeholder 22">
            <a:extLst>
              <a:ext uri="{FF2B5EF4-FFF2-40B4-BE49-F238E27FC236}">
                <a16:creationId xmlns:a16="http://schemas.microsoft.com/office/drawing/2014/main" id="{5BF36FA1-0D2E-F545-8969-7EF5265CCB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A5197F5E-0847-974D-AA74-0BDB3B170A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20" name="Picture Placeholder 22">
            <a:extLst>
              <a:ext uri="{FF2B5EF4-FFF2-40B4-BE49-F238E27FC236}">
                <a16:creationId xmlns:a16="http://schemas.microsoft.com/office/drawing/2014/main" id="{46651819-7369-EF4C-A4C7-1A55D06D52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7DF639B-6E37-4543-9FB5-49CCA97A7BBD}"/>
              </a:ext>
            </a:extLst>
          </p:cNvPr>
          <p:cNvSpPr txBox="1"/>
          <p:nvPr userDrawn="1"/>
        </p:nvSpPr>
        <p:spPr>
          <a:xfrm>
            <a:off x="2343364" y="6158200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4C9C2E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To learn more about CHAMPS contact us at </a:t>
            </a:r>
            <a:r>
              <a:rPr lang="en-US" sz="1200" b="1" err="1">
                <a:solidFill>
                  <a:srgbClr val="4C9C2E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info@champshealth.org</a:t>
            </a:r>
            <a:r>
              <a:rPr lang="en-US" sz="1200" b="1">
                <a:solidFill>
                  <a:srgbClr val="4C9C2E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Picture Placeholder 22">
            <a:extLst>
              <a:ext uri="{FF2B5EF4-FFF2-40B4-BE49-F238E27FC236}">
                <a16:creationId xmlns:a16="http://schemas.microsoft.com/office/drawing/2014/main" id="{0A4BCF71-952A-424D-8504-242DF84E3D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78AFC8-B701-2641-B1E8-DFE1B39967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8740" y="-3393714"/>
            <a:ext cx="6261100" cy="6261100"/>
          </a:xfrm>
          <a:prstGeom prst="rect">
            <a:avLst/>
          </a:prstGeom>
        </p:spPr>
      </p:pic>
      <p:pic>
        <p:nvPicPr>
          <p:cNvPr id="24" name="Picture 23" descr="A close up of a logo&#10;&#10;Description automatically generated">
            <a:extLst>
              <a:ext uri="{FF2B5EF4-FFF2-40B4-BE49-F238E27FC236}">
                <a16:creationId xmlns:a16="http://schemas.microsoft.com/office/drawing/2014/main" id="{8A0E9415-1421-604A-A66E-F6D6041D56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67407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87680" y="295683"/>
            <a:ext cx="11216640" cy="124419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5"/>
          </p:nvPr>
        </p:nvSpPr>
        <p:spPr>
          <a:xfrm>
            <a:off x="487680" y="1611313"/>
            <a:ext cx="11216640" cy="4734292"/>
          </a:xfrm>
          <a:prstGeom prst="rect">
            <a:avLst/>
          </a:prstGeom>
        </p:spPr>
        <p:txBody>
          <a:bodyPr lIns="0" tIns="0" rIns="0" bIns="0"/>
          <a:lstStyle>
            <a:lvl1pPr marL="0" indent="-18288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4572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64008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◦"/>
              <a:defRPr sz="1600" baseline="0">
                <a:solidFill>
                  <a:schemeClr val="tx1"/>
                </a:solidFill>
              </a:defRPr>
            </a:lvl3pPr>
            <a:lvl4pPr marL="9144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118872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46304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6pPr>
            <a:lvl7pPr marL="1737360">
              <a:spcBef>
                <a:spcPts val="0"/>
              </a:spcBef>
              <a:spcAft>
                <a:spcPts val="600"/>
              </a:spcAft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45639122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a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D779822-7277-9F49-8044-9CB526217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706" y="684813"/>
            <a:ext cx="7295496" cy="163723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54D36A9A-B2B2-C54E-A4D4-4408962119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0C5F3FD1-41B9-C648-BB05-BBFC4D86EB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16996513-CFC8-EF42-B9EB-5CFD237C4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C88C4901-D408-9D47-BE82-31649F1D82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9" name="SmartArt Placeholder 22">
            <a:extLst>
              <a:ext uri="{FF2B5EF4-FFF2-40B4-BE49-F238E27FC236}">
                <a16:creationId xmlns:a16="http://schemas.microsoft.com/office/drawing/2014/main" id="{05152543-AB4F-FE40-AD74-7B2B818D7921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2CC99A9-2C21-684B-B7D1-5C878FA0D3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8D4A15F-2C3F-3E4A-BACC-47AC1CFAB7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7677C7FF-1011-2D4B-981E-A437088E70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94741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7C87DE4-F11D-4D8C-9C1D-2AD9575DC9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21CCC57-0E12-4994-A76E-504E864690F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423896-74C5-4F15-845E-0F749817770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5D14AD-851D-43FE-98B3-5588530FD78D}" type="datetimeFigureOut">
              <a:rPr lang="en-US" smtClean="0"/>
              <a:t>11/29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16B91EF-D7F0-45B5-8B4F-31531DFFCE4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EC3661-8B74-40EB-8A85-1EF39971FD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A38E169-F1E8-449F-A40C-CA83B96E366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2804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2CAE27F-3901-E645-A050-04D292BC5F6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2634887" y="3741414"/>
            <a:ext cx="6261100" cy="6261100"/>
          </a:xfrm>
          <a:prstGeom prst="rect">
            <a:avLst/>
          </a:prstGeom>
        </p:spPr>
      </p:pic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5D88603-6CF0-554D-A01B-4DB487C125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59555" y="2060430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5EBD1C-9E2A-5F44-A475-20AEE0BE18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A26284B5-FD9E-674B-931D-213871FA19C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sp>
        <p:nvSpPr>
          <p:cNvPr id="27" name="SmartArt Placeholder 22">
            <a:extLst>
              <a:ext uri="{FF2B5EF4-FFF2-40B4-BE49-F238E27FC236}">
                <a16:creationId xmlns:a16="http://schemas.microsoft.com/office/drawing/2014/main" id="{24682560-C988-C447-94DB-D056433DFE73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10162827" y="1770413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9E15FB48-D55E-A04D-BBCE-7829E532A0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59523" y="2060430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240B5320-E0BF-EF41-978E-FD04E7F95CF8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780197" y="350630"/>
            <a:ext cx="5467231" cy="1752985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E67348-07E2-E341-BE1C-6892ADE15B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95266" y="2856393"/>
            <a:ext cx="3411763" cy="29974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Tagline Artwork</a:t>
            </a:r>
          </a:p>
        </p:txBody>
      </p:sp>
    </p:spTree>
    <p:extLst>
      <p:ext uri="{BB962C8B-B14F-4D97-AF65-F5344CB8AC3E}">
        <p14:creationId xmlns:p14="http://schemas.microsoft.com/office/powerpoint/2010/main" val="176970565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a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D779822-7277-9F49-8044-9CB52621783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9706" y="684813"/>
            <a:ext cx="7295496" cy="163723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54D36A9A-B2B2-C54E-A4D4-4408962119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0C5F3FD1-41B9-C648-BB05-BBFC4D86EB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16996513-CFC8-EF42-B9EB-5CFD237C4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C88C4901-D408-9D47-BE82-31649F1D82CC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9" name="SmartArt Placeholder 22">
            <a:extLst>
              <a:ext uri="{FF2B5EF4-FFF2-40B4-BE49-F238E27FC236}">
                <a16:creationId xmlns:a16="http://schemas.microsoft.com/office/drawing/2014/main" id="{05152543-AB4F-FE40-AD74-7B2B818D7921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2CC99A9-2C21-684B-B7D1-5C878FA0D3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8D4A15F-2C3F-3E4A-BACC-47AC1CFAB74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7677C7FF-1011-2D4B-981E-A437088E70A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727949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D52F3B-8147-094D-9ED7-AE6361F64A4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939704" y="684813"/>
            <a:ext cx="7295500" cy="1637230"/>
          </a:xfrm>
          <a:prstGeom prst="rect">
            <a:avLst/>
          </a:prstGeom>
        </p:spPr>
      </p:pic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A4957661-38D7-024C-B845-92C98BE0FB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5A9AE3B-1661-B647-AE67-90F26BBF1C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EF2F3CE-105A-7243-B6A4-A502613744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2F0DAF-147D-CA4B-B02C-6714BDDAFEAA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alphaModFix amt="20000"/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23" name="SmartArt Placeholder 22">
            <a:extLst>
              <a:ext uri="{FF2B5EF4-FFF2-40B4-BE49-F238E27FC236}">
                <a16:creationId xmlns:a16="http://schemas.microsoft.com/office/drawing/2014/main" id="{0C658E97-16EA-394F-B4D0-15A644CCA738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47F26698-C83C-A341-9690-67C59D742D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D942B7C-5F16-8049-98CB-A430D6EB84A4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alphaModFix amt="20000"/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4AEB42AC-2804-DF40-B859-453B6DEC4C2D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304218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9D92E71B-9E06-8045-B240-34FC0C6EF62A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676023" y="888106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2719" y="1178123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9F0387D-18AE-D246-BA8C-B1B0BA6BBD6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518097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1459" y="2815914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8155" y="3105931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FA90CB-2071-2341-8298-01368529A7D5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45EB0BCA-0857-4443-A079-118344685DB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38077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-2721474" y="2284413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2133992" y="-3016250"/>
            <a:ext cx="6261100" cy="6261100"/>
          </a:xfrm>
          <a:prstGeom prst="rect">
            <a:avLst/>
          </a:prstGeom>
        </p:spPr>
      </p:pic>
      <p:sp>
        <p:nvSpPr>
          <p:cNvPr id="15" name="SmartArt Placeholder 22">
            <a:extLst>
              <a:ext uri="{FF2B5EF4-FFF2-40B4-BE49-F238E27FC236}">
                <a16:creationId xmlns:a16="http://schemas.microsoft.com/office/drawing/2014/main" id="{21323567-CE27-4745-91D1-66CCE26133AA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7029948" y="4464772"/>
            <a:ext cx="1049874" cy="1049873"/>
          </a:xfrm>
          <a:prstGeom prst="ellipse">
            <a:avLst/>
          </a:prstGeom>
          <a:solidFill>
            <a:srgbClr val="655DC6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7E2E4FE-1615-FB47-A593-F60E90C6D4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26644" y="4754789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FCBC0B-1F14-A741-8949-FCCD5EADF37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A523B381-BA0E-F845-B933-C4055607A0E4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87554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ext, Inserts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C8EBC19-FD13-1345-8CF7-379EE9091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B935B59-DDD9-5342-B0C9-1B5859594B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46B993F-F1F5-CB4C-8413-A500F82FE1E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41F50231-0A9B-4C4C-BEEA-308E367A2EB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0104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ext, Inserts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1" i="0">
                <a:latin typeface="Arial" panose="020B0604020202020204" pitchFamily="34" charset="0"/>
              </a:defRPr>
            </a:lvl1pPr>
            <a:lvl2pPr>
              <a:defRPr b="1" i="0">
                <a:latin typeface="Arial" panose="020B0604020202020204" pitchFamily="34" charset="0"/>
              </a:defRPr>
            </a:lvl2pPr>
            <a:lvl3pPr>
              <a:defRPr b="1" i="0">
                <a:latin typeface="Arial" panose="020B0604020202020204" pitchFamily="34" charset="0"/>
              </a:defRPr>
            </a:lvl3pPr>
            <a:lvl4pPr>
              <a:defRPr b="1" i="0">
                <a:latin typeface="Arial" panose="020B0604020202020204" pitchFamily="34" charset="0"/>
              </a:defRPr>
            </a:lvl4pPr>
            <a:lvl5pPr>
              <a:defRPr b="1" i="0">
                <a:latin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A820165-E5BF-6144-970B-B2F8C8A9BC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559" y="350549"/>
            <a:ext cx="11405047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9102449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ext, Icon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7230B98-9502-A84D-A2AA-98FC7A7D1C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121FA2E2-7654-FD4A-B68E-7556E8EBD8E0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715725-BB28-0841-8CB1-3B304DB1FD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5489" y="1788906"/>
            <a:ext cx="5964238" cy="10019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31B08A85-57C6-004F-9D30-EBF7C6AF4D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02311" y="1788906"/>
            <a:ext cx="3724275" cy="34940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548A37F-3911-8440-9AD5-7799F6E9A6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2244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631284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D52F3B-8147-094D-9ED7-AE6361F64A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704" y="684813"/>
            <a:ext cx="7295500" cy="1637230"/>
          </a:xfrm>
          <a:prstGeom prst="rect">
            <a:avLst/>
          </a:prstGeom>
        </p:spPr>
      </p:pic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A4957661-38D7-024C-B845-92C98BE0FB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5A9AE3B-1661-B647-AE67-90F26BBF1C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EF2F3CE-105A-7243-B6A4-A502613744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2F0DAF-147D-CA4B-B02C-6714BDDAFE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23" name="SmartArt Placeholder 22">
            <a:extLst>
              <a:ext uri="{FF2B5EF4-FFF2-40B4-BE49-F238E27FC236}">
                <a16:creationId xmlns:a16="http://schemas.microsoft.com/office/drawing/2014/main" id="{0C658E97-16EA-394F-B4D0-15A644CCA738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47F26698-C83C-A341-9690-67C59D742D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D942B7C-5F16-8049-98CB-A430D6EB84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4AEB42AC-2804-DF40-B859-453B6DEC4C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316349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Footer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60D960-A93E-6043-879C-CCC4A4A6B4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337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491C5BE7-C9F2-1045-9292-D0587962704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B68E21B8-DD2B-4049-BA21-23F8F9ADE77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396046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Footer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D02F481-44F2-3141-BD25-86FBBBD6C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5268019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066447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MPS Dark Green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881900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MPS Light Green">
    <p:bg>
      <p:bgPr>
        <a:solidFill>
          <a:srgbClr val="93D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453322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MPS Yellow">
    <p:bg>
      <p:bgPr>
        <a:solidFill>
          <a:srgbClr val="EBE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17673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33CB607-E2B7-3C41-95A1-A8ECAD37225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F5888B-5DC5-BF48-ABE7-17DB8064A18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81532097-9F56-6B42-BA4D-DA58D7D4BA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sp>
        <p:nvSpPr>
          <p:cNvPr id="5" name="Picture Placeholder 22">
            <a:extLst>
              <a:ext uri="{FF2B5EF4-FFF2-40B4-BE49-F238E27FC236}">
                <a16:creationId xmlns:a16="http://schemas.microsoft.com/office/drawing/2014/main" id="{88E58F44-E130-0B41-89DF-E7C2603AFC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6" name="Picture Placeholder 22">
            <a:extLst>
              <a:ext uri="{FF2B5EF4-FFF2-40B4-BE49-F238E27FC236}">
                <a16:creationId xmlns:a16="http://schemas.microsoft.com/office/drawing/2014/main" id="{1B9A83BB-087B-C246-BBF9-3BAB33E9E17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7" name="Picture Placeholder 22">
            <a:extLst>
              <a:ext uri="{FF2B5EF4-FFF2-40B4-BE49-F238E27FC236}">
                <a16:creationId xmlns:a16="http://schemas.microsoft.com/office/drawing/2014/main" id="{78EAAED6-8CF0-124B-8BC4-9AE7166847A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8" name="Picture Placeholder 22">
            <a:extLst>
              <a:ext uri="{FF2B5EF4-FFF2-40B4-BE49-F238E27FC236}">
                <a16:creationId xmlns:a16="http://schemas.microsoft.com/office/drawing/2014/main" id="{29B15B3C-87AA-F44C-A2B8-A7BE01C4A3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BAE9FFF7-A43C-9443-B6EF-DAAFBCD464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D595D02D-E670-EA4C-B905-CDDEAAD678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D5B1CC0-1FA1-564A-8C09-9A6597D058F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9368740" y="-3408704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62E0CB2-3271-FE49-9BEA-C958E33CA012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7DA942F-2633-4346-B1E7-C868AF92F8A1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4832626" y="870794"/>
            <a:ext cx="3915049" cy="125530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315C81A-D9F6-D94E-86D6-7EC345D0C7C9}"/>
              </a:ext>
            </a:extLst>
          </p:cNvPr>
          <p:cNvSpPr txBox="1"/>
          <p:nvPr userDrawn="1"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pshealth.org</a:t>
            </a:r>
            <a:endParaRPr lang="en-US" sz="2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8D8CDE-84C4-C242-AAE7-93D5BD88A7F9}"/>
              </a:ext>
            </a:extLst>
          </p:cNvPr>
          <p:cNvSpPr txBox="1"/>
          <p:nvPr userDrawn="1"/>
        </p:nvSpPr>
        <p:spPr>
          <a:xfrm>
            <a:off x="2365135" y="6114658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arn more about CHAMPS contact us at </a:t>
            </a:r>
            <a:r>
              <a:rPr lang="en-US" sz="12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@champshealth.org</a:t>
            </a: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0221254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A picture containing drawing&#10;&#10;Description automatically generated">
            <a:extLst>
              <a:ext uri="{FF2B5EF4-FFF2-40B4-BE49-F238E27FC236}">
                <a16:creationId xmlns:a16="http://schemas.microsoft.com/office/drawing/2014/main" id="{CF85DA1E-17B2-3E45-A84F-2E48CD4F38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8E3E61D8-9C10-984A-B122-F8836BE255F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4848002" y="870794"/>
            <a:ext cx="3915051" cy="125530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4BDE2F7-30DA-3B40-9BBF-D75C5F1720E8}"/>
              </a:ext>
            </a:extLst>
          </p:cNvPr>
          <p:cNvSpPr txBox="1"/>
          <p:nvPr userDrawn="1"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pshealth.org</a:t>
            </a:r>
            <a:endParaRPr lang="en-US" sz="2400" b="1">
              <a:solidFill>
                <a:srgbClr val="4C9C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E06B245E-DA73-BC46-AEFE-26E269DFBE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22">
            <a:extLst>
              <a:ext uri="{FF2B5EF4-FFF2-40B4-BE49-F238E27FC236}">
                <a16:creationId xmlns:a16="http://schemas.microsoft.com/office/drawing/2014/main" id="{F134088F-A77B-2C49-96E5-319B58A460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7" name="Picture Placeholder 22">
            <a:extLst>
              <a:ext uri="{FF2B5EF4-FFF2-40B4-BE49-F238E27FC236}">
                <a16:creationId xmlns:a16="http://schemas.microsoft.com/office/drawing/2014/main" id="{D9DEF449-43A5-D14E-B1EE-060CCA6C89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8" name="Picture Placeholder 22">
            <a:extLst>
              <a:ext uri="{FF2B5EF4-FFF2-40B4-BE49-F238E27FC236}">
                <a16:creationId xmlns:a16="http://schemas.microsoft.com/office/drawing/2014/main" id="{5BF36FA1-0D2E-F545-8969-7EF5265CCB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A5197F5E-0847-974D-AA74-0BDB3B170A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20" name="Picture Placeholder 22">
            <a:extLst>
              <a:ext uri="{FF2B5EF4-FFF2-40B4-BE49-F238E27FC236}">
                <a16:creationId xmlns:a16="http://schemas.microsoft.com/office/drawing/2014/main" id="{46651819-7369-EF4C-A4C7-1A55D06D52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7DF639B-6E37-4543-9FB5-49CCA97A7BBD}"/>
              </a:ext>
            </a:extLst>
          </p:cNvPr>
          <p:cNvSpPr txBox="1"/>
          <p:nvPr userDrawn="1"/>
        </p:nvSpPr>
        <p:spPr>
          <a:xfrm>
            <a:off x="2343364" y="6158200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arn more about CHAMPS contact us at </a:t>
            </a:r>
            <a:r>
              <a:rPr lang="en-US" sz="1200" b="1" err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@champshealth.org</a:t>
            </a:r>
            <a:r>
              <a:rPr lang="en-US" sz="1200" b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Picture Placeholder 22">
            <a:extLst>
              <a:ext uri="{FF2B5EF4-FFF2-40B4-BE49-F238E27FC236}">
                <a16:creationId xmlns:a16="http://schemas.microsoft.com/office/drawing/2014/main" id="{0A4BCF71-952A-424D-8504-242DF84E3D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78AFC8-B701-2641-B1E8-DFE1B39967B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20000"/>
          </a:blip>
          <a:stretch>
            <a:fillRect/>
          </a:stretch>
        </p:blipFill>
        <p:spPr>
          <a:xfrm>
            <a:off x="9368740" y="-3393714"/>
            <a:ext cx="6261100" cy="6261100"/>
          </a:xfrm>
          <a:prstGeom prst="rect">
            <a:avLst/>
          </a:prstGeom>
        </p:spPr>
      </p:pic>
      <p:pic>
        <p:nvPicPr>
          <p:cNvPr id="24" name="Picture 23" descr="A close up of a logo&#10;&#10;Description automatically generated">
            <a:extLst>
              <a:ext uri="{FF2B5EF4-FFF2-40B4-BE49-F238E27FC236}">
                <a16:creationId xmlns:a16="http://schemas.microsoft.com/office/drawing/2014/main" id="{8A0E9415-1421-604A-A66E-F6D6041D562D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675984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1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2CAE27F-3901-E645-A050-04D292BC5F6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887" y="3741414"/>
            <a:ext cx="6261100" cy="6261100"/>
          </a:xfrm>
          <a:prstGeom prst="rect">
            <a:avLst/>
          </a:prstGeom>
        </p:spPr>
      </p:pic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5D88603-6CF0-554D-A01B-4DB487C125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59555" y="2060430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5EBD1C-9E2A-5F44-A475-20AEE0BE187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A26284B5-FD9E-674B-931D-213871FA19C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sp>
        <p:nvSpPr>
          <p:cNvPr id="27" name="SmartArt Placeholder 22">
            <a:extLst>
              <a:ext uri="{FF2B5EF4-FFF2-40B4-BE49-F238E27FC236}">
                <a16:creationId xmlns:a16="http://schemas.microsoft.com/office/drawing/2014/main" id="{24682560-C988-C447-94DB-D056433DFE73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10162827" y="1770413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9E15FB48-D55E-A04D-BBCE-7829E532A0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59523" y="2060430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240B5320-E0BF-EF41-978E-FD04E7F95CF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97" y="350630"/>
            <a:ext cx="5467231" cy="1752985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E67348-07E2-E341-BE1C-6892ADE15B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95266" y="2856393"/>
            <a:ext cx="3411763" cy="29974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Tagline Artwork</a:t>
            </a:r>
          </a:p>
        </p:txBody>
      </p:sp>
    </p:spTree>
    <p:extLst>
      <p:ext uri="{BB962C8B-B14F-4D97-AF65-F5344CB8AC3E}">
        <p14:creationId xmlns:p14="http://schemas.microsoft.com/office/powerpoint/2010/main" val="12519843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a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D779822-7277-9F49-8044-9CB52621783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706" y="684813"/>
            <a:ext cx="7295496" cy="163723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54D36A9A-B2B2-C54E-A4D4-4408962119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0C5F3FD1-41B9-C648-BB05-BBFC4D86EB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16996513-CFC8-EF42-B9EB-5CFD237C4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C88C4901-D408-9D47-BE82-31649F1D82C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9" name="SmartArt Placeholder 22">
            <a:extLst>
              <a:ext uri="{FF2B5EF4-FFF2-40B4-BE49-F238E27FC236}">
                <a16:creationId xmlns:a16="http://schemas.microsoft.com/office/drawing/2014/main" id="{05152543-AB4F-FE40-AD74-7B2B818D7921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2CC99A9-2C21-684B-B7D1-5C878FA0D3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8D4A15F-2C3F-3E4A-BACC-47AC1CFAB746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7677C7FF-1011-2D4B-981E-A437088E70A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0139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A4957661-38D7-024C-B845-92C98BE0FB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5A9AE3B-1661-B647-AE67-90F26BBF1C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EF2F3CE-105A-7243-B6A4-A502613744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2F0DAF-147D-CA4B-B02C-6714BDDAF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23" name="SmartArt Placeholder 22">
            <a:extLst>
              <a:ext uri="{FF2B5EF4-FFF2-40B4-BE49-F238E27FC236}">
                <a16:creationId xmlns:a16="http://schemas.microsoft.com/office/drawing/2014/main" id="{0C658E97-16EA-394F-B4D0-15A644CCA738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47F26698-C83C-A341-9690-67C59D742D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D942B7C-5F16-8049-98CB-A430D6EB84A4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4AEB42AC-2804-DF40-B859-453B6DEC4C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E680A8DA-191C-1641-A3C4-931728EBE7D6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2930" y="690796"/>
            <a:ext cx="7480300" cy="1257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694185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D52F3B-8147-094D-9ED7-AE6361F64A4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704" y="684813"/>
            <a:ext cx="7295500" cy="1637230"/>
          </a:xfrm>
          <a:prstGeom prst="rect">
            <a:avLst/>
          </a:prstGeom>
        </p:spPr>
      </p:pic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A4957661-38D7-024C-B845-92C98BE0FB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5A9AE3B-1661-B647-AE67-90F26BBF1C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rgbClr val="4C9C2E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EF2F3CE-105A-7243-B6A4-A502613744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2F0DAF-147D-CA4B-B02C-6714BDDAFEA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23" name="SmartArt Placeholder 22">
            <a:extLst>
              <a:ext uri="{FF2B5EF4-FFF2-40B4-BE49-F238E27FC236}">
                <a16:creationId xmlns:a16="http://schemas.microsoft.com/office/drawing/2014/main" id="{0C658E97-16EA-394F-B4D0-15A644CCA738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47F26698-C83C-A341-9690-67C59D742D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D942B7C-5F16-8049-98CB-A430D6EB84A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4AEB42AC-2804-DF40-B859-453B6DEC4C2D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50581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9D92E71B-9E06-8045-B240-34FC0C6EF62A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676023" y="888106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2719" y="1178123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9F0387D-18AE-D246-BA8C-B1B0BA6BBD60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371879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1459" y="2815914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8155" y="3105931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FA90CB-2071-2341-8298-01368529A7D5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45EB0BCA-0857-4443-A079-118344685DB7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862716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21474" y="2284413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3992" y="-3016250"/>
            <a:ext cx="6261100" cy="6261100"/>
          </a:xfrm>
          <a:prstGeom prst="rect">
            <a:avLst/>
          </a:prstGeom>
        </p:spPr>
      </p:pic>
      <p:sp>
        <p:nvSpPr>
          <p:cNvPr id="15" name="SmartArt Placeholder 22">
            <a:extLst>
              <a:ext uri="{FF2B5EF4-FFF2-40B4-BE49-F238E27FC236}">
                <a16:creationId xmlns:a16="http://schemas.microsoft.com/office/drawing/2014/main" id="{21323567-CE27-4745-91D1-66CCE26133AA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7029948" y="4464772"/>
            <a:ext cx="1049874" cy="1049873"/>
          </a:xfrm>
          <a:prstGeom prst="ellipse">
            <a:avLst/>
          </a:prstGeom>
          <a:solidFill>
            <a:srgbClr val="655DC6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7E2E4FE-1615-FB47-A593-F60E90C6D4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26644" y="4754789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  <a:latin typeface="Lato" panose="020F0502020204030203" pitchFamily="34" charset="77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FCBC0B-1F14-A741-8949-FCCD5EADF37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A523B381-BA0E-F845-B933-C4055607A0E4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219296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ext, Inserts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C8EBC19-FD13-1345-8CF7-379EE9091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B935B59-DDD9-5342-B0C9-1B5859594B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46B993F-F1F5-CB4C-8413-A500F82FE1E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41F50231-0A9B-4C4C-BEEA-308E367A2EB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482556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ext, Inserts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A820165-E5BF-6144-970B-B2F8C8A9BC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559" y="350549"/>
            <a:ext cx="11405047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229554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Text, Icon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7230B98-9502-A84D-A2AA-98FC7A7D1C42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121FA2E2-7654-FD4A-B68E-7556E8EBD8E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715725-BB28-0841-8CB1-3B304DB1FD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5489" y="1788906"/>
            <a:ext cx="5964238" cy="1001936"/>
          </a:xfrm>
          <a:prstGeom prst="rect">
            <a:avLst/>
          </a:prstGeom>
        </p:spPr>
        <p:txBody>
          <a:bodyPr/>
          <a:lstStyle>
            <a:lvl1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b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31B08A85-57C6-004F-9D30-EBF7C6AF4D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02311" y="1788906"/>
            <a:ext cx="3724275" cy="34940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0"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548A37F-3911-8440-9AD5-7799F6E9A6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2244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108720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Footer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60D960-A93E-6043-879C-CCC4A4A6B4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337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491C5BE7-C9F2-1045-9292-D0587962704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B68E21B8-DD2B-4049-BA21-23F8F9ADE77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4801073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er, Footer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D02F481-44F2-3141-BD25-86FBBBD6C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89770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oot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2615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9D92E71B-9E06-8045-B240-34FC0C6EF6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676023" y="888106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2719" y="1178123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9F0387D-18AE-D246-BA8C-B1B0BA6BBD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1505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6981208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MPS Dark Green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355657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MPS Light Green">
    <p:bg>
      <p:bgPr>
        <a:solidFill>
          <a:srgbClr val="93D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82386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MPS Yellow">
    <p:bg>
      <p:bgPr>
        <a:solidFill>
          <a:srgbClr val="EBE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99150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33CB607-E2B7-3C41-95A1-A8ECAD37225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F5888B-5DC5-BF48-ABE7-17DB8064A185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81532097-9F56-6B42-BA4D-DA58D7D4BA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5" name="Picture Placeholder 22">
            <a:extLst>
              <a:ext uri="{FF2B5EF4-FFF2-40B4-BE49-F238E27FC236}">
                <a16:creationId xmlns:a16="http://schemas.microsoft.com/office/drawing/2014/main" id="{88E58F44-E130-0B41-89DF-E7C2603AFC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6" name="Picture Placeholder 22">
            <a:extLst>
              <a:ext uri="{FF2B5EF4-FFF2-40B4-BE49-F238E27FC236}">
                <a16:creationId xmlns:a16="http://schemas.microsoft.com/office/drawing/2014/main" id="{1B9A83BB-087B-C246-BBF9-3BAB33E9E17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Picture Placeholder 22">
            <a:extLst>
              <a:ext uri="{FF2B5EF4-FFF2-40B4-BE49-F238E27FC236}">
                <a16:creationId xmlns:a16="http://schemas.microsoft.com/office/drawing/2014/main" id="{78EAAED6-8CF0-124B-8BC4-9AE7166847A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8" name="Picture Placeholder 22">
            <a:extLst>
              <a:ext uri="{FF2B5EF4-FFF2-40B4-BE49-F238E27FC236}">
                <a16:creationId xmlns:a16="http://schemas.microsoft.com/office/drawing/2014/main" id="{29B15B3C-87AA-F44C-A2B8-A7BE01C4A3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BAE9FFF7-A43C-9443-B6EF-DAAFBCD464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D595D02D-E670-EA4C-B905-CDDEAAD678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D5B1CC0-1FA1-564A-8C09-9A6597D058F1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8740" y="-3408704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62E0CB2-3271-FE49-9BEA-C958E33CA01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7DA942F-2633-4346-B1E7-C868AF92F8A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626" y="870794"/>
            <a:ext cx="3915049" cy="125530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315C81A-D9F6-D94E-86D6-7EC345D0C7C9}"/>
              </a:ext>
            </a:extLst>
          </p:cNvPr>
          <p:cNvSpPr txBox="1"/>
          <p:nvPr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pshealth.org</a:t>
            </a:r>
            <a:endParaRPr lang="en-US" sz="2400" b="1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8D8CDE-84C4-C242-AAE7-93D5BD88A7F9}"/>
              </a:ext>
            </a:extLst>
          </p:cNvPr>
          <p:cNvSpPr txBox="1"/>
          <p:nvPr/>
        </p:nvSpPr>
        <p:spPr>
          <a:xfrm>
            <a:off x="2365135" y="6114658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arn more about CHAMPS contact us at </a:t>
            </a:r>
            <a:r>
              <a:rPr lang="en-US" sz="1200" b="1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@champshealth.org</a:t>
            </a:r>
            <a:r>
              <a:rPr lang="en-US" sz="12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575306938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A picture containing drawing&#10;&#10;Description automatically generated">
            <a:extLst>
              <a:ext uri="{FF2B5EF4-FFF2-40B4-BE49-F238E27FC236}">
                <a16:creationId xmlns:a16="http://schemas.microsoft.com/office/drawing/2014/main" id="{CF85DA1E-17B2-3E45-A84F-2E48CD4F387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8E3E61D8-9C10-984A-B122-F8836BE255F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8002" y="870794"/>
            <a:ext cx="3915051" cy="125530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4BDE2F7-30DA-3B40-9BBF-D75C5F1720E8}"/>
              </a:ext>
            </a:extLst>
          </p:cNvPr>
          <p:cNvSpPr txBox="1"/>
          <p:nvPr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pshealth.org</a:t>
            </a:r>
            <a:endParaRPr lang="en-US" sz="2400" b="1">
              <a:solidFill>
                <a:srgbClr val="4C9C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E06B245E-DA73-BC46-AEFE-26E269DFBE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22">
            <a:extLst>
              <a:ext uri="{FF2B5EF4-FFF2-40B4-BE49-F238E27FC236}">
                <a16:creationId xmlns:a16="http://schemas.microsoft.com/office/drawing/2014/main" id="{F134088F-A77B-2C49-96E5-319B58A460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7" name="Picture Placeholder 22">
            <a:extLst>
              <a:ext uri="{FF2B5EF4-FFF2-40B4-BE49-F238E27FC236}">
                <a16:creationId xmlns:a16="http://schemas.microsoft.com/office/drawing/2014/main" id="{D9DEF449-43A5-D14E-B1EE-060CCA6C89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8" name="Picture Placeholder 22">
            <a:extLst>
              <a:ext uri="{FF2B5EF4-FFF2-40B4-BE49-F238E27FC236}">
                <a16:creationId xmlns:a16="http://schemas.microsoft.com/office/drawing/2014/main" id="{5BF36FA1-0D2E-F545-8969-7EF5265CCB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A5197F5E-0847-974D-AA74-0BDB3B170A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0" name="Picture Placeholder 22">
            <a:extLst>
              <a:ext uri="{FF2B5EF4-FFF2-40B4-BE49-F238E27FC236}">
                <a16:creationId xmlns:a16="http://schemas.microsoft.com/office/drawing/2014/main" id="{46651819-7369-EF4C-A4C7-1A55D06D52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7DF639B-6E37-4543-9FB5-49CCA97A7BBD}"/>
              </a:ext>
            </a:extLst>
          </p:cNvPr>
          <p:cNvSpPr txBox="1"/>
          <p:nvPr/>
        </p:nvSpPr>
        <p:spPr>
          <a:xfrm>
            <a:off x="2343364" y="6158200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arn more about CHAMPS contact us at </a:t>
            </a:r>
            <a:r>
              <a:rPr lang="en-US" sz="1200" b="1" err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@champshealth.org</a:t>
            </a:r>
            <a:r>
              <a:rPr lang="en-US" sz="1200" b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Picture Placeholder 22">
            <a:extLst>
              <a:ext uri="{FF2B5EF4-FFF2-40B4-BE49-F238E27FC236}">
                <a16:creationId xmlns:a16="http://schemas.microsoft.com/office/drawing/2014/main" id="{0A4BCF71-952A-424D-8504-242DF84E3D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78AFC8-B701-2641-B1E8-DFE1B39967B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8740" y="-3393714"/>
            <a:ext cx="6261100" cy="6261100"/>
          </a:xfrm>
          <a:prstGeom prst="rect">
            <a:avLst/>
          </a:prstGeom>
        </p:spPr>
      </p:pic>
      <p:pic>
        <p:nvPicPr>
          <p:cNvPr id="24" name="Picture 23" descr="A close up of a logo&#10;&#10;Description automatically generated">
            <a:extLst>
              <a:ext uri="{FF2B5EF4-FFF2-40B4-BE49-F238E27FC236}">
                <a16:creationId xmlns:a16="http://schemas.microsoft.com/office/drawing/2014/main" id="{8A0E9415-1421-604A-A66E-F6D6041D562D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84767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1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2CAE27F-3901-E645-A050-04D292BC5F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887" y="3741414"/>
            <a:ext cx="6261100" cy="6261100"/>
          </a:xfrm>
          <a:prstGeom prst="rect">
            <a:avLst/>
          </a:prstGeom>
        </p:spPr>
      </p:pic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5D88603-6CF0-554D-A01B-4DB487C125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59555" y="2060430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5EBD1C-9E2A-5F44-A475-20AEE0BE1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A26284B5-FD9E-674B-931D-213871FA19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sp>
        <p:nvSpPr>
          <p:cNvPr id="27" name="SmartArt Placeholder 22">
            <a:extLst>
              <a:ext uri="{FF2B5EF4-FFF2-40B4-BE49-F238E27FC236}">
                <a16:creationId xmlns:a16="http://schemas.microsoft.com/office/drawing/2014/main" id="{24682560-C988-C447-94DB-D056433DFE73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10162827" y="1770413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9E15FB48-D55E-A04D-BBCE-7829E532A0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59523" y="2060430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240B5320-E0BF-EF41-978E-FD04E7F95CF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97" y="350630"/>
            <a:ext cx="5467231" cy="1752985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E67348-07E2-E341-BE1C-6892ADE15B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95266" y="2856393"/>
            <a:ext cx="3411763" cy="29974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Tagline Artwork</a:t>
            </a:r>
          </a:p>
        </p:txBody>
      </p:sp>
    </p:spTree>
    <p:extLst>
      <p:ext uri="{BB962C8B-B14F-4D97-AF65-F5344CB8AC3E}">
        <p14:creationId xmlns:p14="http://schemas.microsoft.com/office/powerpoint/2010/main" val="16957916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a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D779822-7277-9F49-8044-9CB526217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706" y="684813"/>
            <a:ext cx="7295496" cy="163723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54D36A9A-B2B2-C54E-A4D4-4408962119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0C5F3FD1-41B9-C648-BB05-BBFC4D86EB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16996513-CFC8-EF42-B9EB-5CFD237C4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C88C4901-D408-9D47-BE82-31649F1D82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9" name="SmartArt Placeholder 22">
            <a:extLst>
              <a:ext uri="{FF2B5EF4-FFF2-40B4-BE49-F238E27FC236}">
                <a16:creationId xmlns:a16="http://schemas.microsoft.com/office/drawing/2014/main" id="{05152543-AB4F-FE40-AD74-7B2B818D7921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2CC99A9-2C21-684B-B7D1-5C878FA0D3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8D4A15F-2C3F-3E4A-BACC-47AC1CFAB7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7677C7FF-1011-2D4B-981E-A437088E70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4992753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D52F3B-8147-094D-9ED7-AE6361F64A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704" y="684813"/>
            <a:ext cx="7295500" cy="1637230"/>
          </a:xfrm>
          <a:prstGeom prst="rect">
            <a:avLst/>
          </a:prstGeom>
        </p:spPr>
      </p:pic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A4957661-38D7-024C-B845-92C98BE0FB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5A9AE3B-1661-B647-AE67-90F26BBF1C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EF2F3CE-105A-7243-B6A4-A502613744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2F0DAF-147D-CA4B-B02C-6714BDDAFE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23" name="SmartArt Placeholder 22">
            <a:extLst>
              <a:ext uri="{FF2B5EF4-FFF2-40B4-BE49-F238E27FC236}">
                <a16:creationId xmlns:a16="http://schemas.microsoft.com/office/drawing/2014/main" id="{0C658E97-16EA-394F-B4D0-15A644CCA738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47F26698-C83C-A341-9690-67C59D742D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D942B7C-5F16-8049-98CB-A430D6EB84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4AEB42AC-2804-DF40-B859-453B6DEC4C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7124536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9D92E71B-9E06-8045-B240-34FC0C6EF6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676023" y="888106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2719" y="1178123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9F0387D-18AE-D246-BA8C-B1B0BA6BBD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20714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1459" y="2815914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8155" y="3105931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FA90CB-2071-2341-8298-01368529A7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45EB0BCA-0857-4443-A079-118344685DB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684836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1459" y="2815914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8155" y="3105931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FA90CB-2071-2341-8298-01368529A7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45EB0BCA-0857-4443-A079-118344685DB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5717448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21474" y="2284413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3992" y="-3016250"/>
            <a:ext cx="6261100" cy="6261100"/>
          </a:xfrm>
          <a:prstGeom prst="rect">
            <a:avLst/>
          </a:prstGeom>
        </p:spPr>
      </p:pic>
      <p:sp>
        <p:nvSpPr>
          <p:cNvPr id="15" name="SmartArt Placeholder 22">
            <a:extLst>
              <a:ext uri="{FF2B5EF4-FFF2-40B4-BE49-F238E27FC236}">
                <a16:creationId xmlns:a16="http://schemas.microsoft.com/office/drawing/2014/main" id="{21323567-CE27-4745-91D1-66CCE26133AA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7029948" y="4464772"/>
            <a:ext cx="1049874" cy="1049873"/>
          </a:xfrm>
          <a:prstGeom prst="ellipse">
            <a:avLst/>
          </a:prstGeom>
          <a:solidFill>
            <a:srgbClr val="655DC6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7E2E4FE-1615-FB47-A593-F60E90C6D4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26644" y="4754789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FCBC0B-1F14-A741-8949-FCCD5EADF3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A523B381-BA0E-F845-B933-C4055607A0E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529412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, Text, Inserts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C8EBC19-FD13-1345-8CF7-379EE9091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Lato" panose="020F0502020204030203" pitchFamily="34" charset="77"/>
              </a:defRPr>
            </a:lvl1pPr>
            <a:lvl2pPr>
              <a:defRPr b="0" i="0">
                <a:latin typeface="Lato" panose="020F0502020204030203" pitchFamily="34" charset="77"/>
              </a:defRPr>
            </a:lvl2pPr>
            <a:lvl3pPr>
              <a:defRPr b="0" i="0">
                <a:latin typeface="Lato" panose="020F0502020204030203" pitchFamily="34" charset="77"/>
              </a:defRPr>
            </a:lvl3pPr>
            <a:lvl4pPr>
              <a:defRPr b="0" i="0">
                <a:latin typeface="Lato" panose="020F0502020204030203" pitchFamily="34" charset="77"/>
              </a:defRPr>
            </a:lvl4pPr>
            <a:lvl5pPr>
              <a:defRPr b="0" i="0"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B935B59-DDD9-5342-B0C9-1B5859594B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46B993F-F1F5-CB4C-8413-A500F82FE1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41F50231-0A9B-4C4C-BEEA-308E367A2E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978197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, Text, Inserts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Lato" panose="020F0502020204030203" pitchFamily="34" charset="77"/>
              </a:defRPr>
            </a:lvl1pPr>
            <a:lvl2pPr>
              <a:defRPr b="0" i="0">
                <a:latin typeface="Lato" panose="020F0502020204030203" pitchFamily="34" charset="77"/>
              </a:defRPr>
            </a:lvl2pPr>
            <a:lvl3pPr>
              <a:defRPr b="0" i="0">
                <a:latin typeface="Lato" panose="020F0502020204030203" pitchFamily="34" charset="77"/>
              </a:defRPr>
            </a:lvl3pPr>
            <a:lvl4pPr>
              <a:defRPr b="0" i="0">
                <a:latin typeface="Lato" panose="020F0502020204030203" pitchFamily="34" charset="77"/>
              </a:defRPr>
            </a:lvl4pPr>
            <a:lvl5pPr>
              <a:defRPr b="0" i="0"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A820165-E5BF-6144-970B-B2F8C8A9BC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559" y="350549"/>
            <a:ext cx="11405047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409529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, Text, Icon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7230B98-9502-A84D-A2AA-98FC7A7D1C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121FA2E2-7654-FD4A-B68E-7556E8EBD8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715725-BB28-0841-8CB1-3B304DB1FD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5489" y="1788906"/>
            <a:ext cx="5964238" cy="10019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31B08A85-57C6-004F-9D30-EBF7C6AF4D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02311" y="1788906"/>
            <a:ext cx="3724275" cy="34940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548A37F-3911-8440-9AD5-7799F6E9A6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2244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512066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, Footer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60D960-A93E-6043-879C-CCC4A4A6B4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337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491C5BE7-C9F2-1045-9292-D05879627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B68E21B8-DD2B-4049-BA21-23F8F9ADE7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797124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ader, Footer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D02F481-44F2-3141-BD25-86FBBBD6C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7288611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33CB607-E2B7-3C41-95A1-A8ECAD37225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F5888B-5DC5-BF48-ABE7-17DB8064A1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81532097-9F56-6B42-BA4D-DA58D7D4BA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sp>
        <p:nvSpPr>
          <p:cNvPr id="5" name="Picture Placeholder 22">
            <a:extLst>
              <a:ext uri="{FF2B5EF4-FFF2-40B4-BE49-F238E27FC236}">
                <a16:creationId xmlns:a16="http://schemas.microsoft.com/office/drawing/2014/main" id="{88E58F44-E130-0B41-89DF-E7C2603AFC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6" name="Picture Placeholder 22">
            <a:extLst>
              <a:ext uri="{FF2B5EF4-FFF2-40B4-BE49-F238E27FC236}">
                <a16:creationId xmlns:a16="http://schemas.microsoft.com/office/drawing/2014/main" id="{1B9A83BB-087B-C246-BBF9-3BAB33E9E17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7" name="Picture Placeholder 22">
            <a:extLst>
              <a:ext uri="{FF2B5EF4-FFF2-40B4-BE49-F238E27FC236}">
                <a16:creationId xmlns:a16="http://schemas.microsoft.com/office/drawing/2014/main" id="{78EAAED6-8CF0-124B-8BC4-9AE7166847A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8" name="Picture Placeholder 22">
            <a:extLst>
              <a:ext uri="{FF2B5EF4-FFF2-40B4-BE49-F238E27FC236}">
                <a16:creationId xmlns:a16="http://schemas.microsoft.com/office/drawing/2014/main" id="{29B15B3C-87AA-F44C-A2B8-A7BE01C4A3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BAE9FFF7-A43C-9443-B6EF-DAAFBCD464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D595D02D-E670-EA4C-B905-CDDEAAD678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D5B1CC0-1FA1-564A-8C09-9A6597D05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8740" y="-3408704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62E0CB2-3271-FE49-9BEA-C958E33CA0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7DA942F-2633-4346-B1E7-C868AF92F8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626" y="870794"/>
            <a:ext cx="3915049" cy="125530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315C81A-D9F6-D94E-86D6-7EC345D0C7C9}"/>
              </a:ext>
            </a:extLst>
          </p:cNvPr>
          <p:cNvSpPr txBox="1"/>
          <p:nvPr userDrawn="1"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400" b="1">
              <a:solidFill>
                <a:schemeClr val="bg1"/>
              </a:solidFill>
              <a:latin typeface="Lato" panose="020F0502020204030203" pitchFamily="34" charset="77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8D8CDE-84C4-C242-AAE7-93D5BD88A7F9}"/>
              </a:ext>
            </a:extLst>
          </p:cNvPr>
          <p:cNvSpPr txBox="1"/>
          <p:nvPr userDrawn="1"/>
        </p:nvSpPr>
        <p:spPr>
          <a:xfrm>
            <a:off x="2365135" y="6114658"/>
            <a:ext cx="5747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To learn more about CHAMPS contact us at </a:t>
            </a:r>
            <a:r>
              <a:rPr lang="en-US" sz="1400" b="1" err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info@champshealth.org</a:t>
            </a:r>
            <a:r>
              <a:rPr lang="en-US" sz="1400" b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1649496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A picture containing drawing&#10;&#10;Description automatically generated">
            <a:extLst>
              <a:ext uri="{FF2B5EF4-FFF2-40B4-BE49-F238E27FC236}">
                <a16:creationId xmlns:a16="http://schemas.microsoft.com/office/drawing/2014/main" id="{CF85DA1E-17B2-3E45-A84F-2E48CD4F38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8E3E61D8-9C10-984A-B122-F8836BE255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8002" y="870794"/>
            <a:ext cx="3915051" cy="125530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4BDE2F7-30DA-3B40-9BBF-D75C5F1720E8}"/>
              </a:ext>
            </a:extLst>
          </p:cNvPr>
          <p:cNvSpPr txBox="1"/>
          <p:nvPr userDrawn="1"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pshealth.org</a:t>
            </a:r>
            <a:endParaRPr lang="en-US" sz="2400" b="1">
              <a:solidFill>
                <a:srgbClr val="4C9C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E06B245E-DA73-BC46-AEFE-26E269DFBE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22">
            <a:extLst>
              <a:ext uri="{FF2B5EF4-FFF2-40B4-BE49-F238E27FC236}">
                <a16:creationId xmlns:a16="http://schemas.microsoft.com/office/drawing/2014/main" id="{F134088F-A77B-2C49-96E5-319B58A460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7" name="Picture Placeholder 22">
            <a:extLst>
              <a:ext uri="{FF2B5EF4-FFF2-40B4-BE49-F238E27FC236}">
                <a16:creationId xmlns:a16="http://schemas.microsoft.com/office/drawing/2014/main" id="{D9DEF449-43A5-D14E-B1EE-060CCA6C89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8" name="Picture Placeholder 22">
            <a:extLst>
              <a:ext uri="{FF2B5EF4-FFF2-40B4-BE49-F238E27FC236}">
                <a16:creationId xmlns:a16="http://schemas.microsoft.com/office/drawing/2014/main" id="{5BF36FA1-0D2E-F545-8969-7EF5265CCB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A5197F5E-0847-974D-AA74-0BDB3B170A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20" name="Picture Placeholder 22">
            <a:extLst>
              <a:ext uri="{FF2B5EF4-FFF2-40B4-BE49-F238E27FC236}">
                <a16:creationId xmlns:a16="http://schemas.microsoft.com/office/drawing/2014/main" id="{46651819-7369-EF4C-A4C7-1A55D06D52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7DF639B-6E37-4543-9FB5-49CCA97A7BBD}"/>
              </a:ext>
            </a:extLst>
          </p:cNvPr>
          <p:cNvSpPr txBox="1"/>
          <p:nvPr userDrawn="1"/>
        </p:nvSpPr>
        <p:spPr>
          <a:xfrm>
            <a:off x="2343364" y="6158200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arn more about CHAMPS contact us at </a:t>
            </a:r>
            <a:r>
              <a:rPr lang="en-US" sz="1200" b="1" err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@champshealth.org</a:t>
            </a:r>
            <a:r>
              <a:rPr lang="en-US" sz="1200" b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Picture Placeholder 22">
            <a:extLst>
              <a:ext uri="{FF2B5EF4-FFF2-40B4-BE49-F238E27FC236}">
                <a16:creationId xmlns:a16="http://schemas.microsoft.com/office/drawing/2014/main" id="{0A4BCF71-952A-424D-8504-242DF84E3D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78AFC8-B701-2641-B1E8-DFE1B39967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8740" y="-3393714"/>
            <a:ext cx="6261100" cy="6261100"/>
          </a:xfrm>
          <a:prstGeom prst="rect">
            <a:avLst/>
          </a:prstGeom>
        </p:spPr>
      </p:pic>
      <p:pic>
        <p:nvPicPr>
          <p:cNvPr id="24" name="Picture 23" descr="A close up of a logo&#10;&#10;Description automatically generated">
            <a:extLst>
              <a:ext uri="{FF2B5EF4-FFF2-40B4-BE49-F238E27FC236}">
                <a16:creationId xmlns:a16="http://schemas.microsoft.com/office/drawing/2014/main" id="{8A0E9415-1421-604A-A66E-F6D6041D56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0777294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487680" y="1611313"/>
            <a:ext cx="11216640" cy="4734292"/>
          </a:xfrm>
          <a:prstGeom prst="rect">
            <a:avLst/>
          </a:prstGeom>
        </p:spPr>
        <p:txBody>
          <a:bodyPr lIns="0" tIns="0" rIns="0" bIns="0"/>
          <a:lstStyle>
            <a:lvl1pPr marL="0" indent="-18288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4572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64008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◦"/>
              <a:defRPr sz="1600" baseline="0">
                <a:solidFill>
                  <a:schemeClr val="tx1"/>
                </a:solidFill>
              </a:defRPr>
            </a:lvl3pPr>
            <a:lvl4pPr marL="9144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118872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46304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6pPr>
            <a:lvl7pPr marL="1737360">
              <a:spcBef>
                <a:spcPts val="0"/>
              </a:spcBef>
              <a:spcAft>
                <a:spcPts val="600"/>
              </a:spcAft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6196671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21474" y="2284413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3992" y="-3016250"/>
            <a:ext cx="6261100" cy="6261100"/>
          </a:xfrm>
          <a:prstGeom prst="rect">
            <a:avLst/>
          </a:prstGeom>
        </p:spPr>
      </p:pic>
      <p:sp>
        <p:nvSpPr>
          <p:cNvPr id="15" name="SmartArt Placeholder 22">
            <a:extLst>
              <a:ext uri="{FF2B5EF4-FFF2-40B4-BE49-F238E27FC236}">
                <a16:creationId xmlns:a16="http://schemas.microsoft.com/office/drawing/2014/main" id="{21323567-CE27-4745-91D1-66CCE26133AA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7029948" y="4464772"/>
            <a:ext cx="1049874" cy="1049873"/>
          </a:xfrm>
          <a:prstGeom prst="ellipse">
            <a:avLst/>
          </a:prstGeom>
          <a:solidFill>
            <a:srgbClr val="655DC6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7E2E4FE-1615-FB47-A593-F60E90C6D4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26644" y="4754789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FCBC0B-1F14-A741-8949-FCCD5EADF3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A523B381-BA0E-F845-B933-C4055607A0E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4030529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2857500"/>
            <a:ext cx="10972800" cy="1143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buNone/>
              <a:defRPr sz="400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250590218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CED7883-0051-4D1C-8A90-106A4E0C5E77}" type="datetimeFigureOut">
              <a:rPr lang="en-US" smtClean="0"/>
              <a:t>11/29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3EADB64-EBFF-4285-BA48-E07B263D093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60959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87680" y="295683"/>
            <a:ext cx="11216640" cy="124419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5"/>
          </p:nvPr>
        </p:nvSpPr>
        <p:spPr>
          <a:xfrm>
            <a:off x="487680" y="1611313"/>
            <a:ext cx="11216640" cy="4734292"/>
          </a:xfrm>
          <a:prstGeom prst="rect">
            <a:avLst/>
          </a:prstGeom>
        </p:spPr>
        <p:txBody>
          <a:bodyPr lIns="0" tIns="0" rIns="0" bIns="0"/>
          <a:lstStyle>
            <a:lvl1pPr marL="0" indent="-18288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4572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64008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◦"/>
              <a:defRPr sz="1600" baseline="0">
                <a:solidFill>
                  <a:schemeClr val="tx1"/>
                </a:solidFill>
              </a:defRPr>
            </a:lvl3pPr>
            <a:lvl4pPr marL="9144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118872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46304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6pPr>
            <a:lvl7pPr marL="1737360">
              <a:spcBef>
                <a:spcPts val="0"/>
              </a:spcBef>
              <a:spcAft>
                <a:spcPts val="600"/>
              </a:spcAft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189191"/>
      </p:ext>
    </p:extLst>
  </p:cSld>
  <p:clrMapOvr>
    <a:masterClrMapping/>
  </p:clrMapOvr>
  <p:transition>
    <p:fade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subtitle &amp; 2 columns of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3"/>
          <p:cNvSpPr>
            <a:spLocks noGrp="1"/>
          </p:cNvSpPr>
          <p:nvPr>
            <p:ph sz="quarter" idx="15"/>
          </p:nvPr>
        </p:nvSpPr>
        <p:spPr>
          <a:xfrm>
            <a:off x="487680" y="1611313"/>
            <a:ext cx="5486400" cy="4734292"/>
          </a:xfrm>
          <a:prstGeom prst="rect">
            <a:avLst/>
          </a:prstGeom>
        </p:spPr>
        <p:txBody>
          <a:bodyPr lIns="0" tIns="0" rIns="0" bIns="0"/>
          <a:lstStyle>
            <a:lvl1pPr marL="0" indent="-18288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4572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64008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◦"/>
              <a:defRPr sz="1600" baseline="0">
                <a:solidFill>
                  <a:schemeClr val="tx1"/>
                </a:solidFill>
              </a:defRPr>
            </a:lvl3pPr>
            <a:lvl4pPr marL="9144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118872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46304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6pPr>
            <a:lvl7pPr marL="1737360">
              <a:spcBef>
                <a:spcPts val="0"/>
              </a:spcBef>
              <a:spcAft>
                <a:spcPts val="600"/>
              </a:spcAft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quarter" idx="17"/>
          </p:nvPr>
        </p:nvSpPr>
        <p:spPr>
          <a:xfrm>
            <a:off x="6217920" y="1611313"/>
            <a:ext cx="5486400" cy="4734292"/>
          </a:xfrm>
          <a:prstGeom prst="rect">
            <a:avLst/>
          </a:prstGeom>
        </p:spPr>
        <p:txBody>
          <a:bodyPr lIns="0" tIns="0" rIns="0" bIns="0"/>
          <a:lstStyle>
            <a:lvl1pPr marL="0" indent="-18288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4572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64008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◦"/>
              <a:defRPr sz="1600" baseline="0">
                <a:solidFill>
                  <a:schemeClr val="tx1"/>
                </a:solidFill>
              </a:defRPr>
            </a:lvl3pPr>
            <a:lvl4pPr marL="9144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118872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46304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6pPr>
            <a:lvl7pPr marL="1737360">
              <a:spcBef>
                <a:spcPts val="0"/>
              </a:spcBef>
              <a:spcAft>
                <a:spcPts val="600"/>
              </a:spcAft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59361245"/>
      </p:ext>
    </p:extLst>
  </p:cSld>
  <p:clrMapOvr>
    <a:masterClrMapping/>
  </p:clrMapOvr>
  <p:transition>
    <p:fade/>
  </p:transition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F2CAE27F-3901-E645-A050-04D292BC5F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34887" y="3741414"/>
            <a:ext cx="6261100" cy="6261100"/>
          </a:xfrm>
          <a:prstGeom prst="rect">
            <a:avLst/>
          </a:prstGeom>
        </p:spPr>
      </p:pic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95D88603-6CF0-554D-A01B-4DB487C1251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59555" y="2060430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655EBD1C-9E2A-5F44-A475-20AEE0BE1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3" name="Picture 12" descr="A close up of a logo&#10;&#10;Description automatically generated">
            <a:extLst>
              <a:ext uri="{FF2B5EF4-FFF2-40B4-BE49-F238E27FC236}">
                <a16:creationId xmlns:a16="http://schemas.microsoft.com/office/drawing/2014/main" id="{A26284B5-FD9E-674B-931D-213871FA19C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sp>
        <p:nvSpPr>
          <p:cNvPr id="27" name="SmartArt Placeholder 22">
            <a:extLst>
              <a:ext uri="{FF2B5EF4-FFF2-40B4-BE49-F238E27FC236}">
                <a16:creationId xmlns:a16="http://schemas.microsoft.com/office/drawing/2014/main" id="{24682560-C988-C447-94DB-D056433DFE73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10162827" y="1770413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9E15FB48-D55E-A04D-BBCE-7829E532A08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959523" y="2060430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4" name="Picture 13" descr="A picture containing drawing&#10;&#10;Description automatically generated">
            <a:extLst>
              <a:ext uri="{FF2B5EF4-FFF2-40B4-BE49-F238E27FC236}">
                <a16:creationId xmlns:a16="http://schemas.microsoft.com/office/drawing/2014/main" id="{240B5320-E0BF-EF41-978E-FD04E7F95CF8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0197" y="350630"/>
            <a:ext cx="5467231" cy="1752985"/>
          </a:xfrm>
          <a:prstGeom prst="rect">
            <a:avLst/>
          </a:prstGeom>
        </p:spPr>
      </p:pic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E0E67348-07E2-E341-BE1C-6892ADE15BA3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395266" y="2856393"/>
            <a:ext cx="3411763" cy="299748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Tagline Artwork</a:t>
            </a:r>
          </a:p>
        </p:txBody>
      </p:sp>
    </p:spTree>
    <p:extLst>
      <p:ext uri="{BB962C8B-B14F-4D97-AF65-F5344CB8AC3E}">
        <p14:creationId xmlns:p14="http://schemas.microsoft.com/office/powerpoint/2010/main" val="145928941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a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8D779822-7277-9F49-8044-9CB52621783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706" y="684813"/>
            <a:ext cx="7295496" cy="163723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54D36A9A-B2B2-C54E-A4D4-4408962119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Text Placeholder 13">
            <a:extLst>
              <a:ext uri="{FF2B5EF4-FFF2-40B4-BE49-F238E27FC236}">
                <a16:creationId xmlns:a16="http://schemas.microsoft.com/office/drawing/2014/main" id="{0C5F3FD1-41B9-C648-BB05-BBFC4D86EBAE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16">
            <a:extLst>
              <a:ext uri="{FF2B5EF4-FFF2-40B4-BE49-F238E27FC236}">
                <a16:creationId xmlns:a16="http://schemas.microsoft.com/office/drawing/2014/main" id="{16996513-CFC8-EF42-B9EB-5CFD237C4AC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picture containing drawing&#10;&#10;Description automatically generated">
            <a:extLst>
              <a:ext uri="{FF2B5EF4-FFF2-40B4-BE49-F238E27FC236}">
                <a16:creationId xmlns:a16="http://schemas.microsoft.com/office/drawing/2014/main" id="{C88C4901-D408-9D47-BE82-31649F1D82C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9" name="SmartArt Placeholder 22">
            <a:extLst>
              <a:ext uri="{FF2B5EF4-FFF2-40B4-BE49-F238E27FC236}">
                <a16:creationId xmlns:a16="http://schemas.microsoft.com/office/drawing/2014/main" id="{05152543-AB4F-FE40-AD74-7B2B818D7921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2CC99A9-2C21-684B-B7D1-5C878FA0D3D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68D4A15F-2C3F-3E4A-BACC-47AC1CFAB74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7677C7FF-1011-2D4B-981E-A437088E70A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128483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2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D9D52F3B-8147-094D-9ED7-AE6361F64A4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39704" y="684813"/>
            <a:ext cx="7295500" cy="1637230"/>
          </a:xfrm>
          <a:prstGeom prst="rect">
            <a:avLst/>
          </a:prstGeom>
        </p:spPr>
      </p:pic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A4957661-38D7-024C-B845-92C98BE0FB0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351562" y="2153109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D5A9AE3B-1661-B647-AE67-90F26BBF1CB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6EF2F3CE-105A-7243-B6A4-A5026137447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032F0DAF-147D-CA4B-B02C-6714BDDAFEA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865882" y="2573406"/>
            <a:ext cx="5014692" cy="5014692"/>
          </a:xfrm>
          <a:prstGeom prst="rect">
            <a:avLst/>
          </a:prstGeom>
        </p:spPr>
      </p:pic>
      <p:sp>
        <p:nvSpPr>
          <p:cNvPr id="23" name="SmartArt Placeholder 22">
            <a:extLst>
              <a:ext uri="{FF2B5EF4-FFF2-40B4-BE49-F238E27FC236}">
                <a16:creationId xmlns:a16="http://schemas.microsoft.com/office/drawing/2014/main" id="{0C658E97-16EA-394F-B4D0-15A644CCA738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7623" y="4954380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24" name="Text Placeholder 13">
            <a:extLst>
              <a:ext uri="{FF2B5EF4-FFF2-40B4-BE49-F238E27FC236}">
                <a16:creationId xmlns:a16="http://schemas.microsoft.com/office/drawing/2014/main" id="{47F26698-C83C-A341-9690-67C59D742D8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34319" y="5244397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0" name="Picture 9" descr="A picture containing drawing&#10;&#10;Description automatically generated">
            <a:extLst>
              <a:ext uri="{FF2B5EF4-FFF2-40B4-BE49-F238E27FC236}">
                <a16:creationId xmlns:a16="http://schemas.microsoft.com/office/drawing/2014/main" id="{DD942B7C-5F16-8049-98CB-A430D6EB84A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11" name="Picture 10" descr="A close up of a logo&#10;&#10;Description automatically generated">
            <a:extLst>
              <a:ext uri="{FF2B5EF4-FFF2-40B4-BE49-F238E27FC236}">
                <a16:creationId xmlns:a16="http://schemas.microsoft.com/office/drawing/2014/main" id="{4AEB42AC-2804-DF40-B859-453B6DEC4C2D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330518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9D92E71B-9E06-8045-B240-34FC0C6EF62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676023" y="888106"/>
            <a:ext cx="1049874" cy="1049873"/>
          </a:xfrm>
          <a:prstGeom prst="ellipse">
            <a:avLst/>
          </a:prstGeom>
          <a:solidFill>
            <a:srgbClr val="F4436C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472719" y="1178123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9F0387D-18AE-D246-BA8C-B1B0BA6BBD60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315954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839944" y="2245558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8982" y="-3539394"/>
            <a:ext cx="6261100" cy="6261100"/>
          </a:xfrm>
          <a:prstGeom prst="rect">
            <a:avLst/>
          </a:prstGeom>
        </p:spPr>
      </p:pic>
      <p:sp>
        <p:nvSpPr>
          <p:cNvPr id="31" name="SmartArt Placeholder 22">
            <a:extLst>
              <a:ext uri="{FF2B5EF4-FFF2-40B4-BE49-F238E27FC236}">
                <a16:creationId xmlns:a16="http://schemas.microsoft.com/office/drawing/2014/main" id="{49E6D601-9B1F-A245-BE8E-898F1F7878F2}"/>
              </a:ext>
            </a:extLst>
          </p:cNvPr>
          <p:cNvSpPr>
            <a:spLocks noGrp="1"/>
          </p:cNvSpPr>
          <p:nvPr>
            <p:ph type="dgm" sz="quarter" idx="14" hasCustomPrompt="1"/>
          </p:nvPr>
        </p:nvSpPr>
        <p:spPr>
          <a:xfrm>
            <a:off x="5831459" y="2815914"/>
            <a:ext cx="1049874" cy="1049873"/>
          </a:xfrm>
          <a:prstGeom prst="ellipse">
            <a:avLst/>
          </a:prstGeom>
          <a:solidFill>
            <a:srgbClr val="00A7E1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32" name="Text Placeholder 13">
            <a:extLst>
              <a:ext uri="{FF2B5EF4-FFF2-40B4-BE49-F238E27FC236}">
                <a16:creationId xmlns:a16="http://schemas.microsoft.com/office/drawing/2014/main" id="{B3AF7F94-7811-6D4C-8683-FAA7EB9F3F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28155" y="3105931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CAFA90CB-2071-2341-8298-01368529A7D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45EB0BCA-0857-4443-A079-118344685DB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05482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8C2D3AD-1726-FB45-9019-F190B447B237}"/>
              </a:ext>
            </a:extLst>
          </p:cNvPr>
          <p:cNvSpPr/>
          <p:nvPr userDrawn="1"/>
        </p:nvSpPr>
        <p:spPr>
          <a:xfrm>
            <a:off x="0" y="0"/>
            <a:ext cx="12192000" cy="6261100"/>
          </a:xfrm>
          <a:prstGeom prst="rect">
            <a:avLst/>
          </a:prstGeom>
          <a:solidFill>
            <a:srgbClr val="EBE717">
              <a:alpha val="5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Picture Placeholder 22">
            <a:extLst>
              <a:ext uri="{FF2B5EF4-FFF2-40B4-BE49-F238E27FC236}">
                <a16:creationId xmlns:a16="http://schemas.microsoft.com/office/drawing/2014/main" id="{37C8780D-A3C3-ED49-8786-1E96C776264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66964" y="-1401876"/>
            <a:ext cx="7183594" cy="7183594"/>
          </a:xfrm>
          <a:prstGeom prst="ellipse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endParaRPr lang="en-US"/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0A846AE8-19B5-0B46-959A-DDD81C78955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721474" y="2284413"/>
            <a:ext cx="6261100" cy="6261100"/>
          </a:xfrm>
          <a:prstGeom prst="rect">
            <a:avLst/>
          </a:prstGeom>
        </p:spPr>
      </p:pic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A56D9B-AECA-154A-9802-DA38988D569D}"/>
              </a:ext>
            </a:extLst>
          </p:cNvPr>
          <p:cNvCxnSpPr/>
          <p:nvPr userDrawn="1"/>
        </p:nvCxnSpPr>
        <p:spPr>
          <a:xfrm>
            <a:off x="10633394" y="6402175"/>
            <a:ext cx="0" cy="260834"/>
          </a:xfrm>
          <a:prstGeom prst="line">
            <a:avLst/>
          </a:prstGeom>
          <a:ln>
            <a:solidFill>
              <a:srgbClr val="EBE71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3">
            <a:extLst>
              <a:ext uri="{FF2B5EF4-FFF2-40B4-BE49-F238E27FC236}">
                <a16:creationId xmlns:a16="http://schemas.microsoft.com/office/drawing/2014/main" id="{BE2DA954-29A0-2446-9AFC-17857076322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22930" y="3613150"/>
            <a:ext cx="5906925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24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16">
            <a:extLst>
              <a:ext uri="{FF2B5EF4-FFF2-40B4-BE49-F238E27FC236}">
                <a16:creationId xmlns:a16="http://schemas.microsoft.com/office/drawing/2014/main" id="{4321E904-697A-1146-9A25-9C065B66521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22931" y="4535488"/>
            <a:ext cx="4649788" cy="879475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FontTx/>
              <a:buNone/>
              <a:defRPr sz="1800" b="0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 sz="1600" b="0"/>
            </a:lvl2pPr>
            <a:lvl3pPr marL="914377" indent="0">
              <a:buFontTx/>
              <a:buNone/>
              <a:defRPr sz="1600" b="0"/>
            </a:lvl3pPr>
            <a:lvl4pPr marL="1371566" indent="0">
              <a:buFontTx/>
              <a:buNone/>
              <a:defRPr sz="1600" b="0"/>
            </a:lvl4pPr>
            <a:lvl5pPr marL="1828755" indent="0">
              <a:buFontTx/>
              <a:buNone/>
              <a:defRPr sz="1600" b="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9" name="Picture 8" descr="A picture containing drawing&#10;&#10;Description automatically generated">
            <a:extLst>
              <a:ext uri="{FF2B5EF4-FFF2-40B4-BE49-F238E27FC236}">
                <a16:creationId xmlns:a16="http://schemas.microsoft.com/office/drawing/2014/main" id="{E4DADB0D-14B6-714E-A3EE-0FA1952EC63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3992" y="-3016250"/>
            <a:ext cx="6261100" cy="6261100"/>
          </a:xfrm>
          <a:prstGeom prst="rect">
            <a:avLst/>
          </a:prstGeom>
        </p:spPr>
      </p:pic>
      <p:sp>
        <p:nvSpPr>
          <p:cNvPr id="15" name="SmartArt Placeholder 22">
            <a:extLst>
              <a:ext uri="{FF2B5EF4-FFF2-40B4-BE49-F238E27FC236}">
                <a16:creationId xmlns:a16="http://schemas.microsoft.com/office/drawing/2014/main" id="{21323567-CE27-4745-91D1-66CCE26133AA}"/>
              </a:ext>
            </a:extLst>
          </p:cNvPr>
          <p:cNvSpPr>
            <a:spLocks noGrp="1"/>
          </p:cNvSpPr>
          <p:nvPr>
            <p:ph type="dgm" sz="quarter" idx="16" hasCustomPrompt="1"/>
          </p:nvPr>
        </p:nvSpPr>
        <p:spPr>
          <a:xfrm>
            <a:off x="7029948" y="4464772"/>
            <a:ext cx="1049874" cy="1049873"/>
          </a:xfrm>
          <a:prstGeom prst="ellipse">
            <a:avLst/>
          </a:prstGeom>
          <a:solidFill>
            <a:srgbClr val="655DC6"/>
          </a:solidFill>
        </p:spPr>
        <p:txBody>
          <a:bodyPr>
            <a:noAutofit/>
          </a:bodyPr>
          <a:lstStyle>
            <a:lvl1pPr marL="0" indent="0" algn="ctr">
              <a:buFontTx/>
              <a:buNone/>
              <a:defRPr sz="1300">
                <a:solidFill>
                  <a:schemeClr val="bg1"/>
                </a:solidFill>
              </a:defRPr>
            </a:lvl1pPr>
          </a:lstStyle>
          <a:p>
            <a:pPr lvl="0"/>
            <a:br>
              <a:rPr lang="en-US"/>
            </a:br>
            <a:endParaRPr lang="en-US"/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E7E2E4FE-1615-FB47-A593-F60E90C6D4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826644" y="4754789"/>
            <a:ext cx="1452282" cy="92280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140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</a:t>
            </a:r>
            <a:br>
              <a:rPr lang="en-US"/>
            </a:br>
            <a:r>
              <a:rPr lang="en-US"/>
              <a:t>to edit 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8BFCBC0B-1F14-A741-8949-FCCD5EADF37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A523B381-BA0E-F845-B933-C4055607A0E4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16456" y="-4035358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84177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ext, Inserts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C8EBC19-FD13-1345-8CF7-379EE9091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Lato" panose="020F0502020204030203" pitchFamily="34" charset="77"/>
              </a:defRPr>
            </a:lvl1pPr>
            <a:lvl2pPr>
              <a:defRPr b="0" i="0">
                <a:latin typeface="Lato" panose="020F0502020204030203" pitchFamily="34" charset="77"/>
              </a:defRPr>
            </a:lvl2pPr>
            <a:lvl3pPr>
              <a:defRPr b="0" i="0">
                <a:latin typeface="Lato" panose="020F0502020204030203" pitchFamily="34" charset="77"/>
              </a:defRPr>
            </a:lvl3pPr>
            <a:lvl4pPr>
              <a:defRPr b="0" i="0">
                <a:latin typeface="Lato" panose="020F0502020204030203" pitchFamily="34" charset="77"/>
              </a:defRPr>
            </a:lvl4pPr>
            <a:lvl5pPr>
              <a:defRPr b="0" i="0"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B935B59-DDD9-5342-B0C9-1B5859594B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46B993F-F1F5-CB4C-8413-A500F82FE1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41F50231-0A9B-4C4C-BEEA-308E367A2E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86052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ext, Inserts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3C8EBC19-FD13-1345-8CF7-379EE90915C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Lato" panose="020F0502020204030203" pitchFamily="34" charset="77"/>
              </a:defRPr>
            </a:lvl1pPr>
            <a:lvl2pPr>
              <a:defRPr b="0" i="0">
                <a:latin typeface="Lato" panose="020F0502020204030203" pitchFamily="34" charset="77"/>
              </a:defRPr>
            </a:lvl2pPr>
            <a:lvl3pPr>
              <a:defRPr b="0" i="0">
                <a:latin typeface="Lato" panose="020F0502020204030203" pitchFamily="34" charset="77"/>
              </a:defRPr>
            </a:lvl3pPr>
            <a:lvl4pPr>
              <a:defRPr b="0" i="0">
                <a:latin typeface="Lato" panose="020F0502020204030203" pitchFamily="34" charset="77"/>
              </a:defRPr>
            </a:lvl4pPr>
            <a:lvl5pPr>
              <a:defRPr b="0" i="0"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FB935B59-DDD9-5342-B0C9-1B5859594B7E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7" name="Picture 6" descr="A picture containing drawing&#10;&#10;Description automatically generated">
            <a:extLst>
              <a:ext uri="{FF2B5EF4-FFF2-40B4-BE49-F238E27FC236}">
                <a16:creationId xmlns:a16="http://schemas.microsoft.com/office/drawing/2014/main" id="{846B993F-F1F5-CB4C-8413-A500F82FE1E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8" name="Picture 7" descr="A close up of a logo&#10;&#10;Description automatically generated">
            <a:extLst>
              <a:ext uri="{FF2B5EF4-FFF2-40B4-BE49-F238E27FC236}">
                <a16:creationId xmlns:a16="http://schemas.microsoft.com/office/drawing/2014/main" id="{41F50231-0A9B-4C4C-BEEA-308E367A2EB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565481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ext, Inserts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Lato" panose="020F0502020204030203" pitchFamily="34" charset="77"/>
              </a:defRPr>
            </a:lvl1pPr>
            <a:lvl2pPr>
              <a:defRPr b="0" i="0">
                <a:latin typeface="Lato" panose="020F0502020204030203" pitchFamily="34" charset="77"/>
              </a:defRPr>
            </a:lvl2pPr>
            <a:lvl3pPr>
              <a:defRPr b="0" i="0">
                <a:latin typeface="Lato" panose="020F0502020204030203" pitchFamily="34" charset="77"/>
              </a:defRPr>
            </a:lvl3pPr>
            <a:lvl4pPr>
              <a:defRPr b="0" i="0">
                <a:latin typeface="Lato" panose="020F0502020204030203" pitchFamily="34" charset="77"/>
              </a:defRPr>
            </a:lvl4pPr>
            <a:lvl5pPr>
              <a:defRPr b="0" i="0"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A820165-E5BF-6144-970B-B2F8C8A9BC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559" y="350549"/>
            <a:ext cx="11405047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53983947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ext, Icon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7230B98-9502-A84D-A2AA-98FC7A7D1C4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121FA2E2-7654-FD4A-B68E-7556E8EBD8E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73715725-BB28-0841-8CB1-3B304DB1FD0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05489" y="1788906"/>
            <a:ext cx="5964238" cy="1001936"/>
          </a:xfrm>
          <a:prstGeom prst="rect">
            <a:avLst/>
          </a:prstGeo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31B08A85-57C6-004F-9D30-EBF7C6AF4D8E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7602311" y="1788906"/>
            <a:ext cx="3724275" cy="3494087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US"/>
              <a:t>Insert Icon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C548A37F-3911-8440-9AD5-7799F6E9A6D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224459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0687539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Footer and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B60D960-A93E-6043-879C-CCC4A4A6B42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8"/>
            <a:ext cx="8508427" cy="133757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6" name="Picture 5" descr="A picture containing drawing&#10;&#10;Description automatically generated">
            <a:extLst>
              <a:ext uri="{FF2B5EF4-FFF2-40B4-BE49-F238E27FC236}">
                <a16:creationId xmlns:a16="http://schemas.microsoft.com/office/drawing/2014/main" id="{491C5BE7-C9F2-1045-9292-D058796270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95987" y="-3278325"/>
            <a:ext cx="6261100" cy="6261100"/>
          </a:xfrm>
          <a:prstGeom prst="rect">
            <a:avLst/>
          </a:prstGeom>
        </p:spPr>
      </p:pic>
      <p:pic>
        <p:nvPicPr>
          <p:cNvPr id="7" name="Picture 6" descr="A close up of a logo&#10;&#10;Description automatically generated">
            <a:extLst>
              <a:ext uri="{FF2B5EF4-FFF2-40B4-BE49-F238E27FC236}">
                <a16:creationId xmlns:a16="http://schemas.microsoft.com/office/drawing/2014/main" id="{B68E21B8-DD2B-4049-BA21-23F8F9ADE77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62693" y="-4765249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95342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Footer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4">
            <a:extLst>
              <a:ext uri="{FF2B5EF4-FFF2-40B4-BE49-F238E27FC236}">
                <a16:creationId xmlns:a16="http://schemas.microsoft.com/office/drawing/2014/main" id="{DD02F481-44F2-3141-BD25-86FBBBD6CA5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6916476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30600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8473153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MPS Dark Green">
    <p:bg>
      <p:bgPr>
        <a:solidFill>
          <a:srgbClr val="4C9C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296178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MPS Light Green">
    <p:bg>
      <p:bgPr>
        <a:solidFill>
          <a:srgbClr val="93D5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62513726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HAMPS Yellow">
    <p:bg>
      <p:bgPr>
        <a:solidFill>
          <a:srgbClr val="EBE7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1767727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233CB607-E2B7-3C41-95A1-A8ECAD372251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A picture containing drawing&#10;&#10;Description automatically generated">
            <a:extLst>
              <a:ext uri="{FF2B5EF4-FFF2-40B4-BE49-F238E27FC236}">
                <a16:creationId xmlns:a16="http://schemas.microsoft.com/office/drawing/2014/main" id="{A4F5888B-5DC5-BF48-ABE7-17DB8064A1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sp>
        <p:nvSpPr>
          <p:cNvPr id="4" name="Picture Placeholder 22">
            <a:extLst>
              <a:ext uri="{FF2B5EF4-FFF2-40B4-BE49-F238E27FC236}">
                <a16:creationId xmlns:a16="http://schemas.microsoft.com/office/drawing/2014/main" id="{81532097-9F56-6B42-BA4D-DA58D7D4BAA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sp>
        <p:nvSpPr>
          <p:cNvPr id="5" name="Picture Placeholder 22">
            <a:extLst>
              <a:ext uri="{FF2B5EF4-FFF2-40B4-BE49-F238E27FC236}">
                <a16:creationId xmlns:a16="http://schemas.microsoft.com/office/drawing/2014/main" id="{88E58F44-E130-0B41-89DF-E7C2603AFC0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6" name="Picture Placeholder 22">
            <a:extLst>
              <a:ext uri="{FF2B5EF4-FFF2-40B4-BE49-F238E27FC236}">
                <a16:creationId xmlns:a16="http://schemas.microsoft.com/office/drawing/2014/main" id="{1B9A83BB-087B-C246-BBF9-3BAB33E9E17C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7" name="Picture Placeholder 22">
            <a:extLst>
              <a:ext uri="{FF2B5EF4-FFF2-40B4-BE49-F238E27FC236}">
                <a16:creationId xmlns:a16="http://schemas.microsoft.com/office/drawing/2014/main" id="{78EAAED6-8CF0-124B-8BC4-9AE7166847A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8" name="Picture Placeholder 22">
            <a:extLst>
              <a:ext uri="{FF2B5EF4-FFF2-40B4-BE49-F238E27FC236}">
                <a16:creationId xmlns:a16="http://schemas.microsoft.com/office/drawing/2014/main" id="{29B15B3C-87AA-F44C-A2B8-A7BE01C4A39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9" name="Picture Placeholder 22">
            <a:extLst>
              <a:ext uri="{FF2B5EF4-FFF2-40B4-BE49-F238E27FC236}">
                <a16:creationId xmlns:a16="http://schemas.microsoft.com/office/drawing/2014/main" id="{BAE9FFF7-A43C-9443-B6EF-DAAFBCD464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0" name="Picture Placeholder 22">
            <a:extLst>
              <a:ext uri="{FF2B5EF4-FFF2-40B4-BE49-F238E27FC236}">
                <a16:creationId xmlns:a16="http://schemas.microsoft.com/office/drawing/2014/main" id="{D595D02D-E670-EA4C-B905-CDDEAAD6787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pic>
        <p:nvPicPr>
          <p:cNvPr id="11" name="Picture 10" descr="A picture containing drawing&#10;&#10;Description automatically generated">
            <a:extLst>
              <a:ext uri="{FF2B5EF4-FFF2-40B4-BE49-F238E27FC236}">
                <a16:creationId xmlns:a16="http://schemas.microsoft.com/office/drawing/2014/main" id="{8D5B1CC0-1FA1-564A-8C09-9A6597D058F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8740" y="-3408704"/>
            <a:ext cx="6261100" cy="6261100"/>
          </a:xfrm>
          <a:prstGeom prst="rect">
            <a:avLst/>
          </a:prstGeom>
        </p:spPr>
      </p:pic>
      <p:pic>
        <p:nvPicPr>
          <p:cNvPr id="12" name="Picture 11" descr="A close up of a logo&#10;&#10;Description automatically generated">
            <a:extLst>
              <a:ext uri="{FF2B5EF4-FFF2-40B4-BE49-F238E27FC236}">
                <a16:creationId xmlns:a16="http://schemas.microsoft.com/office/drawing/2014/main" id="{962E0CB2-3271-FE49-9BEA-C958E33CA01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  <p:pic>
        <p:nvPicPr>
          <p:cNvPr id="17" name="Picture 16" descr="A picture containing drawing&#10;&#10;Description automatically generated">
            <a:extLst>
              <a:ext uri="{FF2B5EF4-FFF2-40B4-BE49-F238E27FC236}">
                <a16:creationId xmlns:a16="http://schemas.microsoft.com/office/drawing/2014/main" id="{E7DA942F-2633-4346-B1E7-C868AF92F8A1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2626" y="870794"/>
            <a:ext cx="3915049" cy="125530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8315C81A-D9F6-D94E-86D6-7EC345D0C7C9}"/>
              </a:ext>
            </a:extLst>
          </p:cNvPr>
          <p:cNvSpPr txBox="1"/>
          <p:nvPr userDrawn="1"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en-US" sz="2400" b="1">
              <a:solidFill>
                <a:schemeClr val="bg1"/>
              </a:solidFill>
              <a:latin typeface="Lato" panose="020F0502020204030203" pitchFamily="34" charset="77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608D8CDE-84C4-C242-AAE7-93D5BD88A7F9}"/>
              </a:ext>
            </a:extLst>
          </p:cNvPr>
          <p:cNvSpPr txBox="1"/>
          <p:nvPr userDrawn="1"/>
        </p:nvSpPr>
        <p:spPr>
          <a:xfrm>
            <a:off x="2365135" y="6114658"/>
            <a:ext cx="574719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To learn more about CHAMPS contact us at </a:t>
            </a:r>
            <a:r>
              <a:rPr lang="en-US" sz="1400" b="1" err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info@champshealth.org</a:t>
            </a:r>
            <a:r>
              <a:rPr lang="en-US" sz="1400" b="1">
                <a:solidFill>
                  <a:schemeClr val="bg1"/>
                </a:solidFill>
                <a:latin typeface="Lato" panose="020F0502020204030203" pitchFamily="34" charset="77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3976691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er, Text, Inserts and No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3324" y="1786236"/>
            <a:ext cx="11405047" cy="4110067"/>
          </a:xfrm>
          <a:prstGeom prst="rect">
            <a:avLst/>
          </a:prstGeom>
        </p:spPr>
        <p:txBody>
          <a:bodyPr/>
          <a:lstStyle>
            <a:lvl1pPr>
              <a:defRPr b="0" i="0">
                <a:latin typeface="Lato" panose="020F0502020204030203" pitchFamily="34" charset="77"/>
              </a:defRPr>
            </a:lvl1pPr>
            <a:lvl2pPr>
              <a:defRPr b="0" i="0">
                <a:latin typeface="Lato" panose="020F0502020204030203" pitchFamily="34" charset="77"/>
              </a:defRPr>
            </a:lvl2pPr>
            <a:lvl3pPr>
              <a:defRPr b="0" i="0">
                <a:latin typeface="Lato" panose="020F0502020204030203" pitchFamily="34" charset="77"/>
              </a:defRPr>
            </a:lvl3pPr>
            <a:lvl4pPr>
              <a:defRPr b="0" i="0">
                <a:latin typeface="Lato" panose="020F0502020204030203" pitchFamily="34" charset="77"/>
              </a:defRPr>
            </a:lvl4pPr>
            <a:lvl5pPr>
              <a:defRPr b="0" i="0">
                <a:latin typeface="Lato" panose="020F0502020204030203" pitchFamily="34" charset="77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4">
            <a:extLst>
              <a:ext uri="{FF2B5EF4-FFF2-40B4-BE49-F238E27FC236}">
                <a16:creationId xmlns:a16="http://schemas.microsoft.com/office/drawing/2014/main" id="{6A820165-E5BF-6144-970B-B2F8C8A9BC1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7559" y="350549"/>
            <a:ext cx="11405047" cy="1001936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Tx/>
              <a:buNone/>
              <a:defRPr sz="3200" b="1">
                <a:solidFill>
                  <a:srgbClr val="4C9C2E"/>
                </a:solidFill>
              </a:defRPr>
            </a:lvl1pPr>
            <a:lvl2pPr marL="457189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5" indent="0">
              <a:buFontTx/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1041238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losing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Picture 35" descr="A picture containing drawing&#10;&#10;Description automatically generated">
            <a:extLst>
              <a:ext uri="{FF2B5EF4-FFF2-40B4-BE49-F238E27FC236}">
                <a16:creationId xmlns:a16="http://schemas.microsoft.com/office/drawing/2014/main" id="{CF85DA1E-17B2-3E45-A84F-2E48CD4F38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048025" y="3194780"/>
            <a:ext cx="6261100" cy="6261100"/>
          </a:xfrm>
          <a:prstGeom prst="rect">
            <a:avLst/>
          </a:prstGeom>
        </p:spPr>
      </p:pic>
      <p:pic>
        <p:nvPicPr>
          <p:cNvPr id="33" name="Picture 32" descr="A close up of a sign&#10;&#10;Description automatically generated">
            <a:extLst>
              <a:ext uri="{FF2B5EF4-FFF2-40B4-BE49-F238E27FC236}">
                <a16:creationId xmlns:a16="http://schemas.microsoft.com/office/drawing/2014/main" id="{8E3E61D8-9C10-984A-B122-F8836BE255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8002" y="870794"/>
            <a:ext cx="3915051" cy="1255302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14BDE2F7-30DA-3B40-9BBF-D75C5F1720E8}"/>
              </a:ext>
            </a:extLst>
          </p:cNvPr>
          <p:cNvSpPr txBox="1"/>
          <p:nvPr userDrawn="1"/>
        </p:nvSpPr>
        <p:spPr>
          <a:xfrm>
            <a:off x="8714161" y="5975451"/>
            <a:ext cx="3062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 err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mpshealth.org</a:t>
            </a:r>
            <a:endParaRPr lang="en-US" sz="2400" b="1">
              <a:solidFill>
                <a:srgbClr val="4C9C2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Picture Placeholder 22">
            <a:extLst>
              <a:ext uri="{FF2B5EF4-FFF2-40B4-BE49-F238E27FC236}">
                <a16:creationId xmlns:a16="http://schemas.microsoft.com/office/drawing/2014/main" id="{E06B245E-DA73-BC46-AEFE-26E269DFBEB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827314" y="-914400"/>
            <a:ext cx="5608849" cy="562349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endParaRPr lang="en-US"/>
          </a:p>
        </p:txBody>
      </p:sp>
      <p:sp>
        <p:nvSpPr>
          <p:cNvPr id="16" name="Picture Placeholder 22">
            <a:extLst>
              <a:ext uri="{FF2B5EF4-FFF2-40B4-BE49-F238E27FC236}">
                <a16:creationId xmlns:a16="http://schemas.microsoft.com/office/drawing/2014/main" id="{F134088F-A77B-2C49-96E5-319B58A460C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-243635" y="5047430"/>
            <a:ext cx="2178563" cy="2178563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7" name="Picture Placeholder 22">
            <a:extLst>
              <a:ext uri="{FF2B5EF4-FFF2-40B4-BE49-F238E27FC236}">
                <a16:creationId xmlns:a16="http://schemas.microsoft.com/office/drawing/2014/main" id="{D9DEF449-43A5-D14E-B1EE-060CCA6C89A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803306" y="2538128"/>
            <a:ext cx="3231654" cy="3231654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8" name="Picture Placeholder 22">
            <a:extLst>
              <a:ext uri="{FF2B5EF4-FFF2-40B4-BE49-F238E27FC236}">
                <a16:creationId xmlns:a16="http://schemas.microsoft.com/office/drawing/2014/main" id="{5BF36FA1-0D2E-F545-8969-7EF5265CCB3A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850369" y="228303"/>
            <a:ext cx="2963095" cy="296309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19" name="Picture Placeholder 22">
            <a:extLst>
              <a:ext uri="{FF2B5EF4-FFF2-40B4-BE49-F238E27FC236}">
                <a16:creationId xmlns:a16="http://schemas.microsoft.com/office/drawing/2014/main" id="{A5197F5E-0847-974D-AA74-0BDB3B170A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36116" y="3150845"/>
            <a:ext cx="1117601" cy="1117601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20" name="Picture Placeholder 22">
            <a:extLst>
              <a:ext uri="{FF2B5EF4-FFF2-40B4-BE49-F238E27FC236}">
                <a16:creationId xmlns:a16="http://schemas.microsoft.com/office/drawing/2014/main" id="{46651819-7369-EF4C-A4C7-1A55D06D52F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213332" y="4109128"/>
            <a:ext cx="1572425" cy="1572425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D7DF639B-6E37-4543-9FB5-49CCA97A7BBD}"/>
              </a:ext>
            </a:extLst>
          </p:cNvPr>
          <p:cNvSpPr txBox="1"/>
          <p:nvPr userDrawn="1"/>
        </p:nvSpPr>
        <p:spPr>
          <a:xfrm>
            <a:off x="2343364" y="6158200"/>
            <a:ext cx="54174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learn more about CHAMPS contact us at </a:t>
            </a:r>
            <a:r>
              <a:rPr lang="en-US" sz="1200" b="1" err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o@champshealth.org</a:t>
            </a:r>
            <a:r>
              <a:rPr lang="en-US" sz="1200" b="1">
                <a:solidFill>
                  <a:srgbClr val="4C9C2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sp>
        <p:nvSpPr>
          <p:cNvPr id="22" name="Picture Placeholder 22">
            <a:extLst>
              <a:ext uri="{FF2B5EF4-FFF2-40B4-BE49-F238E27FC236}">
                <a16:creationId xmlns:a16="http://schemas.microsoft.com/office/drawing/2014/main" id="{0A4BCF71-952A-424D-8504-242DF84E3D5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0268002" y="3427286"/>
            <a:ext cx="2231288" cy="2231288"/>
          </a:xfrm>
          <a:prstGeom prst="ellipse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000"/>
            </a:lvl1pPr>
          </a:lstStyle>
          <a:p>
            <a:endParaRPr lang="en-US"/>
          </a:p>
        </p:txBody>
      </p:sp>
      <p:pic>
        <p:nvPicPr>
          <p:cNvPr id="23" name="Picture 22" descr="A picture containing drawing&#10;&#10;Description automatically generated">
            <a:extLst>
              <a:ext uri="{FF2B5EF4-FFF2-40B4-BE49-F238E27FC236}">
                <a16:creationId xmlns:a16="http://schemas.microsoft.com/office/drawing/2014/main" id="{CE78AFC8-B701-2641-B1E8-DFE1B39967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alphaModFix amt="20000"/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68740" y="-3393714"/>
            <a:ext cx="6261100" cy="6261100"/>
          </a:xfrm>
          <a:prstGeom prst="rect">
            <a:avLst/>
          </a:prstGeom>
        </p:spPr>
      </p:pic>
      <p:pic>
        <p:nvPicPr>
          <p:cNvPr id="24" name="Picture 23" descr="A close up of a logo&#10;&#10;Description automatically generated">
            <a:extLst>
              <a:ext uri="{FF2B5EF4-FFF2-40B4-BE49-F238E27FC236}">
                <a16:creationId xmlns:a16="http://schemas.microsoft.com/office/drawing/2014/main" id="{8A0E9415-1421-604A-A66E-F6D6041D562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email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12333" y="4153955"/>
            <a:ext cx="6172200" cy="6184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929811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, sub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quarter" idx="15"/>
          </p:nvPr>
        </p:nvSpPr>
        <p:spPr>
          <a:xfrm>
            <a:off x="487680" y="1611313"/>
            <a:ext cx="11216640" cy="4734292"/>
          </a:xfrm>
          <a:prstGeom prst="rect">
            <a:avLst/>
          </a:prstGeom>
        </p:spPr>
        <p:txBody>
          <a:bodyPr lIns="0" tIns="0" rIns="0" bIns="0"/>
          <a:lstStyle>
            <a:lvl1pPr marL="0" indent="-18288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4572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64008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◦"/>
              <a:defRPr sz="1600" baseline="0">
                <a:solidFill>
                  <a:schemeClr val="tx1"/>
                </a:solidFill>
              </a:defRPr>
            </a:lvl3pPr>
            <a:lvl4pPr marL="9144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118872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46304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6pPr>
            <a:lvl7pPr marL="1737360">
              <a:spcBef>
                <a:spcPts val="0"/>
              </a:spcBef>
              <a:spcAft>
                <a:spcPts val="600"/>
              </a:spcAft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87680" y="295683"/>
            <a:ext cx="1121664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>
                <a:solidFill>
                  <a:schemeClr val="accent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87680" y="782621"/>
            <a:ext cx="11216640" cy="75725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0">
                <a:solidFill>
                  <a:schemeClr val="tx1"/>
                </a:solidFill>
                <a:latin typeface="+mj-lt"/>
                <a:cs typeface="Segoe UI" panose="020B0502040204020203" pitchFamily="34" charset="0"/>
              </a:defRPr>
            </a:lvl1pPr>
          </a:lstStyle>
          <a:p>
            <a:pPr lvl="0"/>
            <a:r>
              <a:rPr lang="en-US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208574293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ivider Gree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486833" y="2857500"/>
            <a:ext cx="10972800" cy="1143000"/>
          </a:xfrm>
          <a:prstGeom prst="rect">
            <a:avLst/>
          </a:prstGeom>
        </p:spPr>
        <p:txBody>
          <a:bodyPr lIns="0" tIns="0" rIns="0" bIns="0" anchor="ctr"/>
          <a:lstStyle>
            <a:lvl1pPr>
              <a:buNone/>
              <a:defRPr sz="4000">
                <a:solidFill>
                  <a:schemeClr val="bg1"/>
                </a:solidFill>
                <a:latin typeface="+mj-lt"/>
                <a:cs typeface="Segoe UI Light" panose="020B0502040204020203" pitchFamily="34" charset="0"/>
              </a:defRPr>
            </a:lvl1pPr>
            <a:lvl2pPr>
              <a:defRPr sz="6000">
                <a:solidFill>
                  <a:schemeClr val="bg2"/>
                </a:solidFill>
              </a:defRPr>
            </a:lvl2pPr>
            <a:lvl3pPr>
              <a:defRPr sz="6000">
                <a:solidFill>
                  <a:schemeClr val="bg2"/>
                </a:solidFill>
              </a:defRPr>
            </a:lvl3pPr>
            <a:lvl4pPr>
              <a:defRPr sz="6000">
                <a:solidFill>
                  <a:schemeClr val="bg2"/>
                </a:solidFill>
              </a:defRPr>
            </a:lvl4pPr>
            <a:lvl5pPr>
              <a:defRPr sz="6000"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divider text</a:t>
            </a:r>
          </a:p>
        </p:txBody>
      </p:sp>
    </p:spTree>
    <p:extLst>
      <p:ext uri="{BB962C8B-B14F-4D97-AF65-F5344CB8AC3E}">
        <p14:creationId xmlns:p14="http://schemas.microsoft.com/office/powerpoint/2010/main" val="13235371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ED7883-0051-4D1C-8A90-106A4E0C5E77}" type="datetimeFigureOut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/29/2022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EADB64-EBFF-4285-BA48-E07B263D0933}" type="slidenum">
              <a:rPr kumimoji="0" lang="en-US" sz="18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5018150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487680" y="295683"/>
            <a:ext cx="11216640" cy="1244192"/>
          </a:xfrm>
          <a:prstGeom prst="rect">
            <a:avLst/>
          </a:prstGeom>
        </p:spPr>
        <p:txBody>
          <a:bodyPr lIns="0" tIns="0" rIns="0" bIns="0"/>
          <a:lstStyle>
            <a:lvl1pPr>
              <a:defRPr>
                <a:solidFill>
                  <a:schemeClr val="accent1"/>
                </a:solidFill>
                <a:latin typeface="+mn-lt"/>
                <a:cs typeface="Segoe UI" panose="020B050204020402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15"/>
          </p:nvPr>
        </p:nvSpPr>
        <p:spPr>
          <a:xfrm>
            <a:off x="487680" y="1611313"/>
            <a:ext cx="11216640" cy="4734292"/>
          </a:xfrm>
          <a:prstGeom prst="rect">
            <a:avLst/>
          </a:prstGeom>
        </p:spPr>
        <p:txBody>
          <a:bodyPr lIns="0" tIns="0" rIns="0" bIns="0"/>
          <a:lstStyle>
            <a:lvl1pPr marL="0" indent="-182880">
              <a:spcBef>
                <a:spcPts val="0"/>
              </a:spcBef>
              <a:spcAft>
                <a:spcPts val="600"/>
              </a:spcAft>
              <a:buSzPct val="100000"/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1pPr>
            <a:lvl2pPr marL="4572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 baseline="0">
                <a:solidFill>
                  <a:schemeClr val="tx1"/>
                </a:solidFill>
              </a:defRPr>
            </a:lvl2pPr>
            <a:lvl3pPr marL="64008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◦"/>
              <a:defRPr sz="1600" baseline="0">
                <a:solidFill>
                  <a:schemeClr val="tx1"/>
                </a:solidFill>
              </a:defRPr>
            </a:lvl3pPr>
            <a:lvl4pPr marL="91440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−"/>
              <a:defRPr>
                <a:solidFill>
                  <a:schemeClr val="tx1"/>
                </a:solidFill>
              </a:defRPr>
            </a:lvl4pPr>
            <a:lvl5pPr marL="1188720" indent="-2032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</a:defRPr>
            </a:lvl5pPr>
            <a:lvl6pPr marL="1463040" indent="-22860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  <a:defRPr sz="1600"/>
            </a:lvl6pPr>
            <a:lvl7pPr marL="1737360">
              <a:spcBef>
                <a:spcPts val="0"/>
              </a:spcBef>
              <a:spcAft>
                <a:spcPts val="600"/>
              </a:spcAft>
              <a:defRPr sz="1600"/>
            </a:lvl7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1026610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8.xml"/><Relationship Id="rId13" Type="http://schemas.openxmlformats.org/officeDocument/2006/relationships/slideLayout" Target="../slideLayouts/slideLayout33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12" Type="http://schemas.openxmlformats.org/officeDocument/2006/relationships/slideLayout" Target="../slideLayouts/slideLayout32.xml"/><Relationship Id="rId17" Type="http://schemas.openxmlformats.org/officeDocument/2006/relationships/slideLayout" Target="../slideLayouts/slideLayout37.xml"/><Relationship Id="rId2" Type="http://schemas.openxmlformats.org/officeDocument/2006/relationships/slideLayout" Target="../slideLayouts/slideLayout22.xml"/><Relationship Id="rId16" Type="http://schemas.openxmlformats.org/officeDocument/2006/relationships/slideLayout" Target="../slideLayouts/slideLayout36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slideLayout" Target="../slideLayouts/slideLayout31.xml"/><Relationship Id="rId5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35.xml"/><Relationship Id="rId10" Type="http://schemas.openxmlformats.org/officeDocument/2006/relationships/slideLayout" Target="../slideLayouts/slideLayout30.xml"/><Relationship Id="rId19" Type="http://schemas.openxmlformats.org/officeDocument/2006/relationships/image" Target="../media/image11.png"/><Relationship Id="rId4" Type="http://schemas.openxmlformats.org/officeDocument/2006/relationships/slideLayout" Target="../slideLayouts/slideLayout24.xml"/><Relationship Id="rId9" Type="http://schemas.openxmlformats.org/officeDocument/2006/relationships/slideLayout" Target="../slideLayouts/slideLayout29.xml"/><Relationship Id="rId14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0.xml"/><Relationship Id="rId18" Type="http://schemas.openxmlformats.org/officeDocument/2006/relationships/slideLayout" Target="../slideLayouts/slideLayout55.xml"/><Relationship Id="rId26" Type="http://schemas.openxmlformats.org/officeDocument/2006/relationships/slideLayout" Target="../slideLayouts/slideLayout63.xml"/><Relationship Id="rId21" Type="http://schemas.openxmlformats.org/officeDocument/2006/relationships/slideLayout" Target="../slideLayouts/slideLayout58.xml"/><Relationship Id="rId34" Type="http://schemas.openxmlformats.org/officeDocument/2006/relationships/slideLayout" Target="../slideLayouts/slideLayout71.xml"/><Relationship Id="rId7" Type="http://schemas.openxmlformats.org/officeDocument/2006/relationships/slideLayout" Target="../slideLayouts/slideLayout44.xml"/><Relationship Id="rId12" Type="http://schemas.openxmlformats.org/officeDocument/2006/relationships/slideLayout" Target="../slideLayouts/slideLayout49.xml"/><Relationship Id="rId17" Type="http://schemas.openxmlformats.org/officeDocument/2006/relationships/slideLayout" Target="../slideLayouts/slideLayout54.xml"/><Relationship Id="rId25" Type="http://schemas.openxmlformats.org/officeDocument/2006/relationships/slideLayout" Target="../slideLayouts/slideLayout62.xml"/><Relationship Id="rId33" Type="http://schemas.openxmlformats.org/officeDocument/2006/relationships/slideLayout" Target="../slideLayouts/slideLayout70.xml"/><Relationship Id="rId38" Type="http://schemas.openxmlformats.org/officeDocument/2006/relationships/image" Target="../media/image17.png"/><Relationship Id="rId2" Type="http://schemas.openxmlformats.org/officeDocument/2006/relationships/slideLayout" Target="../slideLayouts/slideLayout39.xml"/><Relationship Id="rId16" Type="http://schemas.openxmlformats.org/officeDocument/2006/relationships/slideLayout" Target="../slideLayouts/slideLayout53.xml"/><Relationship Id="rId20" Type="http://schemas.openxmlformats.org/officeDocument/2006/relationships/slideLayout" Target="../slideLayouts/slideLayout57.xml"/><Relationship Id="rId29" Type="http://schemas.openxmlformats.org/officeDocument/2006/relationships/slideLayout" Target="../slideLayouts/slideLayout66.xml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24" Type="http://schemas.openxmlformats.org/officeDocument/2006/relationships/slideLayout" Target="../slideLayouts/slideLayout61.xml"/><Relationship Id="rId32" Type="http://schemas.openxmlformats.org/officeDocument/2006/relationships/slideLayout" Target="../slideLayouts/slideLayout69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42.xml"/><Relationship Id="rId15" Type="http://schemas.openxmlformats.org/officeDocument/2006/relationships/slideLayout" Target="../slideLayouts/slideLayout52.xml"/><Relationship Id="rId23" Type="http://schemas.openxmlformats.org/officeDocument/2006/relationships/slideLayout" Target="../slideLayouts/slideLayout60.xml"/><Relationship Id="rId28" Type="http://schemas.openxmlformats.org/officeDocument/2006/relationships/slideLayout" Target="../slideLayouts/slideLayout65.xml"/><Relationship Id="rId36" Type="http://schemas.openxmlformats.org/officeDocument/2006/relationships/slideLayout" Target="../slideLayouts/slideLayout73.xml"/><Relationship Id="rId10" Type="http://schemas.openxmlformats.org/officeDocument/2006/relationships/slideLayout" Target="../slideLayouts/slideLayout47.xml"/><Relationship Id="rId19" Type="http://schemas.openxmlformats.org/officeDocument/2006/relationships/slideLayout" Target="../slideLayouts/slideLayout56.xml"/><Relationship Id="rId31" Type="http://schemas.openxmlformats.org/officeDocument/2006/relationships/slideLayout" Target="../slideLayouts/slideLayout68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slideLayout" Target="../slideLayouts/slideLayout51.xml"/><Relationship Id="rId22" Type="http://schemas.openxmlformats.org/officeDocument/2006/relationships/slideLayout" Target="../slideLayouts/slideLayout59.xml"/><Relationship Id="rId27" Type="http://schemas.openxmlformats.org/officeDocument/2006/relationships/slideLayout" Target="../slideLayouts/slideLayout64.xml"/><Relationship Id="rId30" Type="http://schemas.openxmlformats.org/officeDocument/2006/relationships/slideLayout" Target="../slideLayouts/slideLayout67.xml"/><Relationship Id="rId35" Type="http://schemas.openxmlformats.org/officeDocument/2006/relationships/slideLayout" Target="../slideLayouts/slideLayout72.xml"/><Relationship Id="rId8" Type="http://schemas.openxmlformats.org/officeDocument/2006/relationships/slideLayout" Target="../slideLayouts/slideLayout45.xml"/><Relationship Id="rId3" Type="http://schemas.openxmlformats.org/officeDocument/2006/relationships/slideLayout" Target="../slideLayouts/slideLayout4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1.xml"/><Relationship Id="rId13" Type="http://schemas.openxmlformats.org/officeDocument/2006/relationships/slideLayout" Target="../slideLayouts/slideLayout86.xml"/><Relationship Id="rId18" Type="http://schemas.openxmlformats.org/officeDocument/2006/relationships/slideLayout" Target="../slideLayouts/slideLayout91.xml"/><Relationship Id="rId3" Type="http://schemas.openxmlformats.org/officeDocument/2006/relationships/slideLayout" Target="../slideLayouts/slideLayout76.xml"/><Relationship Id="rId21" Type="http://schemas.openxmlformats.org/officeDocument/2006/relationships/slideLayout" Target="../slideLayouts/slideLayout94.xml"/><Relationship Id="rId7" Type="http://schemas.openxmlformats.org/officeDocument/2006/relationships/slideLayout" Target="../slideLayouts/slideLayout80.xml"/><Relationship Id="rId12" Type="http://schemas.openxmlformats.org/officeDocument/2006/relationships/slideLayout" Target="../slideLayouts/slideLayout85.xml"/><Relationship Id="rId17" Type="http://schemas.openxmlformats.org/officeDocument/2006/relationships/slideLayout" Target="../slideLayouts/slideLayout90.xml"/><Relationship Id="rId2" Type="http://schemas.openxmlformats.org/officeDocument/2006/relationships/slideLayout" Target="../slideLayouts/slideLayout75.xml"/><Relationship Id="rId16" Type="http://schemas.openxmlformats.org/officeDocument/2006/relationships/slideLayout" Target="../slideLayouts/slideLayout89.xml"/><Relationship Id="rId20" Type="http://schemas.openxmlformats.org/officeDocument/2006/relationships/slideLayout" Target="../slideLayouts/slideLayout93.xml"/><Relationship Id="rId1" Type="http://schemas.openxmlformats.org/officeDocument/2006/relationships/slideLayout" Target="../slideLayouts/slideLayout74.xml"/><Relationship Id="rId6" Type="http://schemas.openxmlformats.org/officeDocument/2006/relationships/slideLayout" Target="../slideLayouts/slideLayout79.xml"/><Relationship Id="rId11" Type="http://schemas.openxmlformats.org/officeDocument/2006/relationships/slideLayout" Target="../slideLayouts/slideLayout84.xml"/><Relationship Id="rId5" Type="http://schemas.openxmlformats.org/officeDocument/2006/relationships/slideLayout" Target="../slideLayouts/slideLayout78.xml"/><Relationship Id="rId15" Type="http://schemas.openxmlformats.org/officeDocument/2006/relationships/slideLayout" Target="../slideLayouts/slideLayout88.xml"/><Relationship Id="rId23" Type="http://schemas.openxmlformats.org/officeDocument/2006/relationships/image" Target="../media/image31.png"/><Relationship Id="rId10" Type="http://schemas.openxmlformats.org/officeDocument/2006/relationships/slideLayout" Target="../slideLayouts/slideLayout83.xml"/><Relationship Id="rId19" Type="http://schemas.openxmlformats.org/officeDocument/2006/relationships/slideLayout" Target="../slideLayouts/slideLayout92.xml"/><Relationship Id="rId4" Type="http://schemas.openxmlformats.org/officeDocument/2006/relationships/slideLayout" Target="../slideLayouts/slideLayout77.xml"/><Relationship Id="rId9" Type="http://schemas.openxmlformats.org/officeDocument/2006/relationships/slideLayout" Target="../slideLayouts/slideLayout82.xml"/><Relationship Id="rId14" Type="http://schemas.openxmlformats.org/officeDocument/2006/relationships/slideLayout" Target="../slideLayouts/slideLayout87.xml"/><Relationship Id="rId22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5F638E-F802-9044-B2EC-3495C534CB8E}"/>
              </a:ext>
            </a:extLst>
          </p:cNvPr>
          <p:cNvSpPr/>
          <p:nvPr userDrawn="1"/>
        </p:nvSpPr>
        <p:spPr>
          <a:xfrm>
            <a:off x="0" y="6246796"/>
            <a:ext cx="12192000" cy="611205"/>
          </a:xfrm>
          <a:prstGeom prst="rect">
            <a:avLst/>
          </a:prstGeom>
          <a:solidFill>
            <a:srgbClr val="D0CFCD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1842DD5-B09E-8C4A-82A4-924E7CC0FE43}"/>
              </a:ext>
            </a:extLst>
          </p:cNvPr>
          <p:cNvPicPr>
            <a:picLocks noChangeAspect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D37A2923-7C0D-6647-865D-8C3B555A89B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7F83BC-8890-9A40-972A-B3BFE7A916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67336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99" r:id="rId2"/>
    <p:sldLayoutId id="2147483685" r:id="rId3"/>
    <p:sldLayoutId id="2147483700" r:id="rId4"/>
    <p:sldLayoutId id="2147483686" r:id="rId5"/>
    <p:sldLayoutId id="2147483687" r:id="rId6"/>
    <p:sldLayoutId id="2147483688" r:id="rId7"/>
    <p:sldLayoutId id="2147483692" r:id="rId8"/>
    <p:sldLayoutId id="2147483674" r:id="rId9"/>
    <p:sldLayoutId id="2147483694" r:id="rId10"/>
    <p:sldLayoutId id="2147483689" r:id="rId11"/>
    <p:sldLayoutId id="2147483691" r:id="rId12"/>
    <p:sldLayoutId id="2147483693" r:id="rId13"/>
    <p:sldLayoutId id="2147483696" r:id="rId14"/>
    <p:sldLayoutId id="2147483697" r:id="rId15"/>
    <p:sldLayoutId id="2147483698" r:id="rId16"/>
    <p:sldLayoutId id="2147483690" r:id="rId17"/>
    <p:sldLayoutId id="2147483678" r:id="rId18"/>
    <p:sldLayoutId id="2147483744" r:id="rId19"/>
    <p:sldLayoutId id="2147483803" r:id="rId20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4C9C2E"/>
          </a:solidFill>
          <a:latin typeface="Lato" panose="020F0502020204030203" pitchFamily="34" charset="77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5F638E-F802-9044-B2EC-3495C534CB8E}"/>
              </a:ext>
            </a:extLst>
          </p:cNvPr>
          <p:cNvSpPr/>
          <p:nvPr userDrawn="1"/>
        </p:nvSpPr>
        <p:spPr>
          <a:xfrm>
            <a:off x="0" y="6246796"/>
            <a:ext cx="12192000" cy="611205"/>
          </a:xfrm>
          <a:prstGeom prst="rect">
            <a:avLst/>
          </a:prstGeom>
          <a:solidFill>
            <a:srgbClr val="D0CFCD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1842DD5-B09E-8C4A-82A4-924E7CC0FE43}"/>
              </a:ext>
            </a:extLst>
          </p:cNvPr>
          <p:cNvPicPr>
            <a:picLocks noChangeAspect="1"/>
          </p:cNvPicPr>
          <p:nvPr userDrawn="1"/>
        </p:nvPicPr>
        <p:blipFill>
          <a:blip r:embed="rId19"/>
          <a:srcRect/>
          <a:stretch/>
        </p:blipFill>
        <p:spPr>
          <a:xfrm>
            <a:off x="10414162" y="6306915"/>
            <a:ext cx="1530578" cy="4907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6737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  <p:sldLayoutId id="2147483703" r:id="rId2"/>
    <p:sldLayoutId id="2147483704" r:id="rId3"/>
    <p:sldLayoutId id="2147483705" r:id="rId4"/>
    <p:sldLayoutId id="2147483706" r:id="rId5"/>
    <p:sldLayoutId id="2147483707" r:id="rId6"/>
    <p:sldLayoutId id="2147483708" r:id="rId7"/>
    <p:sldLayoutId id="2147483709" r:id="rId8"/>
    <p:sldLayoutId id="2147483710" r:id="rId9"/>
    <p:sldLayoutId id="2147483711" r:id="rId10"/>
    <p:sldLayoutId id="2147483712" r:id="rId11"/>
    <p:sldLayoutId id="2147483713" r:id="rId12"/>
    <p:sldLayoutId id="2147483714" r:id="rId13"/>
    <p:sldLayoutId id="2147483715" r:id="rId14"/>
    <p:sldLayoutId id="2147483716" r:id="rId15"/>
    <p:sldLayoutId id="2147483717" r:id="rId16"/>
    <p:sldLayoutId id="2147483718" r:id="rId17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4C9C2E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1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5F638E-F802-9044-B2EC-3495C534CB8E}"/>
              </a:ext>
            </a:extLst>
          </p:cNvPr>
          <p:cNvSpPr/>
          <p:nvPr/>
        </p:nvSpPr>
        <p:spPr>
          <a:xfrm>
            <a:off x="0" y="6246796"/>
            <a:ext cx="12192000" cy="611205"/>
          </a:xfrm>
          <a:prstGeom prst="rect">
            <a:avLst/>
          </a:prstGeom>
          <a:solidFill>
            <a:srgbClr val="D0CFCD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1842DD5-B09E-8C4A-82A4-924E7CC0FE43}"/>
              </a:ext>
            </a:extLst>
          </p:cNvPr>
          <p:cNvPicPr>
            <a:picLocks noChangeAspect="1"/>
          </p:cNvPicPr>
          <p:nvPr/>
        </p:nvPicPr>
        <p:blipFill>
          <a:blip r:embed="rId3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34A3E10E-8481-334E-9521-67558E8D092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CF85F4D-5DF2-0B4E-B5BC-A281CB4735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689499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  <p:sldLayoutId id="2147483756" r:id="rId11"/>
    <p:sldLayoutId id="2147483757" r:id="rId12"/>
    <p:sldLayoutId id="2147483758" r:id="rId13"/>
    <p:sldLayoutId id="2147483759" r:id="rId14"/>
    <p:sldLayoutId id="2147483760" r:id="rId15"/>
    <p:sldLayoutId id="2147483761" r:id="rId16"/>
    <p:sldLayoutId id="2147483762" r:id="rId17"/>
    <p:sldLayoutId id="2147483763" r:id="rId18"/>
    <p:sldLayoutId id="2147483765" r:id="rId19"/>
    <p:sldLayoutId id="2147483766" r:id="rId20"/>
    <p:sldLayoutId id="2147483767" r:id="rId21"/>
    <p:sldLayoutId id="2147483768" r:id="rId22"/>
    <p:sldLayoutId id="2147483769" r:id="rId23"/>
    <p:sldLayoutId id="2147483770" r:id="rId24"/>
    <p:sldLayoutId id="2147483771" r:id="rId25"/>
    <p:sldLayoutId id="2147483772" r:id="rId26"/>
    <p:sldLayoutId id="2147483773" r:id="rId27"/>
    <p:sldLayoutId id="2147483774" r:id="rId28"/>
    <p:sldLayoutId id="2147483775" r:id="rId29"/>
    <p:sldLayoutId id="2147483776" r:id="rId30"/>
    <p:sldLayoutId id="2147483777" r:id="rId31"/>
    <p:sldLayoutId id="2147483778" r:id="rId32"/>
    <p:sldLayoutId id="2147483779" r:id="rId33"/>
    <p:sldLayoutId id="2147483780" r:id="rId34"/>
    <p:sldLayoutId id="2147483781" r:id="rId35"/>
    <p:sldLayoutId id="2147483782" r:id="rId36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4C9C2E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Arial" panose="020B0604020202020204" pitchFamily="34" charset="0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95F638E-F802-9044-B2EC-3495C534CB8E}"/>
              </a:ext>
            </a:extLst>
          </p:cNvPr>
          <p:cNvSpPr/>
          <p:nvPr userDrawn="1"/>
        </p:nvSpPr>
        <p:spPr>
          <a:xfrm>
            <a:off x="0" y="6246796"/>
            <a:ext cx="12192000" cy="611205"/>
          </a:xfrm>
          <a:prstGeom prst="rect">
            <a:avLst/>
          </a:prstGeom>
          <a:solidFill>
            <a:srgbClr val="D0CFCD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C1842DD5-B09E-8C4A-82A4-924E7CC0FE43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414162" y="6306915"/>
            <a:ext cx="1530578" cy="490757"/>
          </a:xfrm>
          <a:prstGeom prst="rect">
            <a:avLst/>
          </a:prstGeom>
        </p:spPr>
      </p:pic>
      <p:sp>
        <p:nvSpPr>
          <p:cNvPr id="3" name="Title Placeholder 2">
            <a:extLst>
              <a:ext uri="{FF2B5EF4-FFF2-40B4-BE49-F238E27FC236}">
                <a16:creationId xmlns:a16="http://schemas.microsoft.com/office/drawing/2014/main" id="{2160FB1F-2B5B-6A4F-895F-01F5D63886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B180300-629D-BE4D-A31B-2263AD0C1C1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4690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4" r:id="rId1"/>
    <p:sldLayoutId id="2147483785" r:id="rId2"/>
    <p:sldLayoutId id="2147483786" r:id="rId3"/>
    <p:sldLayoutId id="2147483787" r:id="rId4"/>
    <p:sldLayoutId id="2147483788" r:id="rId5"/>
    <p:sldLayoutId id="2147483789" r:id="rId6"/>
    <p:sldLayoutId id="2147483790" r:id="rId7"/>
    <p:sldLayoutId id="2147483791" r:id="rId8"/>
    <p:sldLayoutId id="2147483792" r:id="rId9"/>
    <p:sldLayoutId id="2147483793" r:id="rId10"/>
    <p:sldLayoutId id="2147483794" r:id="rId11"/>
    <p:sldLayoutId id="2147483795" r:id="rId12"/>
    <p:sldLayoutId id="2147483796" r:id="rId13"/>
    <p:sldLayoutId id="2147483797" r:id="rId14"/>
    <p:sldLayoutId id="2147483798" r:id="rId15"/>
    <p:sldLayoutId id="2147483799" r:id="rId16"/>
    <p:sldLayoutId id="2147483800" r:id="rId17"/>
    <p:sldLayoutId id="2147483801" r:id="rId18"/>
    <p:sldLayoutId id="2147483802" r:id="rId19"/>
    <p:sldLayoutId id="2147483804" r:id="rId20"/>
    <p:sldLayoutId id="2147483805" r:id="rId21"/>
  </p:sldLayoutIdLst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rgbClr val="4C9C2E"/>
          </a:solidFill>
          <a:latin typeface="Lato" panose="020F0502020204030203" pitchFamily="34" charset="77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Lato" panose="020F0502020204030203" pitchFamily="34" charset="77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3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4.xml"/></Relationships>
</file>

<file path=ppt/slides/_rels/slide13.xml.rels><?xml version="1.0" encoding="UTF-8" standalone="yes"?>
<Relationships xmlns="http://schemas.openxmlformats.org/package/2006/relationships"><Relationship Id="rId26" Type="http://schemas.openxmlformats.org/officeDocument/2006/relationships/tags" Target="../tags/tag302.xml"/><Relationship Id="rId21" Type="http://schemas.openxmlformats.org/officeDocument/2006/relationships/tags" Target="../tags/tag297.xml"/><Relationship Id="rId42" Type="http://schemas.openxmlformats.org/officeDocument/2006/relationships/tags" Target="../tags/tag318.xml"/><Relationship Id="rId47" Type="http://schemas.openxmlformats.org/officeDocument/2006/relationships/tags" Target="../tags/tag323.xml"/><Relationship Id="rId63" Type="http://schemas.openxmlformats.org/officeDocument/2006/relationships/tags" Target="../tags/tag339.xml"/><Relationship Id="rId68" Type="http://schemas.openxmlformats.org/officeDocument/2006/relationships/tags" Target="../tags/tag344.xml"/><Relationship Id="rId84" Type="http://schemas.openxmlformats.org/officeDocument/2006/relationships/tags" Target="../tags/tag360.xml"/><Relationship Id="rId89" Type="http://schemas.openxmlformats.org/officeDocument/2006/relationships/tags" Target="../tags/tag365.xml"/><Relationship Id="rId16" Type="http://schemas.openxmlformats.org/officeDocument/2006/relationships/tags" Target="../tags/tag292.xml"/><Relationship Id="rId11" Type="http://schemas.openxmlformats.org/officeDocument/2006/relationships/tags" Target="../tags/tag287.xml"/><Relationship Id="rId32" Type="http://schemas.openxmlformats.org/officeDocument/2006/relationships/tags" Target="../tags/tag308.xml"/><Relationship Id="rId37" Type="http://schemas.openxmlformats.org/officeDocument/2006/relationships/tags" Target="../tags/tag313.xml"/><Relationship Id="rId53" Type="http://schemas.openxmlformats.org/officeDocument/2006/relationships/tags" Target="../tags/tag329.xml"/><Relationship Id="rId58" Type="http://schemas.openxmlformats.org/officeDocument/2006/relationships/tags" Target="../tags/tag334.xml"/><Relationship Id="rId74" Type="http://schemas.openxmlformats.org/officeDocument/2006/relationships/tags" Target="../tags/tag350.xml"/><Relationship Id="rId79" Type="http://schemas.openxmlformats.org/officeDocument/2006/relationships/tags" Target="../tags/tag355.xml"/><Relationship Id="rId5" Type="http://schemas.openxmlformats.org/officeDocument/2006/relationships/tags" Target="../tags/tag281.xml"/><Relationship Id="rId90" Type="http://schemas.openxmlformats.org/officeDocument/2006/relationships/tags" Target="../tags/tag366.xml"/><Relationship Id="rId95" Type="http://schemas.openxmlformats.org/officeDocument/2006/relationships/image" Target="../media/image37.png"/><Relationship Id="rId22" Type="http://schemas.openxmlformats.org/officeDocument/2006/relationships/tags" Target="../tags/tag298.xml"/><Relationship Id="rId27" Type="http://schemas.openxmlformats.org/officeDocument/2006/relationships/tags" Target="../tags/tag303.xml"/><Relationship Id="rId43" Type="http://schemas.openxmlformats.org/officeDocument/2006/relationships/tags" Target="../tags/tag319.xml"/><Relationship Id="rId48" Type="http://schemas.openxmlformats.org/officeDocument/2006/relationships/tags" Target="../tags/tag324.xml"/><Relationship Id="rId64" Type="http://schemas.openxmlformats.org/officeDocument/2006/relationships/tags" Target="../tags/tag340.xml"/><Relationship Id="rId69" Type="http://schemas.openxmlformats.org/officeDocument/2006/relationships/tags" Target="../tags/tag345.xml"/><Relationship Id="rId80" Type="http://schemas.openxmlformats.org/officeDocument/2006/relationships/tags" Target="../tags/tag356.xml"/><Relationship Id="rId85" Type="http://schemas.openxmlformats.org/officeDocument/2006/relationships/tags" Target="../tags/tag361.xml"/><Relationship Id="rId3" Type="http://schemas.openxmlformats.org/officeDocument/2006/relationships/tags" Target="../tags/tag279.xml"/><Relationship Id="rId12" Type="http://schemas.openxmlformats.org/officeDocument/2006/relationships/tags" Target="../tags/tag288.xml"/><Relationship Id="rId17" Type="http://schemas.openxmlformats.org/officeDocument/2006/relationships/tags" Target="../tags/tag293.xml"/><Relationship Id="rId25" Type="http://schemas.openxmlformats.org/officeDocument/2006/relationships/tags" Target="../tags/tag301.xml"/><Relationship Id="rId33" Type="http://schemas.openxmlformats.org/officeDocument/2006/relationships/tags" Target="../tags/tag309.xml"/><Relationship Id="rId38" Type="http://schemas.openxmlformats.org/officeDocument/2006/relationships/tags" Target="../tags/tag314.xml"/><Relationship Id="rId46" Type="http://schemas.openxmlformats.org/officeDocument/2006/relationships/tags" Target="../tags/tag322.xml"/><Relationship Id="rId59" Type="http://schemas.openxmlformats.org/officeDocument/2006/relationships/tags" Target="../tags/tag335.xml"/><Relationship Id="rId67" Type="http://schemas.openxmlformats.org/officeDocument/2006/relationships/tags" Target="../tags/tag343.xml"/><Relationship Id="rId20" Type="http://schemas.openxmlformats.org/officeDocument/2006/relationships/tags" Target="../tags/tag296.xml"/><Relationship Id="rId41" Type="http://schemas.openxmlformats.org/officeDocument/2006/relationships/tags" Target="../tags/tag317.xml"/><Relationship Id="rId54" Type="http://schemas.openxmlformats.org/officeDocument/2006/relationships/tags" Target="../tags/tag330.xml"/><Relationship Id="rId62" Type="http://schemas.openxmlformats.org/officeDocument/2006/relationships/tags" Target="../tags/tag338.xml"/><Relationship Id="rId70" Type="http://schemas.openxmlformats.org/officeDocument/2006/relationships/tags" Target="../tags/tag346.xml"/><Relationship Id="rId75" Type="http://schemas.openxmlformats.org/officeDocument/2006/relationships/tags" Target="../tags/tag351.xml"/><Relationship Id="rId83" Type="http://schemas.openxmlformats.org/officeDocument/2006/relationships/tags" Target="../tags/tag359.xml"/><Relationship Id="rId88" Type="http://schemas.openxmlformats.org/officeDocument/2006/relationships/tags" Target="../tags/tag364.xml"/><Relationship Id="rId91" Type="http://schemas.openxmlformats.org/officeDocument/2006/relationships/tags" Target="../tags/tag367.xml"/><Relationship Id="rId96" Type="http://schemas.openxmlformats.org/officeDocument/2006/relationships/image" Target="../media/image38.jpeg"/><Relationship Id="rId1" Type="http://schemas.openxmlformats.org/officeDocument/2006/relationships/tags" Target="../tags/tag277.xml"/><Relationship Id="rId6" Type="http://schemas.openxmlformats.org/officeDocument/2006/relationships/tags" Target="../tags/tag282.xml"/><Relationship Id="rId15" Type="http://schemas.openxmlformats.org/officeDocument/2006/relationships/tags" Target="../tags/tag291.xml"/><Relationship Id="rId23" Type="http://schemas.openxmlformats.org/officeDocument/2006/relationships/tags" Target="../tags/tag299.xml"/><Relationship Id="rId28" Type="http://schemas.openxmlformats.org/officeDocument/2006/relationships/tags" Target="../tags/tag304.xml"/><Relationship Id="rId36" Type="http://schemas.openxmlformats.org/officeDocument/2006/relationships/tags" Target="../tags/tag312.xml"/><Relationship Id="rId49" Type="http://schemas.openxmlformats.org/officeDocument/2006/relationships/tags" Target="../tags/tag325.xml"/><Relationship Id="rId57" Type="http://schemas.openxmlformats.org/officeDocument/2006/relationships/tags" Target="../tags/tag333.xml"/><Relationship Id="rId10" Type="http://schemas.openxmlformats.org/officeDocument/2006/relationships/tags" Target="../tags/tag286.xml"/><Relationship Id="rId31" Type="http://schemas.openxmlformats.org/officeDocument/2006/relationships/tags" Target="../tags/tag307.xml"/><Relationship Id="rId44" Type="http://schemas.openxmlformats.org/officeDocument/2006/relationships/tags" Target="../tags/tag320.xml"/><Relationship Id="rId52" Type="http://schemas.openxmlformats.org/officeDocument/2006/relationships/tags" Target="../tags/tag328.xml"/><Relationship Id="rId60" Type="http://schemas.openxmlformats.org/officeDocument/2006/relationships/tags" Target="../tags/tag336.xml"/><Relationship Id="rId65" Type="http://schemas.openxmlformats.org/officeDocument/2006/relationships/tags" Target="../tags/tag341.xml"/><Relationship Id="rId73" Type="http://schemas.openxmlformats.org/officeDocument/2006/relationships/tags" Target="../tags/tag349.xml"/><Relationship Id="rId78" Type="http://schemas.openxmlformats.org/officeDocument/2006/relationships/tags" Target="../tags/tag354.xml"/><Relationship Id="rId81" Type="http://schemas.openxmlformats.org/officeDocument/2006/relationships/tags" Target="../tags/tag357.xml"/><Relationship Id="rId86" Type="http://schemas.openxmlformats.org/officeDocument/2006/relationships/tags" Target="../tags/tag362.xml"/><Relationship Id="rId94" Type="http://schemas.openxmlformats.org/officeDocument/2006/relationships/notesSlide" Target="../notesSlides/notesSlide12.xml"/><Relationship Id="rId4" Type="http://schemas.openxmlformats.org/officeDocument/2006/relationships/tags" Target="../tags/tag280.xml"/><Relationship Id="rId9" Type="http://schemas.openxmlformats.org/officeDocument/2006/relationships/tags" Target="../tags/tag285.xml"/><Relationship Id="rId13" Type="http://schemas.openxmlformats.org/officeDocument/2006/relationships/tags" Target="../tags/tag289.xml"/><Relationship Id="rId18" Type="http://schemas.openxmlformats.org/officeDocument/2006/relationships/tags" Target="../tags/tag294.xml"/><Relationship Id="rId39" Type="http://schemas.openxmlformats.org/officeDocument/2006/relationships/tags" Target="../tags/tag315.xml"/><Relationship Id="rId34" Type="http://schemas.openxmlformats.org/officeDocument/2006/relationships/tags" Target="../tags/tag310.xml"/><Relationship Id="rId50" Type="http://schemas.openxmlformats.org/officeDocument/2006/relationships/tags" Target="../tags/tag326.xml"/><Relationship Id="rId55" Type="http://schemas.openxmlformats.org/officeDocument/2006/relationships/tags" Target="../tags/tag331.xml"/><Relationship Id="rId76" Type="http://schemas.openxmlformats.org/officeDocument/2006/relationships/tags" Target="../tags/tag352.xml"/><Relationship Id="rId97" Type="http://schemas.openxmlformats.org/officeDocument/2006/relationships/image" Target="../media/image39.jpeg"/><Relationship Id="rId7" Type="http://schemas.openxmlformats.org/officeDocument/2006/relationships/tags" Target="../tags/tag283.xml"/><Relationship Id="rId71" Type="http://schemas.openxmlformats.org/officeDocument/2006/relationships/tags" Target="../tags/tag347.xml"/><Relationship Id="rId92" Type="http://schemas.openxmlformats.org/officeDocument/2006/relationships/tags" Target="../tags/tag368.xml"/><Relationship Id="rId2" Type="http://schemas.openxmlformats.org/officeDocument/2006/relationships/tags" Target="../tags/tag278.xml"/><Relationship Id="rId29" Type="http://schemas.openxmlformats.org/officeDocument/2006/relationships/tags" Target="../tags/tag305.xml"/><Relationship Id="rId24" Type="http://schemas.openxmlformats.org/officeDocument/2006/relationships/tags" Target="../tags/tag300.xml"/><Relationship Id="rId40" Type="http://schemas.openxmlformats.org/officeDocument/2006/relationships/tags" Target="../tags/tag316.xml"/><Relationship Id="rId45" Type="http://schemas.openxmlformats.org/officeDocument/2006/relationships/tags" Target="../tags/tag321.xml"/><Relationship Id="rId66" Type="http://schemas.openxmlformats.org/officeDocument/2006/relationships/tags" Target="../tags/tag342.xml"/><Relationship Id="rId87" Type="http://schemas.openxmlformats.org/officeDocument/2006/relationships/tags" Target="../tags/tag363.xml"/><Relationship Id="rId61" Type="http://schemas.openxmlformats.org/officeDocument/2006/relationships/tags" Target="../tags/tag337.xml"/><Relationship Id="rId82" Type="http://schemas.openxmlformats.org/officeDocument/2006/relationships/tags" Target="../tags/tag358.xml"/><Relationship Id="rId19" Type="http://schemas.openxmlformats.org/officeDocument/2006/relationships/tags" Target="../tags/tag295.xml"/><Relationship Id="rId14" Type="http://schemas.openxmlformats.org/officeDocument/2006/relationships/tags" Target="../tags/tag290.xml"/><Relationship Id="rId30" Type="http://schemas.openxmlformats.org/officeDocument/2006/relationships/tags" Target="../tags/tag306.xml"/><Relationship Id="rId35" Type="http://schemas.openxmlformats.org/officeDocument/2006/relationships/tags" Target="../tags/tag311.xml"/><Relationship Id="rId56" Type="http://schemas.openxmlformats.org/officeDocument/2006/relationships/tags" Target="../tags/tag332.xml"/><Relationship Id="rId77" Type="http://schemas.openxmlformats.org/officeDocument/2006/relationships/tags" Target="../tags/tag353.xml"/><Relationship Id="rId8" Type="http://schemas.openxmlformats.org/officeDocument/2006/relationships/tags" Target="../tags/tag284.xml"/><Relationship Id="rId51" Type="http://schemas.openxmlformats.org/officeDocument/2006/relationships/tags" Target="../tags/tag327.xml"/><Relationship Id="rId72" Type="http://schemas.openxmlformats.org/officeDocument/2006/relationships/tags" Target="../tags/tag348.xml"/><Relationship Id="rId93" Type="http://schemas.openxmlformats.org/officeDocument/2006/relationships/slideLayout" Target="../slideLayouts/slideLayout93.xml"/><Relationship Id="rId98" Type="http://schemas.openxmlformats.org/officeDocument/2006/relationships/image" Target="../media/image57.jpe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1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16.xml.rels><?xml version="1.0" encoding="UTF-8" standalone="yes"?>
<Relationships xmlns="http://schemas.openxmlformats.org/package/2006/relationships"><Relationship Id="rId3" Type="http://schemas.microsoft.com/office/2014/relationships/chartEx" Target="../charts/chartEx1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9.xml"/><Relationship Id="rId4" Type="http://schemas.openxmlformats.org/officeDocument/2006/relationships/image" Target="../media/image74.pn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7.png"/><Relationship Id="rId3" Type="http://schemas.microsoft.com/office/2014/relationships/chartEx" Target="../charts/chartEx2.xml"/><Relationship Id="rId7" Type="http://schemas.microsoft.com/office/2014/relationships/chartEx" Target="../charts/chartEx4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Relationship Id="rId6" Type="http://schemas.openxmlformats.org/officeDocument/2006/relationships/image" Target="../media/image76.png"/><Relationship Id="rId5" Type="http://schemas.microsoft.com/office/2014/relationships/chartEx" Target="../charts/chartEx3.xml"/><Relationship Id="rId4" Type="http://schemas.openxmlformats.org/officeDocument/2006/relationships/image" Target="../media/image75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28.xml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14/relationships/chartEx" Target="../charts/chartEx5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1.xml"/><Relationship Id="rId4" Type="http://schemas.openxmlformats.org/officeDocument/2006/relationships/image" Target="../media/image80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9.xml"/><Relationship Id="rId4" Type="http://schemas.openxmlformats.org/officeDocument/2006/relationships/image" Target="../media/image6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emf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9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1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6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67.png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86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8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84.xml"/><Relationship Id="rId6" Type="http://schemas.openxmlformats.org/officeDocument/2006/relationships/image" Target="../media/image71.png"/><Relationship Id="rId5" Type="http://schemas.openxmlformats.org/officeDocument/2006/relationships/image" Target="../media/image70.png"/><Relationship Id="rId4" Type="http://schemas.openxmlformats.org/officeDocument/2006/relationships/image" Target="../media/image69.png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4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2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94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3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78.xml"/></Relationships>
</file>

<file path=ppt/slides/_rels/slide4.xml.rels><?xml version="1.0" encoding="UTF-8" standalone="yes"?>
<Relationships xmlns="http://schemas.openxmlformats.org/package/2006/relationships"><Relationship Id="rId26" Type="http://schemas.openxmlformats.org/officeDocument/2006/relationships/tags" Target="../tags/tag26.xml"/><Relationship Id="rId21" Type="http://schemas.openxmlformats.org/officeDocument/2006/relationships/tags" Target="../tags/tag21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63" Type="http://schemas.openxmlformats.org/officeDocument/2006/relationships/tags" Target="../tags/tag63.xml"/><Relationship Id="rId68" Type="http://schemas.openxmlformats.org/officeDocument/2006/relationships/tags" Target="../tags/tag68.xml"/><Relationship Id="rId84" Type="http://schemas.openxmlformats.org/officeDocument/2006/relationships/tags" Target="../tags/tag84.xml"/><Relationship Id="rId89" Type="http://schemas.openxmlformats.org/officeDocument/2006/relationships/tags" Target="../tags/tag89.xml"/><Relationship Id="rId16" Type="http://schemas.openxmlformats.org/officeDocument/2006/relationships/tags" Target="../tags/tag16.xml"/><Relationship Id="rId11" Type="http://schemas.openxmlformats.org/officeDocument/2006/relationships/tags" Target="../tags/tag11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74" Type="http://schemas.openxmlformats.org/officeDocument/2006/relationships/tags" Target="../tags/tag74.xml"/><Relationship Id="rId79" Type="http://schemas.openxmlformats.org/officeDocument/2006/relationships/tags" Target="../tags/tag79.xml"/><Relationship Id="rId5" Type="http://schemas.openxmlformats.org/officeDocument/2006/relationships/tags" Target="../tags/tag5.xml"/><Relationship Id="rId90" Type="http://schemas.openxmlformats.org/officeDocument/2006/relationships/tags" Target="../tags/tag90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64" Type="http://schemas.openxmlformats.org/officeDocument/2006/relationships/tags" Target="../tags/tag64.xml"/><Relationship Id="rId69" Type="http://schemas.openxmlformats.org/officeDocument/2006/relationships/tags" Target="../tags/tag69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72" Type="http://schemas.openxmlformats.org/officeDocument/2006/relationships/tags" Target="../tags/tag72.xml"/><Relationship Id="rId80" Type="http://schemas.openxmlformats.org/officeDocument/2006/relationships/tags" Target="../tags/tag80.xml"/><Relationship Id="rId85" Type="http://schemas.openxmlformats.org/officeDocument/2006/relationships/tags" Target="../tags/tag85.xml"/><Relationship Id="rId93" Type="http://schemas.openxmlformats.org/officeDocument/2006/relationships/slideLayout" Target="../slideLayouts/slideLayout84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67" Type="http://schemas.openxmlformats.org/officeDocument/2006/relationships/tags" Target="../tags/tag67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tags" Target="../tags/tag62.xml"/><Relationship Id="rId70" Type="http://schemas.openxmlformats.org/officeDocument/2006/relationships/tags" Target="../tags/tag70.xml"/><Relationship Id="rId75" Type="http://schemas.openxmlformats.org/officeDocument/2006/relationships/tags" Target="../tags/tag75.xml"/><Relationship Id="rId83" Type="http://schemas.openxmlformats.org/officeDocument/2006/relationships/tags" Target="../tags/tag83.xml"/><Relationship Id="rId88" Type="http://schemas.openxmlformats.org/officeDocument/2006/relationships/tags" Target="../tags/tag88.xml"/><Relationship Id="rId91" Type="http://schemas.openxmlformats.org/officeDocument/2006/relationships/tags" Target="../tags/tag9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tags" Target="../tags/tag60.xml"/><Relationship Id="rId65" Type="http://schemas.openxmlformats.org/officeDocument/2006/relationships/tags" Target="../tags/tag65.xml"/><Relationship Id="rId73" Type="http://schemas.openxmlformats.org/officeDocument/2006/relationships/tags" Target="../tags/tag73.xml"/><Relationship Id="rId78" Type="http://schemas.openxmlformats.org/officeDocument/2006/relationships/tags" Target="../tags/tag78.xml"/><Relationship Id="rId81" Type="http://schemas.openxmlformats.org/officeDocument/2006/relationships/tags" Target="../tags/tag81.xml"/><Relationship Id="rId86" Type="http://schemas.openxmlformats.org/officeDocument/2006/relationships/tags" Target="../tags/tag86.xml"/><Relationship Id="rId94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39" Type="http://schemas.openxmlformats.org/officeDocument/2006/relationships/tags" Target="../tags/tag39.xml"/><Relationship Id="rId34" Type="http://schemas.openxmlformats.org/officeDocument/2006/relationships/tags" Target="../tags/tag34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76" Type="http://schemas.openxmlformats.org/officeDocument/2006/relationships/tags" Target="../tags/tag76.xml"/><Relationship Id="rId7" Type="http://schemas.openxmlformats.org/officeDocument/2006/relationships/tags" Target="../tags/tag7.xml"/><Relationship Id="rId71" Type="http://schemas.openxmlformats.org/officeDocument/2006/relationships/tags" Target="../tags/tag71.xml"/><Relationship Id="rId92" Type="http://schemas.openxmlformats.org/officeDocument/2006/relationships/tags" Target="../tags/tag92.xml"/><Relationship Id="rId2" Type="http://schemas.openxmlformats.org/officeDocument/2006/relationships/tags" Target="../tags/tag2.xml"/><Relationship Id="rId29" Type="http://schemas.openxmlformats.org/officeDocument/2006/relationships/tags" Target="../tags/tag29.xml"/><Relationship Id="rId24" Type="http://schemas.openxmlformats.org/officeDocument/2006/relationships/tags" Target="../tags/tag24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66" Type="http://schemas.openxmlformats.org/officeDocument/2006/relationships/tags" Target="../tags/tag66.xml"/><Relationship Id="rId87" Type="http://schemas.openxmlformats.org/officeDocument/2006/relationships/tags" Target="../tags/tag87.xml"/><Relationship Id="rId61" Type="http://schemas.openxmlformats.org/officeDocument/2006/relationships/tags" Target="../tags/tag61.xml"/><Relationship Id="rId82" Type="http://schemas.openxmlformats.org/officeDocument/2006/relationships/tags" Target="../tags/tag82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56" Type="http://schemas.openxmlformats.org/officeDocument/2006/relationships/tags" Target="../tags/tag56.xml"/><Relationship Id="rId77" Type="http://schemas.openxmlformats.org/officeDocument/2006/relationships/tags" Target="../tags/tag7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26" Type="http://schemas.openxmlformats.org/officeDocument/2006/relationships/tags" Target="../tags/tag118.xml"/><Relationship Id="rId21" Type="http://schemas.openxmlformats.org/officeDocument/2006/relationships/tags" Target="../tags/tag113.xml"/><Relationship Id="rId42" Type="http://schemas.openxmlformats.org/officeDocument/2006/relationships/tags" Target="../tags/tag134.xml"/><Relationship Id="rId47" Type="http://schemas.openxmlformats.org/officeDocument/2006/relationships/tags" Target="../tags/tag139.xml"/><Relationship Id="rId63" Type="http://schemas.openxmlformats.org/officeDocument/2006/relationships/tags" Target="../tags/tag155.xml"/><Relationship Id="rId68" Type="http://schemas.openxmlformats.org/officeDocument/2006/relationships/tags" Target="../tags/tag160.xml"/><Relationship Id="rId84" Type="http://schemas.openxmlformats.org/officeDocument/2006/relationships/tags" Target="../tags/tag176.xml"/><Relationship Id="rId89" Type="http://schemas.openxmlformats.org/officeDocument/2006/relationships/tags" Target="../tags/tag181.xml"/><Relationship Id="rId16" Type="http://schemas.openxmlformats.org/officeDocument/2006/relationships/tags" Target="../tags/tag108.xml"/><Relationship Id="rId11" Type="http://schemas.openxmlformats.org/officeDocument/2006/relationships/tags" Target="../tags/tag103.xml"/><Relationship Id="rId32" Type="http://schemas.openxmlformats.org/officeDocument/2006/relationships/tags" Target="../tags/tag124.xml"/><Relationship Id="rId37" Type="http://schemas.openxmlformats.org/officeDocument/2006/relationships/tags" Target="../tags/tag129.xml"/><Relationship Id="rId53" Type="http://schemas.openxmlformats.org/officeDocument/2006/relationships/tags" Target="../tags/tag145.xml"/><Relationship Id="rId58" Type="http://schemas.openxmlformats.org/officeDocument/2006/relationships/tags" Target="../tags/tag150.xml"/><Relationship Id="rId74" Type="http://schemas.openxmlformats.org/officeDocument/2006/relationships/tags" Target="../tags/tag166.xml"/><Relationship Id="rId79" Type="http://schemas.openxmlformats.org/officeDocument/2006/relationships/tags" Target="../tags/tag171.xml"/><Relationship Id="rId5" Type="http://schemas.openxmlformats.org/officeDocument/2006/relationships/tags" Target="../tags/tag97.xml"/><Relationship Id="rId90" Type="http://schemas.openxmlformats.org/officeDocument/2006/relationships/tags" Target="../tags/tag182.xml"/><Relationship Id="rId95" Type="http://schemas.openxmlformats.org/officeDocument/2006/relationships/image" Target="../media/image37.png"/><Relationship Id="rId22" Type="http://schemas.openxmlformats.org/officeDocument/2006/relationships/tags" Target="../tags/tag114.xml"/><Relationship Id="rId27" Type="http://schemas.openxmlformats.org/officeDocument/2006/relationships/tags" Target="../tags/tag119.xml"/><Relationship Id="rId43" Type="http://schemas.openxmlformats.org/officeDocument/2006/relationships/tags" Target="../tags/tag135.xml"/><Relationship Id="rId48" Type="http://schemas.openxmlformats.org/officeDocument/2006/relationships/tags" Target="../tags/tag140.xml"/><Relationship Id="rId64" Type="http://schemas.openxmlformats.org/officeDocument/2006/relationships/tags" Target="../tags/tag156.xml"/><Relationship Id="rId69" Type="http://schemas.openxmlformats.org/officeDocument/2006/relationships/tags" Target="../tags/tag161.xml"/><Relationship Id="rId80" Type="http://schemas.openxmlformats.org/officeDocument/2006/relationships/tags" Target="../tags/tag172.xml"/><Relationship Id="rId85" Type="http://schemas.openxmlformats.org/officeDocument/2006/relationships/tags" Target="../tags/tag177.xml"/><Relationship Id="rId3" Type="http://schemas.openxmlformats.org/officeDocument/2006/relationships/tags" Target="../tags/tag95.xml"/><Relationship Id="rId12" Type="http://schemas.openxmlformats.org/officeDocument/2006/relationships/tags" Target="../tags/tag104.xml"/><Relationship Id="rId17" Type="http://schemas.openxmlformats.org/officeDocument/2006/relationships/tags" Target="../tags/tag109.xml"/><Relationship Id="rId25" Type="http://schemas.openxmlformats.org/officeDocument/2006/relationships/tags" Target="../tags/tag117.xml"/><Relationship Id="rId33" Type="http://schemas.openxmlformats.org/officeDocument/2006/relationships/tags" Target="../tags/tag125.xml"/><Relationship Id="rId38" Type="http://schemas.openxmlformats.org/officeDocument/2006/relationships/tags" Target="../tags/tag130.xml"/><Relationship Id="rId46" Type="http://schemas.openxmlformats.org/officeDocument/2006/relationships/tags" Target="../tags/tag138.xml"/><Relationship Id="rId59" Type="http://schemas.openxmlformats.org/officeDocument/2006/relationships/tags" Target="../tags/tag151.xml"/><Relationship Id="rId67" Type="http://schemas.openxmlformats.org/officeDocument/2006/relationships/tags" Target="../tags/tag159.xml"/><Relationship Id="rId20" Type="http://schemas.openxmlformats.org/officeDocument/2006/relationships/tags" Target="../tags/tag112.xml"/><Relationship Id="rId41" Type="http://schemas.openxmlformats.org/officeDocument/2006/relationships/tags" Target="../tags/tag133.xml"/><Relationship Id="rId54" Type="http://schemas.openxmlformats.org/officeDocument/2006/relationships/tags" Target="../tags/tag146.xml"/><Relationship Id="rId62" Type="http://schemas.openxmlformats.org/officeDocument/2006/relationships/tags" Target="../tags/tag154.xml"/><Relationship Id="rId70" Type="http://schemas.openxmlformats.org/officeDocument/2006/relationships/tags" Target="../tags/tag162.xml"/><Relationship Id="rId75" Type="http://schemas.openxmlformats.org/officeDocument/2006/relationships/tags" Target="../tags/tag167.xml"/><Relationship Id="rId83" Type="http://schemas.openxmlformats.org/officeDocument/2006/relationships/tags" Target="../tags/tag175.xml"/><Relationship Id="rId88" Type="http://schemas.openxmlformats.org/officeDocument/2006/relationships/tags" Target="../tags/tag180.xml"/><Relationship Id="rId91" Type="http://schemas.openxmlformats.org/officeDocument/2006/relationships/tags" Target="../tags/tag183.xml"/><Relationship Id="rId96" Type="http://schemas.openxmlformats.org/officeDocument/2006/relationships/image" Target="../media/image38.jpeg"/><Relationship Id="rId1" Type="http://schemas.openxmlformats.org/officeDocument/2006/relationships/tags" Target="../tags/tag93.xml"/><Relationship Id="rId6" Type="http://schemas.openxmlformats.org/officeDocument/2006/relationships/tags" Target="../tags/tag98.xml"/><Relationship Id="rId15" Type="http://schemas.openxmlformats.org/officeDocument/2006/relationships/tags" Target="../tags/tag107.xml"/><Relationship Id="rId23" Type="http://schemas.openxmlformats.org/officeDocument/2006/relationships/tags" Target="../tags/tag115.xml"/><Relationship Id="rId28" Type="http://schemas.openxmlformats.org/officeDocument/2006/relationships/tags" Target="../tags/tag120.xml"/><Relationship Id="rId36" Type="http://schemas.openxmlformats.org/officeDocument/2006/relationships/tags" Target="../tags/tag128.xml"/><Relationship Id="rId49" Type="http://schemas.openxmlformats.org/officeDocument/2006/relationships/tags" Target="../tags/tag141.xml"/><Relationship Id="rId57" Type="http://schemas.openxmlformats.org/officeDocument/2006/relationships/tags" Target="../tags/tag149.xml"/><Relationship Id="rId10" Type="http://schemas.openxmlformats.org/officeDocument/2006/relationships/tags" Target="../tags/tag102.xml"/><Relationship Id="rId31" Type="http://schemas.openxmlformats.org/officeDocument/2006/relationships/tags" Target="../tags/tag123.xml"/><Relationship Id="rId44" Type="http://schemas.openxmlformats.org/officeDocument/2006/relationships/tags" Target="../tags/tag136.xml"/><Relationship Id="rId52" Type="http://schemas.openxmlformats.org/officeDocument/2006/relationships/tags" Target="../tags/tag144.xml"/><Relationship Id="rId60" Type="http://schemas.openxmlformats.org/officeDocument/2006/relationships/tags" Target="../tags/tag152.xml"/><Relationship Id="rId65" Type="http://schemas.openxmlformats.org/officeDocument/2006/relationships/tags" Target="../tags/tag157.xml"/><Relationship Id="rId73" Type="http://schemas.openxmlformats.org/officeDocument/2006/relationships/tags" Target="../tags/tag165.xml"/><Relationship Id="rId78" Type="http://schemas.openxmlformats.org/officeDocument/2006/relationships/tags" Target="../tags/tag170.xml"/><Relationship Id="rId81" Type="http://schemas.openxmlformats.org/officeDocument/2006/relationships/tags" Target="../tags/tag173.xml"/><Relationship Id="rId86" Type="http://schemas.openxmlformats.org/officeDocument/2006/relationships/tags" Target="../tags/tag178.xml"/><Relationship Id="rId94" Type="http://schemas.openxmlformats.org/officeDocument/2006/relationships/notesSlide" Target="../notesSlides/notesSlide5.xml"/><Relationship Id="rId4" Type="http://schemas.openxmlformats.org/officeDocument/2006/relationships/tags" Target="../tags/tag96.xml"/><Relationship Id="rId9" Type="http://schemas.openxmlformats.org/officeDocument/2006/relationships/tags" Target="../tags/tag101.xml"/><Relationship Id="rId13" Type="http://schemas.openxmlformats.org/officeDocument/2006/relationships/tags" Target="../tags/tag105.xml"/><Relationship Id="rId18" Type="http://schemas.openxmlformats.org/officeDocument/2006/relationships/tags" Target="../tags/tag110.xml"/><Relationship Id="rId39" Type="http://schemas.openxmlformats.org/officeDocument/2006/relationships/tags" Target="../tags/tag131.xml"/><Relationship Id="rId34" Type="http://schemas.openxmlformats.org/officeDocument/2006/relationships/tags" Target="../tags/tag126.xml"/><Relationship Id="rId50" Type="http://schemas.openxmlformats.org/officeDocument/2006/relationships/tags" Target="../tags/tag142.xml"/><Relationship Id="rId55" Type="http://schemas.openxmlformats.org/officeDocument/2006/relationships/tags" Target="../tags/tag147.xml"/><Relationship Id="rId76" Type="http://schemas.openxmlformats.org/officeDocument/2006/relationships/tags" Target="../tags/tag168.xml"/><Relationship Id="rId97" Type="http://schemas.openxmlformats.org/officeDocument/2006/relationships/image" Target="../media/image39.jpeg"/><Relationship Id="rId7" Type="http://schemas.openxmlformats.org/officeDocument/2006/relationships/tags" Target="../tags/tag99.xml"/><Relationship Id="rId71" Type="http://schemas.openxmlformats.org/officeDocument/2006/relationships/tags" Target="../tags/tag163.xml"/><Relationship Id="rId92" Type="http://schemas.openxmlformats.org/officeDocument/2006/relationships/tags" Target="../tags/tag184.xml"/><Relationship Id="rId2" Type="http://schemas.openxmlformats.org/officeDocument/2006/relationships/tags" Target="../tags/tag94.xml"/><Relationship Id="rId29" Type="http://schemas.openxmlformats.org/officeDocument/2006/relationships/tags" Target="../tags/tag121.xml"/><Relationship Id="rId24" Type="http://schemas.openxmlformats.org/officeDocument/2006/relationships/tags" Target="../tags/tag116.xml"/><Relationship Id="rId40" Type="http://schemas.openxmlformats.org/officeDocument/2006/relationships/tags" Target="../tags/tag132.xml"/><Relationship Id="rId45" Type="http://schemas.openxmlformats.org/officeDocument/2006/relationships/tags" Target="../tags/tag137.xml"/><Relationship Id="rId66" Type="http://schemas.openxmlformats.org/officeDocument/2006/relationships/tags" Target="../tags/tag158.xml"/><Relationship Id="rId87" Type="http://schemas.openxmlformats.org/officeDocument/2006/relationships/tags" Target="../tags/tag179.xml"/><Relationship Id="rId61" Type="http://schemas.openxmlformats.org/officeDocument/2006/relationships/tags" Target="../tags/tag153.xml"/><Relationship Id="rId82" Type="http://schemas.openxmlformats.org/officeDocument/2006/relationships/tags" Target="../tags/tag174.xml"/><Relationship Id="rId19" Type="http://schemas.openxmlformats.org/officeDocument/2006/relationships/tags" Target="../tags/tag111.xml"/><Relationship Id="rId14" Type="http://schemas.openxmlformats.org/officeDocument/2006/relationships/tags" Target="../tags/tag106.xml"/><Relationship Id="rId30" Type="http://schemas.openxmlformats.org/officeDocument/2006/relationships/tags" Target="../tags/tag122.xml"/><Relationship Id="rId35" Type="http://schemas.openxmlformats.org/officeDocument/2006/relationships/tags" Target="../tags/tag127.xml"/><Relationship Id="rId56" Type="http://schemas.openxmlformats.org/officeDocument/2006/relationships/tags" Target="../tags/tag148.xml"/><Relationship Id="rId77" Type="http://schemas.openxmlformats.org/officeDocument/2006/relationships/tags" Target="../tags/tag169.xml"/><Relationship Id="rId8" Type="http://schemas.openxmlformats.org/officeDocument/2006/relationships/tags" Target="../tags/tag100.xml"/><Relationship Id="rId51" Type="http://schemas.openxmlformats.org/officeDocument/2006/relationships/tags" Target="../tags/tag143.xml"/><Relationship Id="rId72" Type="http://schemas.openxmlformats.org/officeDocument/2006/relationships/tags" Target="../tags/tag164.xml"/><Relationship Id="rId93" Type="http://schemas.openxmlformats.org/officeDocument/2006/relationships/slideLayout" Target="../slideLayouts/slideLayout93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13" Type="http://schemas.openxmlformats.org/officeDocument/2006/relationships/image" Target="../media/image50.png"/><Relationship Id="rId3" Type="http://schemas.openxmlformats.org/officeDocument/2006/relationships/image" Target="../media/image40.jpeg"/><Relationship Id="rId7" Type="http://schemas.openxmlformats.org/officeDocument/2006/relationships/image" Target="../media/image44.png"/><Relationship Id="rId12" Type="http://schemas.openxmlformats.org/officeDocument/2006/relationships/image" Target="../media/image4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43.png"/><Relationship Id="rId11" Type="http://schemas.openxmlformats.org/officeDocument/2006/relationships/image" Target="../media/image48.png"/><Relationship Id="rId5" Type="http://schemas.openxmlformats.org/officeDocument/2006/relationships/image" Target="../media/image42.png"/><Relationship Id="rId10" Type="http://schemas.openxmlformats.org/officeDocument/2006/relationships/image" Target="../media/image47.png"/><Relationship Id="rId4" Type="http://schemas.openxmlformats.org/officeDocument/2006/relationships/image" Target="../media/image41.jpeg"/><Relationship Id="rId9" Type="http://schemas.openxmlformats.org/officeDocument/2006/relationships/image" Target="../media/image46.png"/><Relationship Id="rId14" Type="http://schemas.openxmlformats.org/officeDocument/2006/relationships/image" Target="../media/image5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image" Target="../media/image52.jpeg"/><Relationship Id="rId7" Type="http://schemas.openxmlformats.org/officeDocument/2006/relationships/image" Target="../media/image56.jpeg"/><Relationship Id="rId12" Type="http://schemas.openxmlformats.org/officeDocument/2006/relationships/image" Target="../media/image5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3.xml"/><Relationship Id="rId6" Type="http://schemas.openxmlformats.org/officeDocument/2006/relationships/image" Target="../media/image55.jpeg"/><Relationship Id="rId11" Type="http://schemas.openxmlformats.org/officeDocument/2006/relationships/image" Target="../media/image50.png"/><Relationship Id="rId5" Type="http://schemas.openxmlformats.org/officeDocument/2006/relationships/image" Target="../media/image54.jpeg"/><Relationship Id="rId10" Type="http://schemas.openxmlformats.org/officeDocument/2006/relationships/image" Target="../media/image49.png"/><Relationship Id="rId4" Type="http://schemas.openxmlformats.org/officeDocument/2006/relationships/image" Target="../media/image53.jpeg"/><Relationship Id="rId9" Type="http://schemas.openxmlformats.org/officeDocument/2006/relationships/image" Target="../media/image48.png"/></Relationships>
</file>

<file path=ppt/slides/_rels/slide9.xml.rels><?xml version="1.0" encoding="UTF-8" standalone="yes"?>
<Relationships xmlns="http://schemas.openxmlformats.org/package/2006/relationships"><Relationship Id="rId26" Type="http://schemas.openxmlformats.org/officeDocument/2006/relationships/tags" Target="../tags/tag210.xml"/><Relationship Id="rId21" Type="http://schemas.openxmlformats.org/officeDocument/2006/relationships/tags" Target="../tags/tag205.xml"/><Relationship Id="rId42" Type="http://schemas.openxmlformats.org/officeDocument/2006/relationships/tags" Target="../tags/tag226.xml"/><Relationship Id="rId47" Type="http://schemas.openxmlformats.org/officeDocument/2006/relationships/tags" Target="../tags/tag231.xml"/><Relationship Id="rId63" Type="http://schemas.openxmlformats.org/officeDocument/2006/relationships/tags" Target="../tags/tag247.xml"/><Relationship Id="rId68" Type="http://schemas.openxmlformats.org/officeDocument/2006/relationships/tags" Target="../tags/tag252.xml"/><Relationship Id="rId84" Type="http://schemas.openxmlformats.org/officeDocument/2006/relationships/tags" Target="../tags/tag268.xml"/><Relationship Id="rId89" Type="http://schemas.openxmlformats.org/officeDocument/2006/relationships/tags" Target="../tags/tag273.xml"/><Relationship Id="rId16" Type="http://schemas.openxmlformats.org/officeDocument/2006/relationships/tags" Target="../tags/tag200.xml"/><Relationship Id="rId11" Type="http://schemas.openxmlformats.org/officeDocument/2006/relationships/tags" Target="../tags/tag195.xml"/><Relationship Id="rId32" Type="http://schemas.openxmlformats.org/officeDocument/2006/relationships/tags" Target="../tags/tag216.xml"/><Relationship Id="rId37" Type="http://schemas.openxmlformats.org/officeDocument/2006/relationships/tags" Target="../tags/tag221.xml"/><Relationship Id="rId53" Type="http://schemas.openxmlformats.org/officeDocument/2006/relationships/tags" Target="../tags/tag237.xml"/><Relationship Id="rId58" Type="http://schemas.openxmlformats.org/officeDocument/2006/relationships/tags" Target="../tags/tag242.xml"/><Relationship Id="rId74" Type="http://schemas.openxmlformats.org/officeDocument/2006/relationships/tags" Target="../tags/tag258.xml"/><Relationship Id="rId79" Type="http://schemas.openxmlformats.org/officeDocument/2006/relationships/tags" Target="../tags/tag263.xml"/><Relationship Id="rId5" Type="http://schemas.openxmlformats.org/officeDocument/2006/relationships/tags" Target="../tags/tag189.xml"/><Relationship Id="rId90" Type="http://schemas.openxmlformats.org/officeDocument/2006/relationships/tags" Target="../tags/tag274.xml"/><Relationship Id="rId95" Type="http://schemas.openxmlformats.org/officeDocument/2006/relationships/image" Target="../media/image37.png"/><Relationship Id="rId22" Type="http://schemas.openxmlformats.org/officeDocument/2006/relationships/tags" Target="../tags/tag206.xml"/><Relationship Id="rId27" Type="http://schemas.openxmlformats.org/officeDocument/2006/relationships/tags" Target="../tags/tag211.xml"/><Relationship Id="rId43" Type="http://schemas.openxmlformats.org/officeDocument/2006/relationships/tags" Target="../tags/tag227.xml"/><Relationship Id="rId48" Type="http://schemas.openxmlformats.org/officeDocument/2006/relationships/tags" Target="../tags/tag232.xml"/><Relationship Id="rId64" Type="http://schemas.openxmlformats.org/officeDocument/2006/relationships/tags" Target="../tags/tag248.xml"/><Relationship Id="rId69" Type="http://schemas.openxmlformats.org/officeDocument/2006/relationships/tags" Target="../tags/tag253.xml"/><Relationship Id="rId80" Type="http://schemas.openxmlformats.org/officeDocument/2006/relationships/tags" Target="../tags/tag264.xml"/><Relationship Id="rId85" Type="http://schemas.openxmlformats.org/officeDocument/2006/relationships/tags" Target="../tags/tag269.xml"/><Relationship Id="rId3" Type="http://schemas.openxmlformats.org/officeDocument/2006/relationships/tags" Target="../tags/tag187.xml"/><Relationship Id="rId12" Type="http://schemas.openxmlformats.org/officeDocument/2006/relationships/tags" Target="../tags/tag196.xml"/><Relationship Id="rId17" Type="http://schemas.openxmlformats.org/officeDocument/2006/relationships/tags" Target="../tags/tag201.xml"/><Relationship Id="rId25" Type="http://schemas.openxmlformats.org/officeDocument/2006/relationships/tags" Target="../tags/tag209.xml"/><Relationship Id="rId33" Type="http://schemas.openxmlformats.org/officeDocument/2006/relationships/tags" Target="../tags/tag217.xml"/><Relationship Id="rId38" Type="http://schemas.openxmlformats.org/officeDocument/2006/relationships/tags" Target="../tags/tag222.xml"/><Relationship Id="rId46" Type="http://schemas.openxmlformats.org/officeDocument/2006/relationships/tags" Target="../tags/tag230.xml"/><Relationship Id="rId59" Type="http://schemas.openxmlformats.org/officeDocument/2006/relationships/tags" Target="../tags/tag243.xml"/><Relationship Id="rId67" Type="http://schemas.openxmlformats.org/officeDocument/2006/relationships/tags" Target="../tags/tag251.xml"/><Relationship Id="rId20" Type="http://schemas.openxmlformats.org/officeDocument/2006/relationships/tags" Target="../tags/tag204.xml"/><Relationship Id="rId41" Type="http://schemas.openxmlformats.org/officeDocument/2006/relationships/tags" Target="../tags/tag225.xml"/><Relationship Id="rId54" Type="http://schemas.openxmlformats.org/officeDocument/2006/relationships/tags" Target="../tags/tag238.xml"/><Relationship Id="rId62" Type="http://schemas.openxmlformats.org/officeDocument/2006/relationships/tags" Target="../tags/tag246.xml"/><Relationship Id="rId70" Type="http://schemas.openxmlformats.org/officeDocument/2006/relationships/tags" Target="../tags/tag254.xml"/><Relationship Id="rId75" Type="http://schemas.openxmlformats.org/officeDocument/2006/relationships/tags" Target="../tags/tag259.xml"/><Relationship Id="rId83" Type="http://schemas.openxmlformats.org/officeDocument/2006/relationships/tags" Target="../tags/tag267.xml"/><Relationship Id="rId88" Type="http://schemas.openxmlformats.org/officeDocument/2006/relationships/tags" Target="../tags/tag272.xml"/><Relationship Id="rId91" Type="http://schemas.openxmlformats.org/officeDocument/2006/relationships/tags" Target="../tags/tag275.xml"/><Relationship Id="rId96" Type="http://schemas.openxmlformats.org/officeDocument/2006/relationships/image" Target="../media/image38.jpeg"/><Relationship Id="rId1" Type="http://schemas.openxmlformats.org/officeDocument/2006/relationships/tags" Target="../tags/tag185.xml"/><Relationship Id="rId6" Type="http://schemas.openxmlformats.org/officeDocument/2006/relationships/tags" Target="../tags/tag190.xml"/><Relationship Id="rId15" Type="http://schemas.openxmlformats.org/officeDocument/2006/relationships/tags" Target="../tags/tag199.xml"/><Relationship Id="rId23" Type="http://schemas.openxmlformats.org/officeDocument/2006/relationships/tags" Target="../tags/tag207.xml"/><Relationship Id="rId28" Type="http://schemas.openxmlformats.org/officeDocument/2006/relationships/tags" Target="../tags/tag212.xml"/><Relationship Id="rId36" Type="http://schemas.openxmlformats.org/officeDocument/2006/relationships/tags" Target="../tags/tag220.xml"/><Relationship Id="rId49" Type="http://schemas.openxmlformats.org/officeDocument/2006/relationships/tags" Target="../tags/tag233.xml"/><Relationship Id="rId57" Type="http://schemas.openxmlformats.org/officeDocument/2006/relationships/tags" Target="../tags/tag241.xml"/><Relationship Id="rId10" Type="http://schemas.openxmlformats.org/officeDocument/2006/relationships/tags" Target="../tags/tag194.xml"/><Relationship Id="rId31" Type="http://schemas.openxmlformats.org/officeDocument/2006/relationships/tags" Target="../tags/tag215.xml"/><Relationship Id="rId44" Type="http://schemas.openxmlformats.org/officeDocument/2006/relationships/tags" Target="../tags/tag228.xml"/><Relationship Id="rId52" Type="http://schemas.openxmlformats.org/officeDocument/2006/relationships/tags" Target="../tags/tag236.xml"/><Relationship Id="rId60" Type="http://schemas.openxmlformats.org/officeDocument/2006/relationships/tags" Target="../tags/tag244.xml"/><Relationship Id="rId65" Type="http://schemas.openxmlformats.org/officeDocument/2006/relationships/tags" Target="../tags/tag249.xml"/><Relationship Id="rId73" Type="http://schemas.openxmlformats.org/officeDocument/2006/relationships/tags" Target="../tags/tag257.xml"/><Relationship Id="rId78" Type="http://schemas.openxmlformats.org/officeDocument/2006/relationships/tags" Target="../tags/tag262.xml"/><Relationship Id="rId81" Type="http://schemas.openxmlformats.org/officeDocument/2006/relationships/tags" Target="../tags/tag265.xml"/><Relationship Id="rId86" Type="http://schemas.openxmlformats.org/officeDocument/2006/relationships/tags" Target="../tags/tag270.xml"/><Relationship Id="rId94" Type="http://schemas.openxmlformats.org/officeDocument/2006/relationships/notesSlide" Target="../notesSlides/notesSlide8.xml"/><Relationship Id="rId4" Type="http://schemas.openxmlformats.org/officeDocument/2006/relationships/tags" Target="../tags/tag188.xml"/><Relationship Id="rId9" Type="http://schemas.openxmlformats.org/officeDocument/2006/relationships/tags" Target="../tags/tag193.xml"/><Relationship Id="rId13" Type="http://schemas.openxmlformats.org/officeDocument/2006/relationships/tags" Target="../tags/tag197.xml"/><Relationship Id="rId18" Type="http://schemas.openxmlformats.org/officeDocument/2006/relationships/tags" Target="../tags/tag202.xml"/><Relationship Id="rId39" Type="http://schemas.openxmlformats.org/officeDocument/2006/relationships/tags" Target="../tags/tag223.xml"/><Relationship Id="rId34" Type="http://schemas.openxmlformats.org/officeDocument/2006/relationships/tags" Target="../tags/tag218.xml"/><Relationship Id="rId50" Type="http://schemas.openxmlformats.org/officeDocument/2006/relationships/tags" Target="../tags/tag234.xml"/><Relationship Id="rId55" Type="http://schemas.openxmlformats.org/officeDocument/2006/relationships/tags" Target="../tags/tag239.xml"/><Relationship Id="rId76" Type="http://schemas.openxmlformats.org/officeDocument/2006/relationships/tags" Target="../tags/tag260.xml"/><Relationship Id="rId97" Type="http://schemas.openxmlformats.org/officeDocument/2006/relationships/image" Target="../media/image39.jpeg"/><Relationship Id="rId7" Type="http://schemas.openxmlformats.org/officeDocument/2006/relationships/tags" Target="../tags/tag191.xml"/><Relationship Id="rId71" Type="http://schemas.openxmlformats.org/officeDocument/2006/relationships/tags" Target="../tags/tag255.xml"/><Relationship Id="rId92" Type="http://schemas.openxmlformats.org/officeDocument/2006/relationships/tags" Target="../tags/tag276.xml"/><Relationship Id="rId2" Type="http://schemas.openxmlformats.org/officeDocument/2006/relationships/tags" Target="../tags/tag186.xml"/><Relationship Id="rId29" Type="http://schemas.openxmlformats.org/officeDocument/2006/relationships/tags" Target="../tags/tag213.xml"/><Relationship Id="rId24" Type="http://schemas.openxmlformats.org/officeDocument/2006/relationships/tags" Target="../tags/tag208.xml"/><Relationship Id="rId40" Type="http://schemas.openxmlformats.org/officeDocument/2006/relationships/tags" Target="../tags/tag224.xml"/><Relationship Id="rId45" Type="http://schemas.openxmlformats.org/officeDocument/2006/relationships/tags" Target="../tags/tag229.xml"/><Relationship Id="rId66" Type="http://schemas.openxmlformats.org/officeDocument/2006/relationships/tags" Target="../tags/tag250.xml"/><Relationship Id="rId87" Type="http://schemas.openxmlformats.org/officeDocument/2006/relationships/tags" Target="../tags/tag271.xml"/><Relationship Id="rId61" Type="http://schemas.openxmlformats.org/officeDocument/2006/relationships/tags" Target="../tags/tag245.xml"/><Relationship Id="rId82" Type="http://schemas.openxmlformats.org/officeDocument/2006/relationships/tags" Target="../tags/tag266.xml"/><Relationship Id="rId19" Type="http://schemas.openxmlformats.org/officeDocument/2006/relationships/tags" Target="../tags/tag203.xml"/><Relationship Id="rId14" Type="http://schemas.openxmlformats.org/officeDocument/2006/relationships/tags" Target="../tags/tag198.xml"/><Relationship Id="rId30" Type="http://schemas.openxmlformats.org/officeDocument/2006/relationships/tags" Target="../tags/tag214.xml"/><Relationship Id="rId35" Type="http://schemas.openxmlformats.org/officeDocument/2006/relationships/tags" Target="../tags/tag219.xml"/><Relationship Id="rId56" Type="http://schemas.openxmlformats.org/officeDocument/2006/relationships/tags" Target="../tags/tag240.xml"/><Relationship Id="rId77" Type="http://schemas.openxmlformats.org/officeDocument/2006/relationships/tags" Target="../tags/tag261.xml"/><Relationship Id="rId8" Type="http://schemas.openxmlformats.org/officeDocument/2006/relationships/tags" Target="../tags/tag192.xml"/><Relationship Id="rId51" Type="http://schemas.openxmlformats.org/officeDocument/2006/relationships/tags" Target="../tags/tag235.xml"/><Relationship Id="rId72" Type="http://schemas.openxmlformats.org/officeDocument/2006/relationships/tags" Target="../tags/tag256.xml"/><Relationship Id="rId93" Type="http://schemas.openxmlformats.org/officeDocument/2006/relationships/slideLayout" Target="../slideLayouts/slideLayout93.xml"/><Relationship Id="rId98" Type="http://schemas.openxmlformats.org/officeDocument/2006/relationships/image" Target="../media/image57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Placeholder 10" descr="A person sitting on the grass&#10;&#10;Description automatically generated">
            <a:extLst>
              <a:ext uri="{FF2B5EF4-FFF2-40B4-BE49-F238E27FC236}">
                <a16:creationId xmlns:a16="http://schemas.microsoft.com/office/drawing/2014/main" id="{052DA226-3506-4792-9CBB-36942B041183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8387310" y="3823970"/>
            <a:ext cx="4158343" cy="4158343"/>
          </a:xfr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921F34D-5BE8-4020-951B-DE577010FE6D}"/>
              </a:ext>
            </a:extLst>
          </p:cNvPr>
          <p:cNvSpPr txBox="1">
            <a:spLocks/>
          </p:cNvSpPr>
          <p:nvPr/>
        </p:nvSpPr>
        <p:spPr>
          <a:xfrm>
            <a:off x="822931" y="2358781"/>
            <a:ext cx="5906925" cy="9228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1" i="0" kern="1200">
                <a:solidFill>
                  <a:srgbClr val="4C9C2E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4pPr>
            <a:lvl5pPr marL="1828755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4C9C2E"/>
              </a:solidFill>
              <a:effectLst/>
              <a:uLnTx/>
              <a:uFillTx/>
              <a:latin typeface="Lato" panose="020F0502020204030203" pitchFamily="34" charset="77"/>
              <a:ea typeface="+mn-ea"/>
              <a:cs typeface="+mn-cs"/>
            </a:endParaRP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629489D-2D94-47B0-946F-67AEE7249C1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234176" y="2623457"/>
            <a:ext cx="10150796" cy="4158343"/>
          </a:xfrm>
        </p:spPr>
        <p:txBody>
          <a:bodyPr>
            <a:normAutofit fontScale="25000" lnSpcReduction="20000"/>
          </a:bodyPr>
          <a:lstStyle/>
          <a:p>
            <a:pPr>
              <a:lnSpc>
                <a:spcPct val="170000"/>
              </a:lnSpc>
            </a:pPr>
            <a:r>
              <a:rPr lang="en-US" sz="12800" dirty="0"/>
              <a:t>Child Health and Mortality Prevention Surveillance: CHAMPS Saving lives through MITS</a:t>
            </a:r>
          </a:p>
          <a:p>
            <a:pPr>
              <a:lnSpc>
                <a:spcPct val="170000"/>
              </a:lnSpc>
            </a:pPr>
            <a:r>
              <a:rPr lang="en-US" sz="12800" u="sng" dirty="0">
                <a:solidFill>
                  <a:srgbClr val="C00000"/>
                </a:solidFill>
              </a:rPr>
              <a:t>MAKING THE DEAD COUNT IN AFRICA</a:t>
            </a:r>
          </a:p>
          <a:p>
            <a:endParaRPr lang="en-US" sz="3200" dirty="0"/>
          </a:p>
          <a:p>
            <a:endParaRPr lang="en-US" sz="2800" dirty="0"/>
          </a:p>
          <a:p>
            <a:r>
              <a:rPr lang="en-US" sz="7200" dirty="0">
                <a:solidFill>
                  <a:schemeClr val="tx1"/>
                </a:solidFill>
              </a:rPr>
              <a:t>Portia Mutevedzi (PhD)</a:t>
            </a:r>
          </a:p>
          <a:p>
            <a:r>
              <a:rPr lang="en-US" sz="7200" dirty="0">
                <a:solidFill>
                  <a:schemeClr val="tx1"/>
                </a:solidFill>
              </a:rPr>
              <a:t>Senior Director: Impact &amp; Engagement - CHAMPS PO</a:t>
            </a:r>
          </a:p>
          <a:p>
            <a:r>
              <a:rPr lang="en-US" sz="7200" dirty="0">
                <a:solidFill>
                  <a:schemeClr val="tx1"/>
                </a:solidFill>
              </a:rPr>
              <a:t>Emory University</a:t>
            </a:r>
            <a:endParaRPr lang="en-US" sz="7200" dirty="0"/>
          </a:p>
          <a:p>
            <a:r>
              <a:rPr lang="en-US" sz="4800" b="0" dirty="0">
                <a:solidFill>
                  <a:schemeClr val="tx1"/>
                </a:solidFill>
              </a:rPr>
              <a:t>30 Nov 2022</a:t>
            </a:r>
          </a:p>
          <a:p>
            <a:endParaRPr lang="en-US" sz="2200" dirty="0"/>
          </a:p>
        </p:txBody>
      </p:sp>
    </p:spTree>
    <p:extLst>
      <p:ext uri="{BB962C8B-B14F-4D97-AF65-F5344CB8AC3E}">
        <p14:creationId xmlns:p14="http://schemas.microsoft.com/office/powerpoint/2010/main" val="176943754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01405" y="126331"/>
            <a:ext cx="12192000" cy="669445"/>
          </a:xfrm>
        </p:spPr>
        <p:txBody>
          <a:bodyPr>
            <a:normAutofit/>
          </a:bodyPr>
          <a:lstStyle/>
          <a:p>
            <a:r>
              <a:rPr lang="en-US" b="0" dirty="0">
                <a:latin typeface="Lato" panose="020F0502020204030203" pitchFamily="34" charset="0"/>
              </a:rPr>
              <a:t>CHAMPS Determination of Cause of Death (DeCoDe)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145108" y="1080855"/>
            <a:ext cx="1837362" cy="1702695"/>
            <a:chOff x="3779046" y="3103499"/>
            <a:chExt cx="1837362" cy="1702695"/>
          </a:xfrm>
        </p:grpSpPr>
        <p:grpSp>
          <p:nvGrpSpPr>
            <p:cNvPr id="5" name="Group 4"/>
            <p:cNvGrpSpPr/>
            <p:nvPr/>
          </p:nvGrpSpPr>
          <p:grpSpPr>
            <a:xfrm>
              <a:off x="3862399" y="3103499"/>
              <a:ext cx="1348133" cy="1256559"/>
              <a:chOff x="3623610" y="3134249"/>
              <a:chExt cx="1348133" cy="1256559"/>
            </a:xfrm>
          </p:grpSpPr>
          <p:pic>
            <p:nvPicPr>
              <p:cNvPr id="7" name="Picture 6"/>
              <p:cNvPicPr>
                <a:picLocks noChangeAspect="1"/>
              </p:cNvPicPr>
              <p:nvPr/>
            </p:nvPicPr>
            <p:blipFill>
              <a:blip r:embed="rId3" cstate="email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3948360" y="3296959"/>
                <a:ext cx="579773" cy="550369"/>
              </a:xfrm>
              <a:prstGeom prst="rect">
                <a:avLst/>
              </a:prstGeom>
              <a:noFill/>
            </p:spPr>
          </p:pic>
          <p:sp>
            <p:nvSpPr>
              <p:cNvPr id="8" name="Freeform 33"/>
              <p:cNvSpPr>
                <a:spLocks noEditPoints="1"/>
              </p:cNvSpPr>
              <p:nvPr/>
            </p:nvSpPr>
            <p:spPr bwMode="auto">
              <a:xfrm>
                <a:off x="4218031" y="3862111"/>
                <a:ext cx="292204" cy="346430"/>
              </a:xfrm>
              <a:custGeom>
                <a:avLst/>
                <a:gdLst>
                  <a:gd name="T0" fmla="*/ 255 w 348"/>
                  <a:gd name="T1" fmla="*/ 269 h 494"/>
                  <a:gd name="T2" fmla="*/ 263 w 348"/>
                  <a:gd name="T3" fmla="*/ 372 h 494"/>
                  <a:gd name="T4" fmla="*/ 235 w 348"/>
                  <a:gd name="T5" fmla="*/ 381 h 494"/>
                  <a:gd name="T6" fmla="*/ 235 w 348"/>
                  <a:gd name="T7" fmla="*/ 381 h 494"/>
                  <a:gd name="T8" fmla="*/ 235 w 348"/>
                  <a:gd name="T9" fmla="*/ 427 h 494"/>
                  <a:gd name="T10" fmla="*/ 258 w 348"/>
                  <a:gd name="T11" fmla="*/ 436 h 494"/>
                  <a:gd name="T12" fmla="*/ 291 w 348"/>
                  <a:gd name="T13" fmla="*/ 404 h 494"/>
                  <a:gd name="T14" fmla="*/ 281 w 348"/>
                  <a:gd name="T15" fmla="*/ 381 h 494"/>
                  <a:gd name="T16" fmla="*/ 287 w 348"/>
                  <a:gd name="T17" fmla="*/ 339 h 494"/>
                  <a:gd name="T18" fmla="*/ 315 w 348"/>
                  <a:gd name="T19" fmla="*/ 281 h 494"/>
                  <a:gd name="T20" fmla="*/ 0 w 348"/>
                  <a:gd name="T21" fmla="*/ 444 h 494"/>
                  <a:gd name="T22" fmla="*/ 70 w 348"/>
                  <a:gd name="T23" fmla="*/ 273 h 494"/>
                  <a:gd name="T24" fmla="*/ 25 w 348"/>
                  <a:gd name="T25" fmla="*/ 376 h 494"/>
                  <a:gd name="T26" fmla="*/ 25 w 348"/>
                  <a:gd name="T27" fmla="*/ 417 h 494"/>
                  <a:gd name="T28" fmla="*/ 42 w 348"/>
                  <a:gd name="T29" fmla="*/ 437 h 494"/>
                  <a:gd name="T30" fmla="*/ 80 w 348"/>
                  <a:gd name="T31" fmla="*/ 424 h 494"/>
                  <a:gd name="T32" fmla="*/ 49 w 348"/>
                  <a:gd name="T33" fmla="*/ 421 h 494"/>
                  <a:gd name="T34" fmla="*/ 34 w 348"/>
                  <a:gd name="T35" fmla="*/ 397 h 494"/>
                  <a:gd name="T36" fmla="*/ 79 w 348"/>
                  <a:gd name="T37" fmla="*/ 331 h 494"/>
                  <a:gd name="T38" fmla="*/ 131 w 348"/>
                  <a:gd name="T39" fmla="*/ 369 h 494"/>
                  <a:gd name="T40" fmla="*/ 138 w 348"/>
                  <a:gd name="T41" fmla="*/ 398 h 494"/>
                  <a:gd name="T42" fmla="*/ 127 w 348"/>
                  <a:gd name="T43" fmla="*/ 408 h 494"/>
                  <a:gd name="T44" fmla="*/ 114 w 348"/>
                  <a:gd name="T45" fmla="*/ 444 h 494"/>
                  <a:gd name="T46" fmla="*/ 136 w 348"/>
                  <a:gd name="T47" fmla="*/ 421 h 494"/>
                  <a:gd name="T48" fmla="*/ 151 w 348"/>
                  <a:gd name="T49" fmla="*/ 381 h 494"/>
                  <a:gd name="T50" fmla="*/ 87 w 348"/>
                  <a:gd name="T51" fmla="*/ 319 h 494"/>
                  <a:gd name="T52" fmla="*/ 114 w 348"/>
                  <a:gd name="T53" fmla="*/ 267 h 494"/>
                  <a:gd name="T54" fmla="*/ 234 w 348"/>
                  <a:gd name="T55" fmla="*/ 267 h 494"/>
                  <a:gd name="T56" fmla="*/ 278 w 348"/>
                  <a:gd name="T57" fmla="*/ 122 h 494"/>
                  <a:gd name="T58" fmla="*/ 263 w 348"/>
                  <a:gd name="T59" fmla="*/ 176 h 494"/>
                  <a:gd name="T60" fmla="*/ 177 w 348"/>
                  <a:gd name="T61" fmla="*/ 254 h 494"/>
                  <a:gd name="T62" fmla="*/ 89 w 348"/>
                  <a:gd name="T63" fmla="*/ 186 h 494"/>
                  <a:gd name="T64" fmla="*/ 72 w 348"/>
                  <a:gd name="T65" fmla="*/ 155 h 494"/>
                  <a:gd name="T66" fmla="*/ 73 w 348"/>
                  <a:gd name="T67" fmla="*/ 121 h 494"/>
                  <a:gd name="T68" fmla="*/ 219 w 348"/>
                  <a:gd name="T69" fmla="*/ 19 h 494"/>
                  <a:gd name="T70" fmla="*/ 99 w 348"/>
                  <a:gd name="T71" fmla="*/ 116 h 494"/>
                  <a:gd name="T72" fmla="*/ 141 w 348"/>
                  <a:gd name="T73" fmla="*/ 222 h 494"/>
                  <a:gd name="T74" fmla="*/ 211 w 348"/>
                  <a:gd name="T75" fmla="*/ 219 h 494"/>
                  <a:gd name="T76" fmla="*/ 250 w 348"/>
                  <a:gd name="T77" fmla="*/ 114 h 494"/>
                  <a:gd name="T78" fmla="*/ 215 w 348"/>
                  <a:gd name="T79" fmla="*/ 122 h 494"/>
                  <a:gd name="T80" fmla="*/ 211 w 348"/>
                  <a:gd name="T81" fmla="*/ 107 h 494"/>
                  <a:gd name="T82" fmla="*/ 179 w 348"/>
                  <a:gd name="T83" fmla="*/ 120 h 494"/>
                  <a:gd name="T84" fmla="*/ 99 w 348"/>
                  <a:gd name="T85" fmla="*/ 116 h 494"/>
                  <a:gd name="T86" fmla="*/ 258 w 348"/>
                  <a:gd name="T87" fmla="*/ 389 h 494"/>
                  <a:gd name="T88" fmla="*/ 248 w 348"/>
                  <a:gd name="T89" fmla="*/ 393 h 494"/>
                  <a:gd name="T90" fmla="*/ 248 w 348"/>
                  <a:gd name="T91" fmla="*/ 414 h 494"/>
                  <a:gd name="T92" fmla="*/ 258 w 348"/>
                  <a:gd name="T93" fmla="*/ 418 h 494"/>
                  <a:gd name="T94" fmla="*/ 273 w 348"/>
                  <a:gd name="T95" fmla="*/ 404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8" h="494">
                    <a:moveTo>
                      <a:pt x="234" y="267"/>
                    </a:moveTo>
                    <a:cubicBezTo>
                      <a:pt x="240" y="267"/>
                      <a:pt x="247" y="268"/>
                      <a:pt x="255" y="269"/>
                    </a:cubicBezTo>
                    <a:cubicBezTo>
                      <a:pt x="261" y="285"/>
                      <a:pt x="271" y="315"/>
                      <a:pt x="269" y="338"/>
                    </a:cubicBezTo>
                    <a:cubicBezTo>
                      <a:pt x="268" y="354"/>
                      <a:pt x="266" y="365"/>
                      <a:pt x="263" y="372"/>
                    </a:cubicBezTo>
                    <a:cubicBezTo>
                      <a:pt x="262" y="371"/>
                      <a:pt x="260" y="371"/>
                      <a:pt x="258" y="371"/>
                    </a:cubicBezTo>
                    <a:cubicBezTo>
                      <a:pt x="249" y="371"/>
                      <a:pt x="241" y="375"/>
                      <a:pt x="235" y="381"/>
                    </a:cubicBezTo>
                    <a:cubicBezTo>
                      <a:pt x="235" y="381"/>
                      <a:pt x="235" y="381"/>
                      <a:pt x="235" y="381"/>
                    </a:cubicBezTo>
                    <a:cubicBezTo>
                      <a:pt x="235" y="381"/>
                      <a:pt x="235" y="381"/>
                      <a:pt x="235" y="381"/>
                    </a:cubicBezTo>
                    <a:cubicBezTo>
                      <a:pt x="230" y="387"/>
                      <a:pt x="226" y="395"/>
                      <a:pt x="226" y="404"/>
                    </a:cubicBezTo>
                    <a:cubicBezTo>
                      <a:pt x="226" y="413"/>
                      <a:pt x="230" y="421"/>
                      <a:pt x="235" y="427"/>
                    </a:cubicBezTo>
                    <a:cubicBezTo>
                      <a:pt x="235" y="427"/>
                      <a:pt x="235" y="427"/>
                      <a:pt x="235" y="427"/>
                    </a:cubicBezTo>
                    <a:cubicBezTo>
                      <a:pt x="241" y="433"/>
                      <a:pt x="249" y="436"/>
                      <a:pt x="258" y="436"/>
                    </a:cubicBezTo>
                    <a:cubicBezTo>
                      <a:pt x="267" y="436"/>
                      <a:pt x="275" y="433"/>
                      <a:pt x="281" y="427"/>
                    </a:cubicBezTo>
                    <a:cubicBezTo>
                      <a:pt x="287" y="421"/>
                      <a:pt x="291" y="413"/>
                      <a:pt x="291" y="404"/>
                    </a:cubicBezTo>
                    <a:cubicBezTo>
                      <a:pt x="291" y="395"/>
                      <a:pt x="287" y="387"/>
                      <a:pt x="281" y="381"/>
                    </a:cubicBezTo>
                    <a:cubicBezTo>
                      <a:pt x="281" y="381"/>
                      <a:pt x="281" y="381"/>
                      <a:pt x="281" y="381"/>
                    </a:cubicBezTo>
                    <a:cubicBezTo>
                      <a:pt x="281" y="380"/>
                      <a:pt x="280" y="380"/>
                      <a:pt x="279" y="379"/>
                    </a:cubicBezTo>
                    <a:cubicBezTo>
                      <a:pt x="282" y="371"/>
                      <a:pt x="286" y="358"/>
                      <a:pt x="287" y="339"/>
                    </a:cubicBezTo>
                    <a:cubicBezTo>
                      <a:pt x="289" y="318"/>
                      <a:pt x="281" y="290"/>
                      <a:pt x="275" y="272"/>
                    </a:cubicBezTo>
                    <a:cubicBezTo>
                      <a:pt x="294" y="276"/>
                      <a:pt x="311" y="280"/>
                      <a:pt x="315" y="281"/>
                    </a:cubicBezTo>
                    <a:cubicBezTo>
                      <a:pt x="336" y="329"/>
                      <a:pt x="347" y="383"/>
                      <a:pt x="348" y="444"/>
                    </a:cubicBezTo>
                    <a:cubicBezTo>
                      <a:pt x="325" y="491"/>
                      <a:pt x="27" y="494"/>
                      <a:pt x="0" y="444"/>
                    </a:cubicBezTo>
                    <a:cubicBezTo>
                      <a:pt x="1" y="383"/>
                      <a:pt x="12" y="329"/>
                      <a:pt x="33" y="281"/>
                    </a:cubicBezTo>
                    <a:cubicBezTo>
                      <a:pt x="39" y="279"/>
                      <a:pt x="55" y="276"/>
                      <a:pt x="70" y="273"/>
                    </a:cubicBezTo>
                    <a:cubicBezTo>
                      <a:pt x="69" y="289"/>
                      <a:pt x="70" y="305"/>
                      <a:pt x="70" y="321"/>
                    </a:cubicBezTo>
                    <a:cubicBezTo>
                      <a:pt x="51" y="333"/>
                      <a:pt x="33" y="355"/>
                      <a:pt x="25" y="376"/>
                    </a:cubicBezTo>
                    <a:cubicBezTo>
                      <a:pt x="22" y="383"/>
                      <a:pt x="20" y="390"/>
                      <a:pt x="20" y="397"/>
                    </a:cubicBezTo>
                    <a:cubicBezTo>
                      <a:pt x="20" y="404"/>
                      <a:pt x="22" y="411"/>
                      <a:pt x="25" y="417"/>
                    </a:cubicBezTo>
                    <a:cubicBezTo>
                      <a:pt x="29" y="423"/>
                      <a:pt x="35" y="429"/>
                      <a:pt x="44" y="433"/>
                    </a:cubicBezTo>
                    <a:cubicBezTo>
                      <a:pt x="42" y="437"/>
                      <a:pt x="42" y="437"/>
                      <a:pt x="42" y="437"/>
                    </a:cubicBezTo>
                    <a:cubicBezTo>
                      <a:pt x="42" y="437"/>
                      <a:pt x="65" y="452"/>
                      <a:pt x="70" y="450"/>
                    </a:cubicBezTo>
                    <a:cubicBezTo>
                      <a:pt x="75" y="449"/>
                      <a:pt x="82" y="429"/>
                      <a:pt x="80" y="424"/>
                    </a:cubicBezTo>
                    <a:cubicBezTo>
                      <a:pt x="77" y="419"/>
                      <a:pt x="49" y="418"/>
                      <a:pt x="49" y="418"/>
                    </a:cubicBezTo>
                    <a:cubicBezTo>
                      <a:pt x="49" y="421"/>
                      <a:pt x="49" y="421"/>
                      <a:pt x="49" y="421"/>
                    </a:cubicBezTo>
                    <a:cubicBezTo>
                      <a:pt x="43" y="418"/>
                      <a:pt x="39" y="414"/>
                      <a:pt x="37" y="410"/>
                    </a:cubicBezTo>
                    <a:cubicBezTo>
                      <a:pt x="34" y="406"/>
                      <a:pt x="33" y="402"/>
                      <a:pt x="34" y="397"/>
                    </a:cubicBezTo>
                    <a:cubicBezTo>
                      <a:pt x="34" y="392"/>
                      <a:pt x="35" y="387"/>
                      <a:pt x="37" y="381"/>
                    </a:cubicBezTo>
                    <a:cubicBezTo>
                      <a:pt x="45" y="362"/>
                      <a:pt x="62" y="342"/>
                      <a:pt x="79" y="331"/>
                    </a:cubicBezTo>
                    <a:cubicBezTo>
                      <a:pt x="81" y="331"/>
                      <a:pt x="81" y="331"/>
                      <a:pt x="81" y="331"/>
                    </a:cubicBezTo>
                    <a:cubicBezTo>
                      <a:pt x="100" y="338"/>
                      <a:pt x="120" y="353"/>
                      <a:pt x="131" y="369"/>
                    </a:cubicBezTo>
                    <a:cubicBezTo>
                      <a:pt x="134" y="374"/>
                      <a:pt x="137" y="379"/>
                      <a:pt x="138" y="384"/>
                    </a:cubicBezTo>
                    <a:cubicBezTo>
                      <a:pt x="139" y="389"/>
                      <a:pt x="139" y="393"/>
                      <a:pt x="138" y="398"/>
                    </a:cubicBezTo>
                    <a:cubicBezTo>
                      <a:pt x="137" y="402"/>
                      <a:pt x="134" y="406"/>
                      <a:pt x="129" y="410"/>
                    </a:cubicBezTo>
                    <a:cubicBezTo>
                      <a:pt x="127" y="408"/>
                      <a:pt x="127" y="408"/>
                      <a:pt x="127" y="408"/>
                    </a:cubicBezTo>
                    <a:cubicBezTo>
                      <a:pt x="127" y="408"/>
                      <a:pt x="101" y="416"/>
                      <a:pt x="99" y="421"/>
                    </a:cubicBezTo>
                    <a:cubicBezTo>
                      <a:pt x="98" y="426"/>
                      <a:pt x="109" y="444"/>
                      <a:pt x="114" y="444"/>
                    </a:cubicBezTo>
                    <a:cubicBezTo>
                      <a:pt x="120" y="444"/>
                      <a:pt x="139" y="425"/>
                      <a:pt x="139" y="425"/>
                    </a:cubicBezTo>
                    <a:cubicBezTo>
                      <a:pt x="136" y="421"/>
                      <a:pt x="136" y="421"/>
                      <a:pt x="136" y="421"/>
                    </a:cubicBezTo>
                    <a:cubicBezTo>
                      <a:pt x="144" y="416"/>
                      <a:pt x="149" y="409"/>
                      <a:pt x="151" y="401"/>
                    </a:cubicBezTo>
                    <a:cubicBezTo>
                      <a:pt x="153" y="395"/>
                      <a:pt x="153" y="388"/>
                      <a:pt x="151" y="381"/>
                    </a:cubicBezTo>
                    <a:cubicBezTo>
                      <a:pt x="149" y="374"/>
                      <a:pt x="146" y="368"/>
                      <a:pt x="142" y="362"/>
                    </a:cubicBezTo>
                    <a:cubicBezTo>
                      <a:pt x="129" y="343"/>
                      <a:pt x="108" y="327"/>
                      <a:pt x="87" y="319"/>
                    </a:cubicBezTo>
                    <a:cubicBezTo>
                      <a:pt x="86" y="302"/>
                      <a:pt x="86" y="286"/>
                      <a:pt x="87" y="270"/>
                    </a:cubicBezTo>
                    <a:cubicBezTo>
                      <a:pt x="99" y="269"/>
                      <a:pt x="109" y="267"/>
                      <a:pt x="114" y="267"/>
                    </a:cubicBezTo>
                    <a:cubicBezTo>
                      <a:pt x="116" y="308"/>
                      <a:pt x="146" y="356"/>
                      <a:pt x="176" y="385"/>
                    </a:cubicBezTo>
                    <a:cubicBezTo>
                      <a:pt x="205" y="365"/>
                      <a:pt x="233" y="302"/>
                      <a:pt x="234" y="267"/>
                    </a:cubicBezTo>
                    <a:close/>
                    <a:moveTo>
                      <a:pt x="275" y="121"/>
                    </a:moveTo>
                    <a:cubicBezTo>
                      <a:pt x="278" y="122"/>
                      <a:pt x="278" y="122"/>
                      <a:pt x="278" y="122"/>
                    </a:cubicBezTo>
                    <a:cubicBezTo>
                      <a:pt x="280" y="137"/>
                      <a:pt x="280" y="157"/>
                      <a:pt x="266" y="167"/>
                    </a:cubicBezTo>
                    <a:cubicBezTo>
                      <a:pt x="265" y="170"/>
                      <a:pt x="264" y="173"/>
                      <a:pt x="263" y="176"/>
                    </a:cubicBezTo>
                    <a:cubicBezTo>
                      <a:pt x="254" y="202"/>
                      <a:pt x="240" y="222"/>
                      <a:pt x="223" y="235"/>
                    </a:cubicBezTo>
                    <a:cubicBezTo>
                      <a:pt x="209" y="247"/>
                      <a:pt x="193" y="253"/>
                      <a:pt x="177" y="254"/>
                    </a:cubicBezTo>
                    <a:cubicBezTo>
                      <a:pt x="160" y="255"/>
                      <a:pt x="144" y="250"/>
                      <a:pt x="129" y="239"/>
                    </a:cubicBezTo>
                    <a:cubicBezTo>
                      <a:pt x="113" y="228"/>
                      <a:pt x="99" y="211"/>
                      <a:pt x="89" y="186"/>
                    </a:cubicBezTo>
                    <a:cubicBezTo>
                      <a:pt x="86" y="180"/>
                      <a:pt x="84" y="174"/>
                      <a:pt x="82" y="167"/>
                    </a:cubicBezTo>
                    <a:cubicBezTo>
                      <a:pt x="79" y="165"/>
                      <a:pt x="75" y="161"/>
                      <a:pt x="72" y="155"/>
                    </a:cubicBezTo>
                    <a:cubicBezTo>
                      <a:pt x="67" y="144"/>
                      <a:pt x="70" y="122"/>
                      <a:pt x="70" y="122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64" y="59"/>
                      <a:pt x="92" y="7"/>
                      <a:pt x="150" y="4"/>
                    </a:cubicBezTo>
                    <a:cubicBezTo>
                      <a:pt x="173" y="2"/>
                      <a:pt x="198" y="0"/>
                      <a:pt x="219" y="19"/>
                    </a:cubicBezTo>
                    <a:cubicBezTo>
                      <a:pt x="266" y="1"/>
                      <a:pt x="287" y="83"/>
                      <a:pt x="275" y="121"/>
                    </a:cubicBezTo>
                    <a:close/>
                    <a:moveTo>
                      <a:pt x="99" y="116"/>
                    </a:moveTo>
                    <a:cubicBezTo>
                      <a:pt x="97" y="138"/>
                      <a:pt x="100" y="160"/>
                      <a:pt x="108" y="178"/>
                    </a:cubicBezTo>
                    <a:cubicBezTo>
                      <a:pt x="117" y="199"/>
                      <a:pt x="128" y="213"/>
                      <a:pt x="141" y="222"/>
                    </a:cubicBezTo>
                    <a:cubicBezTo>
                      <a:pt x="152" y="230"/>
                      <a:pt x="164" y="234"/>
                      <a:pt x="176" y="233"/>
                    </a:cubicBezTo>
                    <a:cubicBezTo>
                      <a:pt x="188" y="232"/>
                      <a:pt x="200" y="228"/>
                      <a:pt x="211" y="219"/>
                    </a:cubicBezTo>
                    <a:cubicBezTo>
                      <a:pt x="224" y="208"/>
                      <a:pt x="236" y="191"/>
                      <a:pt x="244" y="169"/>
                    </a:cubicBezTo>
                    <a:cubicBezTo>
                      <a:pt x="250" y="152"/>
                      <a:pt x="252" y="133"/>
                      <a:pt x="250" y="114"/>
                    </a:cubicBezTo>
                    <a:cubicBezTo>
                      <a:pt x="239" y="112"/>
                      <a:pt x="229" y="107"/>
                      <a:pt x="222" y="102"/>
                    </a:cubicBezTo>
                    <a:cubicBezTo>
                      <a:pt x="215" y="122"/>
                      <a:pt x="215" y="122"/>
                      <a:pt x="215" y="122"/>
                    </a:cubicBezTo>
                    <a:cubicBezTo>
                      <a:pt x="205" y="121"/>
                      <a:pt x="205" y="121"/>
                      <a:pt x="205" y="121"/>
                    </a:cubicBezTo>
                    <a:cubicBezTo>
                      <a:pt x="211" y="107"/>
                      <a:pt x="211" y="107"/>
                      <a:pt x="211" y="107"/>
                    </a:cubicBezTo>
                    <a:cubicBezTo>
                      <a:pt x="187" y="125"/>
                      <a:pt x="187" y="125"/>
                      <a:pt x="187" y="125"/>
                    </a:cubicBezTo>
                    <a:cubicBezTo>
                      <a:pt x="179" y="120"/>
                      <a:pt x="179" y="120"/>
                      <a:pt x="179" y="120"/>
                    </a:cubicBezTo>
                    <a:cubicBezTo>
                      <a:pt x="191" y="106"/>
                      <a:pt x="191" y="106"/>
                      <a:pt x="191" y="106"/>
                    </a:cubicBezTo>
                    <a:cubicBezTo>
                      <a:pt x="171" y="114"/>
                      <a:pt x="139" y="121"/>
                      <a:pt x="99" y="116"/>
                    </a:cubicBezTo>
                    <a:close/>
                    <a:moveTo>
                      <a:pt x="269" y="393"/>
                    </a:moveTo>
                    <a:cubicBezTo>
                      <a:pt x="266" y="391"/>
                      <a:pt x="262" y="389"/>
                      <a:pt x="258" y="389"/>
                    </a:cubicBezTo>
                    <a:cubicBezTo>
                      <a:pt x="254" y="389"/>
                      <a:pt x="251" y="391"/>
                      <a:pt x="248" y="393"/>
                    </a:cubicBezTo>
                    <a:cubicBezTo>
                      <a:pt x="248" y="393"/>
                      <a:pt x="248" y="393"/>
                      <a:pt x="248" y="393"/>
                    </a:cubicBezTo>
                    <a:cubicBezTo>
                      <a:pt x="245" y="396"/>
                      <a:pt x="244" y="400"/>
                      <a:pt x="244" y="404"/>
                    </a:cubicBezTo>
                    <a:cubicBezTo>
                      <a:pt x="244" y="408"/>
                      <a:pt x="245" y="411"/>
                      <a:pt x="248" y="414"/>
                    </a:cubicBezTo>
                    <a:cubicBezTo>
                      <a:pt x="248" y="414"/>
                      <a:pt x="248" y="414"/>
                      <a:pt x="248" y="414"/>
                    </a:cubicBezTo>
                    <a:cubicBezTo>
                      <a:pt x="251" y="417"/>
                      <a:pt x="254" y="418"/>
                      <a:pt x="258" y="418"/>
                    </a:cubicBezTo>
                    <a:cubicBezTo>
                      <a:pt x="262" y="418"/>
                      <a:pt x="266" y="417"/>
                      <a:pt x="269" y="414"/>
                    </a:cubicBezTo>
                    <a:cubicBezTo>
                      <a:pt x="271" y="411"/>
                      <a:pt x="273" y="408"/>
                      <a:pt x="273" y="404"/>
                    </a:cubicBezTo>
                    <a:cubicBezTo>
                      <a:pt x="273" y="400"/>
                      <a:pt x="271" y="396"/>
                      <a:pt x="269" y="39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68750" tIns="34375" rIns="68750" bIns="3437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</a:endParaRPr>
              </a:p>
            </p:txBody>
          </p:sp>
          <p:sp>
            <p:nvSpPr>
              <p:cNvPr id="9" name="Freeform 33"/>
              <p:cNvSpPr>
                <a:spLocks noEditPoints="1"/>
              </p:cNvSpPr>
              <p:nvPr/>
            </p:nvSpPr>
            <p:spPr bwMode="auto">
              <a:xfrm>
                <a:off x="4008754" y="3783808"/>
                <a:ext cx="292204" cy="346430"/>
              </a:xfrm>
              <a:custGeom>
                <a:avLst/>
                <a:gdLst>
                  <a:gd name="T0" fmla="*/ 255 w 348"/>
                  <a:gd name="T1" fmla="*/ 269 h 494"/>
                  <a:gd name="T2" fmla="*/ 263 w 348"/>
                  <a:gd name="T3" fmla="*/ 372 h 494"/>
                  <a:gd name="T4" fmla="*/ 235 w 348"/>
                  <a:gd name="T5" fmla="*/ 381 h 494"/>
                  <a:gd name="T6" fmla="*/ 235 w 348"/>
                  <a:gd name="T7" fmla="*/ 381 h 494"/>
                  <a:gd name="T8" fmla="*/ 235 w 348"/>
                  <a:gd name="T9" fmla="*/ 427 h 494"/>
                  <a:gd name="T10" fmla="*/ 258 w 348"/>
                  <a:gd name="T11" fmla="*/ 436 h 494"/>
                  <a:gd name="T12" fmla="*/ 291 w 348"/>
                  <a:gd name="T13" fmla="*/ 404 h 494"/>
                  <a:gd name="T14" fmla="*/ 281 w 348"/>
                  <a:gd name="T15" fmla="*/ 381 h 494"/>
                  <a:gd name="T16" fmla="*/ 287 w 348"/>
                  <a:gd name="T17" fmla="*/ 339 h 494"/>
                  <a:gd name="T18" fmla="*/ 315 w 348"/>
                  <a:gd name="T19" fmla="*/ 281 h 494"/>
                  <a:gd name="T20" fmla="*/ 0 w 348"/>
                  <a:gd name="T21" fmla="*/ 444 h 494"/>
                  <a:gd name="T22" fmla="*/ 70 w 348"/>
                  <a:gd name="T23" fmla="*/ 273 h 494"/>
                  <a:gd name="T24" fmla="*/ 25 w 348"/>
                  <a:gd name="T25" fmla="*/ 376 h 494"/>
                  <a:gd name="T26" fmla="*/ 25 w 348"/>
                  <a:gd name="T27" fmla="*/ 417 h 494"/>
                  <a:gd name="T28" fmla="*/ 42 w 348"/>
                  <a:gd name="T29" fmla="*/ 437 h 494"/>
                  <a:gd name="T30" fmla="*/ 80 w 348"/>
                  <a:gd name="T31" fmla="*/ 424 h 494"/>
                  <a:gd name="T32" fmla="*/ 49 w 348"/>
                  <a:gd name="T33" fmla="*/ 421 h 494"/>
                  <a:gd name="T34" fmla="*/ 34 w 348"/>
                  <a:gd name="T35" fmla="*/ 397 h 494"/>
                  <a:gd name="T36" fmla="*/ 79 w 348"/>
                  <a:gd name="T37" fmla="*/ 331 h 494"/>
                  <a:gd name="T38" fmla="*/ 131 w 348"/>
                  <a:gd name="T39" fmla="*/ 369 h 494"/>
                  <a:gd name="T40" fmla="*/ 138 w 348"/>
                  <a:gd name="T41" fmla="*/ 398 h 494"/>
                  <a:gd name="T42" fmla="*/ 127 w 348"/>
                  <a:gd name="T43" fmla="*/ 408 h 494"/>
                  <a:gd name="T44" fmla="*/ 114 w 348"/>
                  <a:gd name="T45" fmla="*/ 444 h 494"/>
                  <a:gd name="T46" fmla="*/ 136 w 348"/>
                  <a:gd name="T47" fmla="*/ 421 h 494"/>
                  <a:gd name="T48" fmla="*/ 151 w 348"/>
                  <a:gd name="T49" fmla="*/ 381 h 494"/>
                  <a:gd name="T50" fmla="*/ 87 w 348"/>
                  <a:gd name="T51" fmla="*/ 319 h 494"/>
                  <a:gd name="T52" fmla="*/ 114 w 348"/>
                  <a:gd name="T53" fmla="*/ 267 h 494"/>
                  <a:gd name="T54" fmla="*/ 234 w 348"/>
                  <a:gd name="T55" fmla="*/ 267 h 494"/>
                  <a:gd name="T56" fmla="*/ 278 w 348"/>
                  <a:gd name="T57" fmla="*/ 122 h 494"/>
                  <a:gd name="T58" fmla="*/ 263 w 348"/>
                  <a:gd name="T59" fmla="*/ 176 h 494"/>
                  <a:gd name="T60" fmla="*/ 177 w 348"/>
                  <a:gd name="T61" fmla="*/ 254 h 494"/>
                  <a:gd name="T62" fmla="*/ 89 w 348"/>
                  <a:gd name="T63" fmla="*/ 186 h 494"/>
                  <a:gd name="T64" fmla="*/ 72 w 348"/>
                  <a:gd name="T65" fmla="*/ 155 h 494"/>
                  <a:gd name="T66" fmla="*/ 73 w 348"/>
                  <a:gd name="T67" fmla="*/ 121 h 494"/>
                  <a:gd name="T68" fmla="*/ 219 w 348"/>
                  <a:gd name="T69" fmla="*/ 19 h 494"/>
                  <a:gd name="T70" fmla="*/ 99 w 348"/>
                  <a:gd name="T71" fmla="*/ 116 h 494"/>
                  <a:gd name="T72" fmla="*/ 141 w 348"/>
                  <a:gd name="T73" fmla="*/ 222 h 494"/>
                  <a:gd name="T74" fmla="*/ 211 w 348"/>
                  <a:gd name="T75" fmla="*/ 219 h 494"/>
                  <a:gd name="T76" fmla="*/ 250 w 348"/>
                  <a:gd name="T77" fmla="*/ 114 h 494"/>
                  <a:gd name="T78" fmla="*/ 215 w 348"/>
                  <a:gd name="T79" fmla="*/ 122 h 494"/>
                  <a:gd name="T80" fmla="*/ 211 w 348"/>
                  <a:gd name="T81" fmla="*/ 107 h 494"/>
                  <a:gd name="T82" fmla="*/ 179 w 348"/>
                  <a:gd name="T83" fmla="*/ 120 h 494"/>
                  <a:gd name="T84" fmla="*/ 99 w 348"/>
                  <a:gd name="T85" fmla="*/ 116 h 494"/>
                  <a:gd name="T86" fmla="*/ 258 w 348"/>
                  <a:gd name="T87" fmla="*/ 389 h 494"/>
                  <a:gd name="T88" fmla="*/ 248 w 348"/>
                  <a:gd name="T89" fmla="*/ 393 h 494"/>
                  <a:gd name="T90" fmla="*/ 248 w 348"/>
                  <a:gd name="T91" fmla="*/ 414 h 494"/>
                  <a:gd name="T92" fmla="*/ 258 w 348"/>
                  <a:gd name="T93" fmla="*/ 418 h 494"/>
                  <a:gd name="T94" fmla="*/ 273 w 348"/>
                  <a:gd name="T95" fmla="*/ 404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8" h="494">
                    <a:moveTo>
                      <a:pt x="234" y="267"/>
                    </a:moveTo>
                    <a:cubicBezTo>
                      <a:pt x="240" y="267"/>
                      <a:pt x="247" y="268"/>
                      <a:pt x="255" y="269"/>
                    </a:cubicBezTo>
                    <a:cubicBezTo>
                      <a:pt x="261" y="285"/>
                      <a:pt x="271" y="315"/>
                      <a:pt x="269" y="338"/>
                    </a:cubicBezTo>
                    <a:cubicBezTo>
                      <a:pt x="268" y="354"/>
                      <a:pt x="266" y="365"/>
                      <a:pt x="263" y="372"/>
                    </a:cubicBezTo>
                    <a:cubicBezTo>
                      <a:pt x="262" y="371"/>
                      <a:pt x="260" y="371"/>
                      <a:pt x="258" y="371"/>
                    </a:cubicBezTo>
                    <a:cubicBezTo>
                      <a:pt x="249" y="371"/>
                      <a:pt x="241" y="375"/>
                      <a:pt x="235" y="381"/>
                    </a:cubicBezTo>
                    <a:cubicBezTo>
                      <a:pt x="235" y="381"/>
                      <a:pt x="235" y="381"/>
                      <a:pt x="235" y="381"/>
                    </a:cubicBezTo>
                    <a:cubicBezTo>
                      <a:pt x="235" y="381"/>
                      <a:pt x="235" y="381"/>
                      <a:pt x="235" y="381"/>
                    </a:cubicBezTo>
                    <a:cubicBezTo>
                      <a:pt x="230" y="387"/>
                      <a:pt x="226" y="395"/>
                      <a:pt x="226" y="404"/>
                    </a:cubicBezTo>
                    <a:cubicBezTo>
                      <a:pt x="226" y="413"/>
                      <a:pt x="230" y="421"/>
                      <a:pt x="235" y="427"/>
                    </a:cubicBezTo>
                    <a:cubicBezTo>
                      <a:pt x="235" y="427"/>
                      <a:pt x="235" y="427"/>
                      <a:pt x="235" y="427"/>
                    </a:cubicBezTo>
                    <a:cubicBezTo>
                      <a:pt x="241" y="433"/>
                      <a:pt x="249" y="436"/>
                      <a:pt x="258" y="436"/>
                    </a:cubicBezTo>
                    <a:cubicBezTo>
                      <a:pt x="267" y="436"/>
                      <a:pt x="275" y="433"/>
                      <a:pt x="281" y="427"/>
                    </a:cubicBezTo>
                    <a:cubicBezTo>
                      <a:pt x="287" y="421"/>
                      <a:pt x="291" y="413"/>
                      <a:pt x="291" y="404"/>
                    </a:cubicBezTo>
                    <a:cubicBezTo>
                      <a:pt x="291" y="395"/>
                      <a:pt x="287" y="387"/>
                      <a:pt x="281" y="381"/>
                    </a:cubicBezTo>
                    <a:cubicBezTo>
                      <a:pt x="281" y="381"/>
                      <a:pt x="281" y="381"/>
                      <a:pt x="281" y="381"/>
                    </a:cubicBezTo>
                    <a:cubicBezTo>
                      <a:pt x="281" y="380"/>
                      <a:pt x="280" y="380"/>
                      <a:pt x="279" y="379"/>
                    </a:cubicBezTo>
                    <a:cubicBezTo>
                      <a:pt x="282" y="371"/>
                      <a:pt x="286" y="358"/>
                      <a:pt x="287" y="339"/>
                    </a:cubicBezTo>
                    <a:cubicBezTo>
                      <a:pt x="289" y="318"/>
                      <a:pt x="281" y="290"/>
                      <a:pt x="275" y="272"/>
                    </a:cubicBezTo>
                    <a:cubicBezTo>
                      <a:pt x="294" y="276"/>
                      <a:pt x="311" y="280"/>
                      <a:pt x="315" y="281"/>
                    </a:cubicBezTo>
                    <a:cubicBezTo>
                      <a:pt x="336" y="329"/>
                      <a:pt x="347" y="383"/>
                      <a:pt x="348" y="444"/>
                    </a:cubicBezTo>
                    <a:cubicBezTo>
                      <a:pt x="325" y="491"/>
                      <a:pt x="27" y="494"/>
                      <a:pt x="0" y="444"/>
                    </a:cubicBezTo>
                    <a:cubicBezTo>
                      <a:pt x="1" y="383"/>
                      <a:pt x="12" y="329"/>
                      <a:pt x="33" y="281"/>
                    </a:cubicBezTo>
                    <a:cubicBezTo>
                      <a:pt x="39" y="279"/>
                      <a:pt x="55" y="276"/>
                      <a:pt x="70" y="273"/>
                    </a:cubicBezTo>
                    <a:cubicBezTo>
                      <a:pt x="69" y="289"/>
                      <a:pt x="70" y="305"/>
                      <a:pt x="70" y="321"/>
                    </a:cubicBezTo>
                    <a:cubicBezTo>
                      <a:pt x="51" y="333"/>
                      <a:pt x="33" y="355"/>
                      <a:pt x="25" y="376"/>
                    </a:cubicBezTo>
                    <a:cubicBezTo>
                      <a:pt x="22" y="383"/>
                      <a:pt x="20" y="390"/>
                      <a:pt x="20" y="397"/>
                    </a:cubicBezTo>
                    <a:cubicBezTo>
                      <a:pt x="20" y="404"/>
                      <a:pt x="22" y="411"/>
                      <a:pt x="25" y="417"/>
                    </a:cubicBezTo>
                    <a:cubicBezTo>
                      <a:pt x="29" y="423"/>
                      <a:pt x="35" y="429"/>
                      <a:pt x="44" y="433"/>
                    </a:cubicBezTo>
                    <a:cubicBezTo>
                      <a:pt x="42" y="437"/>
                      <a:pt x="42" y="437"/>
                      <a:pt x="42" y="437"/>
                    </a:cubicBezTo>
                    <a:cubicBezTo>
                      <a:pt x="42" y="437"/>
                      <a:pt x="65" y="452"/>
                      <a:pt x="70" y="450"/>
                    </a:cubicBezTo>
                    <a:cubicBezTo>
                      <a:pt x="75" y="449"/>
                      <a:pt x="82" y="429"/>
                      <a:pt x="80" y="424"/>
                    </a:cubicBezTo>
                    <a:cubicBezTo>
                      <a:pt x="77" y="419"/>
                      <a:pt x="49" y="418"/>
                      <a:pt x="49" y="418"/>
                    </a:cubicBezTo>
                    <a:cubicBezTo>
                      <a:pt x="49" y="421"/>
                      <a:pt x="49" y="421"/>
                      <a:pt x="49" y="421"/>
                    </a:cubicBezTo>
                    <a:cubicBezTo>
                      <a:pt x="43" y="418"/>
                      <a:pt x="39" y="414"/>
                      <a:pt x="37" y="410"/>
                    </a:cubicBezTo>
                    <a:cubicBezTo>
                      <a:pt x="34" y="406"/>
                      <a:pt x="33" y="402"/>
                      <a:pt x="34" y="397"/>
                    </a:cubicBezTo>
                    <a:cubicBezTo>
                      <a:pt x="34" y="392"/>
                      <a:pt x="35" y="387"/>
                      <a:pt x="37" y="381"/>
                    </a:cubicBezTo>
                    <a:cubicBezTo>
                      <a:pt x="45" y="362"/>
                      <a:pt x="62" y="342"/>
                      <a:pt x="79" y="331"/>
                    </a:cubicBezTo>
                    <a:cubicBezTo>
                      <a:pt x="81" y="331"/>
                      <a:pt x="81" y="331"/>
                      <a:pt x="81" y="331"/>
                    </a:cubicBezTo>
                    <a:cubicBezTo>
                      <a:pt x="100" y="338"/>
                      <a:pt x="120" y="353"/>
                      <a:pt x="131" y="369"/>
                    </a:cubicBezTo>
                    <a:cubicBezTo>
                      <a:pt x="134" y="374"/>
                      <a:pt x="137" y="379"/>
                      <a:pt x="138" y="384"/>
                    </a:cubicBezTo>
                    <a:cubicBezTo>
                      <a:pt x="139" y="389"/>
                      <a:pt x="139" y="393"/>
                      <a:pt x="138" y="398"/>
                    </a:cubicBezTo>
                    <a:cubicBezTo>
                      <a:pt x="137" y="402"/>
                      <a:pt x="134" y="406"/>
                      <a:pt x="129" y="410"/>
                    </a:cubicBezTo>
                    <a:cubicBezTo>
                      <a:pt x="127" y="408"/>
                      <a:pt x="127" y="408"/>
                      <a:pt x="127" y="408"/>
                    </a:cubicBezTo>
                    <a:cubicBezTo>
                      <a:pt x="127" y="408"/>
                      <a:pt x="101" y="416"/>
                      <a:pt x="99" y="421"/>
                    </a:cubicBezTo>
                    <a:cubicBezTo>
                      <a:pt x="98" y="426"/>
                      <a:pt x="109" y="444"/>
                      <a:pt x="114" y="444"/>
                    </a:cubicBezTo>
                    <a:cubicBezTo>
                      <a:pt x="120" y="444"/>
                      <a:pt x="139" y="425"/>
                      <a:pt x="139" y="425"/>
                    </a:cubicBezTo>
                    <a:cubicBezTo>
                      <a:pt x="136" y="421"/>
                      <a:pt x="136" y="421"/>
                      <a:pt x="136" y="421"/>
                    </a:cubicBezTo>
                    <a:cubicBezTo>
                      <a:pt x="144" y="416"/>
                      <a:pt x="149" y="409"/>
                      <a:pt x="151" y="401"/>
                    </a:cubicBezTo>
                    <a:cubicBezTo>
                      <a:pt x="153" y="395"/>
                      <a:pt x="153" y="388"/>
                      <a:pt x="151" y="381"/>
                    </a:cubicBezTo>
                    <a:cubicBezTo>
                      <a:pt x="149" y="374"/>
                      <a:pt x="146" y="368"/>
                      <a:pt x="142" y="362"/>
                    </a:cubicBezTo>
                    <a:cubicBezTo>
                      <a:pt x="129" y="343"/>
                      <a:pt x="108" y="327"/>
                      <a:pt x="87" y="319"/>
                    </a:cubicBezTo>
                    <a:cubicBezTo>
                      <a:pt x="86" y="302"/>
                      <a:pt x="86" y="286"/>
                      <a:pt x="87" y="270"/>
                    </a:cubicBezTo>
                    <a:cubicBezTo>
                      <a:pt x="99" y="269"/>
                      <a:pt x="109" y="267"/>
                      <a:pt x="114" y="267"/>
                    </a:cubicBezTo>
                    <a:cubicBezTo>
                      <a:pt x="116" y="308"/>
                      <a:pt x="146" y="356"/>
                      <a:pt x="176" y="385"/>
                    </a:cubicBezTo>
                    <a:cubicBezTo>
                      <a:pt x="205" y="365"/>
                      <a:pt x="233" y="302"/>
                      <a:pt x="234" y="267"/>
                    </a:cubicBezTo>
                    <a:close/>
                    <a:moveTo>
                      <a:pt x="275" y="121"/>
                    </a:moveTo>
                    <a:cubicBezTo>
                      <a:pt x="278" y="122"/>
                      <a:pt x="278" y="122"/>
                      <a:pt x="278" y="122"/>
                    </a:cubicBezTo>
                    <a:cubicBezTo>
                      <a:pt x="280" y="137"/>
                      <a:pt x="280" y="157"/>
                      <a:pt x="266" y="167"/>
                    </a:cubicBezTo>
                    <a:cubicBezTo>
                      <a:pt x="265" y="170"/>
                      <a:pt x="264" y="173"/>
                      <a:pt x="263" y="176"/>
                    </a:cubicBezTo>
                    <a:cubicBezTo>
                      <a:pt x="254" y="202"/>
                      <a:pt x="240" y="222"/>
                      <a:pt x="223" y="235"/>
                    </a:cubicBezTo>
                    <a:cubicBezTo>
                      <a:pt x="209" y="247"/>
                      <a:pt x="193" y="253"/>
                      <a:pt x="177" y="254"/>
                    </a:cubicBezTo>
                    <a:cubicBezTo>
                      <a:pt x="160" y="255"/>
                      <a:pt x="144" y="250"/>
                      <a:pt x="129" y="239"/>
                    </a:cubicBezTo>
                    <a:cubicBezTo>
                      <a:pt x="113" y="228"/>
                      <a:pt x="99" y="211"/>
                      <a:pt x="89" y="186"/>
                    </a:cubicBezTo>
                    <a:cubicBezTo>
                      <a:pt x="86" y="180"/>
                      <a:pt x="84" y="174"/>
                      <a:pt x="82" y="167"/>
                    </a:cubicBezTo>
                    <a:cubicBezTo>
                      <a:pt x="79" y="165"/>
                      <a:pt x="75" y="161"/>
                      <a:pt x="72" y="155"/>
                    </a:cubicBezTo>
                    <a:cubicBezTo>
                      <a:pt x="67" y="144"/>
                      <a:pt x="70" y="122"/>
                      <a:pt x="70" y="122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64" y="59"/>
                      <a:pt x="92" y="7"/>
                      <a:pt x="150" y="4"/>
                    </a:cubicBezTo>
                    <a:cubicBezTo>
                      <a:pt x="173" y="2"/>
                      <a:pt x="198" y="0"/>
                      <a:pt x="219" y="19"/>
                    </a:cubicBezTo>
                    <a:cubicBezTo>
                      <a:pt x="266" y="1"/>
                      <a:pt x="287" y="83"/>
                      <a:pt x="275" y="121"/>
                    </a:cubicBezTo>
                    <a:close/>
                    <a:moveTo>
                      <a:pt x="99" y="116"/>
                    </a:moveTo>
                    <a:cubicBezTo>
                      <a:pt x="97" y="138"/>
                      <a:pt x="100" y="160"/>
                      <a:pt x="108" y="178"/>
                    </a:cubicBezTo>
                    <a:cubicBezTo>
                      <a:pt x="117" y="199"/>
                      <a:pt x="128" y="213"/>
                      <a:pt x="141" y="222"/>
                    </a:cubicBezTo>
                    <a:cubicBezTo>
                      <a:pt x="152" y="230"/>
                      <a:pt x="164" y="234"/>
                      <a:pt x="176" y="233"/>
                    </a:cubicBezTo>
                    <a:cubicBezTo>
                      <a:pt x="188" y="232"/>
                      <a:pt x="200" y="228"/>
                      <a:pt x="211" y="219"/>
                    </a:cubicBezTo>
                    <a:cubicBezTo>
                      <a:pt x="224" y="208"/>
                      <a:pt x="236" y="191"/>
                      <a:pt x="244" y="169"/>
                    </a:cubicBezTo>
                    <a:cubicBezTo>
                      <a:pt x="250" y="152"/>
                      <a:pt x="252" y="133"/>
                      <a:pt x="250" y="114"/>
                    </a:cubicBezTo>
                    <a:cubicBezTo>
                      <a:pt x="239" y="112"/>
                      <a:pt x="229" y="107"/>
                      <a:pt x="222" y="102"/>
                    </a:cubicBezTo>
                    <a:cubicBezTo>
                      <a:pt x="215" y="122"/>
                      <a:pt x="215" y="122"/>
                      <a:pt x="215" y="122"/>
                    </a:cubicBezTo>
                    <a:cubicBezTo>
                      <a:pt x="205" y="121"/>
                      <a:pt x="205" y="121"/>
                      <a:pt x="205" y="121"/>
                    </a:cubicBezTo>
                    <a:cubicBezTo>
                      <a:pt x="211" y="107"/>
                      <a:pt x="211" y="107"/>
                      <a:pt x="211" y="107"/>
                    </a:cubicBezTo>
                    <a:cubicBezTo>
                      <a:pt x="187" y="125"/>
                      <a:pt x="187" y="125"/>
                      <a:pt x="187" y="125"/>
                    </a:cubicBezTo>
                    <a:cubicBezTo>
                      <a:pt x="179" y="120"/>
                      <a:pt x="179" y="120"/>
                      <a:pt x="179" y="120"/>
                    </a:cubicBezTo>
                    <a:cubicBezTo>
                      <a:pt x="191" y="106"/>
                      <a:pt x="191" y="106"/>
                      <a:pt x="191" y="106"/>
                    </a:cubicBezTo>
                    <a:cubicBezTo>
                      <a:pt x="171" y="114"/>
                      <a:pt x="139" y="121"/>
                      <a:pt x="99" y="116"/>
                    </a:cubicBezTo>
                    <a:close/>
                    <a:moveTo>
                      <a:pt x="269" y="393"/>
                    </a:moveTo>
                    <a:cubicBezTo>
                      <a:pt x="266" y="391"/>
                      <a:pt x="262" y="389"/>
                      <a:pt x="258" y="389"/>
                    </a:cubicBezTo>
                    <a:cubicBezTo>
                      <a:pt x="254" y="389"/>
                      <a:pt x="251" y="391"/>
                      <a:pt x="248" y="393"/>
                    </a:cubicBezTo>
                    <a:cubicBezTo>
                      <a:pt x="248" y="393"/>
                      <a:pt x="248" y="393"/>
                      <a:pt x="248" y="393"/>
                    </a:cubicBezTo>
                    <a:cubicBezTo>
                      <a:pt x="245" y="396"/>
                      <a:pt x="244" y="400"/>
                      <a:pt x="244" y="404"/>
                    </a:cubicBezTo>
                    <a:cubicBezTo>
                      <a:pt x="244" y="408"/>
                      <a:pt x="245" y="411"/>
                      <a:pt x="248" y="414"/>
                    </a:cubicBezTo>
                    <a:cubicBezTo>
                      <a:pt x="248" y="414"/>
                      <a:pt x="248" y="414"/>
                      <a:pt x="248" y="414"/>
                    </a:cubicBezTo>
                    <a:cubicBezTo>
                      <a:pt x="251" y="417"/>
                      <a:pt x="254" y="418"/>
                      <a:pt x="258" y="418"/>
                    </a:cubicBezTo>
                    <a:cubicBezTo>
                      <a:pt x="262" y="418"/>
                      <a:pt x="266" y="417"/>
                      <a:pt x="269" y="414"/>
                    </a:cubicBezTo>
                    <a:cubicBezTo>
                      <a:pt x="271" y="411"/>
                      <a:pt x="273" y="408"/>
                      <a:pt x="273" y="404"/>
                    </a:cubicBezTo>
                    <a:cubicBezTo>
                      <a:pt x="273" y="400"/>
                      <a:pt x="271" y="396"/>
                      <a:pt x="269" y="39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68750" tIns="34375" rIns="68750" bIns="3437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</a:endParaRPr>
              </a:p>
            </p:txBody>
          </p:sp>
          <p:sp>
            <p:nvSpPr>
              <p:cNvPr id="10" name="Freeform 33"/>
              <p:cNvSpPr>
                <a:spLocks noEditPoints="1"/>
              </p:cNvSpPr>
              <p:nvPr/>
            </p:nvSpPr>
            <p:spPr bwMode="auto">
              <a:xfrm>
                <a:off x="4418863" y="3735707"/>
                <a:ext cx="292204" cy="346430"/>
              </a:xfrm>
              <a:custGeom>
                <a:avLst/>
                <a:gdLst>
                  <a:gd name="T0" fmla="*/ 255 w 348"/>
                  <a:gd name="T1" fmla="*/ 269 h 494"/>
                  <a:gd name="T2" fmla="*/ 263 w 348"/>
                  <a:gd name="T3" fmla="*/ 372 h 494"/>
                  <a:gd name="T4" fmla="*/ 235 w 348"/>
                  <a:gd name="T5" fmla="*/ 381 h 494"/>
                  <a:gd name="T6" fmla="*/ 235 w 348"/>
                  <a:gd name="T7" fmla="*/ 381 h 494"/>
                  <a:gd name="T8" fmla="*/ 235 w 348"/>
                  <a:gd name="T9" fmla="*/ 427 h 494"/>
                  <a:gd name="T10" fmla="*/ 258 w 348"/>
                  <a:gd name="T11" fmla="*/ 436 h 494"/>
                  <a:gd name="T12" fmla="*/ 291 w 348"/>
                  <a:gd name="T13" fmla="*/ 404 h 494"/>
                  <a:gd name="T14" fmla="*/ 281 w 348"/>
                  <a:gd name="T15" fmla="*/ 381 h 494"/>
                  <a:gd name="T16" fmla="*/ 287 w 348"/>
                  <a:gd name="T17" fmla="*/ 339 h 494"/>
                  <a:gd name="T18" fmla="*/ 315 w 348"/>
                  <a:gd name="T19" fmla="*/ 281 h 494"/>
                  <a:gd name="T20" fmla="*/ 0 w 348"/>
                  <a:gd name="T21" fmla="*/ 444 h 494"/>
                  <a:gd name="T22" fmla="*/ 70 w 348"/>
                  <a:gd name="T23" fmla="*/ 273 h 494"/>
                  <a:gd name="T24" fmla="*/ 25 w 348"/>
                  <a:gd name="T25" fmla="*/ 376 h 494"/>
                  <a:gd name="T26" fmla="*/ 25 w 348"/>
                  <a:gd name="T27" fmla="*/ 417 h 494"/>
                  <a:gd name="T28" fmla="*/ 42 w 348"/>
                  <a:gd name="T29" fmla="*/ 437 h 494"/>
                  <a:gd name="T30" fmla="*/ 80 w 348"/>
                  <a:gd name="T31" fmla="*/ 424 h 494"/>
                  <a:gd name="T32" fmla="*/ 49 w 348"/>
                  <a:gd name="T33" fmla="*/ 421 h 494"/>
                  <a:gd name="T34" fmla="*/ 34 w 348"/>
                  <a:gd name="T35" fmla="*/ 397 h 494"/>
                  <a:gd name="T36" fmla="*/ 79 w 348"/>
                  <a:gd name="T37" fmla="*/ 331 h 494"/>
                  <a:gd name="T38" fmla="*/ 131 w 348"/>
                  <a:gd name="T39" fmla="*/ 369 h 494"/>
                  <a:gd name="T40" fmla="*/ 138 w 348"/>
                  <a:gd name="T41" fmla="*/ 398 h 494"/>
                  <a:gd name="T42" fmla="*/ 127 w 348"/>
                  <a:gd name="T43" fmla="*/ 408 h 494"/>
                  <a:gd name="T44" fmla="*/ 114 w 348"/>
                  <a:gd name="T45" fmla="*/ 444 h 494"/>
                  <a:gd name="T46" fmla="*/ 136 w 348"/>
                  <a:gd name="T47" fmla="*/ 421 h 494"/>
                  <a:gd name="T48" fmla="*/ 151 w 348"/>
                  <a:gd name="T49" fmla="*/ 381 h 494"/>
                  <a:gd name="T50" fmla="*/ 87 w 348"/>
                  <a:gd name="T51" fmla="*/ 319 h 494"/>
                  <a:gd name="T52" fmla="*/ 114 w 348"/>
                  <a:gd name="T53" fmla="*/ 267 h 494"/>
                  <a:gd name="T54" fmla="*/ 234 w 348"/>
                  <a:gd name="T55" fmla="*/ 267 h 494"/>
                  <a:gd name="T56" fmla="*/ 278 w 348"/>
                  <a:gd name="T57" fmla="*/ 122 h 494"/>
                  <a:gd name="T58" fmla="*/ 263 w 348"/>
                  <a:gd name="T59" fmla="*/ 176 h 494"/>
                  <a:gd name="T60" fmla="*/ 177 w 348"/>
                  <a:gd name="T61" fmla="*/ 254 h 494"/>
                  <a:gd name="T62" fmla="*/ 89 w 348"/>
                  <a:gd name="T63" fmla="*/ 186 h 494"/>
                  <a:gd name="T64" fmla="*/ 72 w 348"/>
                  <a:gd name="T65" fmla="*/ 155 h 494"/>
                  <a:gd name="T66" fmla="*/ 73 w 348"/>
                  <a:gd name="T67" fmla="*/ 121 h 494"/>
                  <a:gd name="T68" fmla="*/ 219 w 348"/>
                  <a:gd name="T69" fmla="*/ 19 h 494"/>
                  <a:gd name="T70" fmla="*/ 99 w 348"/>
                  <a:gd name="T71" fmla="*/ 116 h 494"/>
                  <a:gd name="T72" fmla="*/ 141 w 348"/>
                  <a:gd name="T73" fmla="*/ 222 h 494"/>
                  <a:gd name="T74" fmla="*/ 211 w 348"/>
                  <a:gd name="T75" fmla="*/ 219 h 494"/>
                  <a:gd name="T76" fmla="*/ 250 w 348"/>
                  <a:gd name="T77" fmla="*/ 114 h 494"/>
                  <a:gd name="T78" fmla="*/ 215 w 348"/>
                  <a:gd name="T79" fmla="*/ 122 h 494"/>
                  <a:gd name="T80" fmla="*/ 211 w 348"/>
                  <a:gd name="T81" fmla="*/ 107 h 494"/>
                  <a:gd name="T82" fmla="*/ 179 w 348"/>
                  <a:gd name="T83" fmla="*/ 120 h 494"/>
                  <a:gd name="T84" fmla="*/ 99 w 348"/>
                  <a:gd name="T85" fmla="*/ 116 h 494"/>
                  <a:gd name="T86" fmla="*/ 258 w 348"/>
                  <a:gd name="T87" fmla="*/ 389 h 494"/>
                  <a:gd name="T88" fmla="*/ 248 w 348"/>
                  <a:gd name="T89" fmla="*/ 393 h 494"/>
                  <a:gd name="T90" fmla="*/ 248 w 348"/>
                  <a:gd name="T91" fmla="*/ 414 h 494"/>
                  <a:gd name="T92" fmla="*/ 258 w 348"/>
                  <a:gd name="T93" fmla="*/ 418 h 494"/>
                  <a:gd name="T94" fmla="*/ 273 w 348"/>
                  <a:gd name="T95" fmla="*/ 404 h 4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</a:cxnLst>
                <a:rect l="0" t="0" r="r" b="b"/>
                <a:pathLst>
                  <a:path w="348" h="494">
                    <a:moveTo>
                      <a:pt x="234" y="267"/>
                    </a:moveTo>
                    <a:cubicBezTo>
                      <a:pt x="240" y="267"/>
                      <a:pt x="247" y="268"/>
                      <a:pt x="255" y="269"/>
                    </a:cubicBezTo>
                    <a:cubicBezTo>
                      <a:pt x="261" y="285"/>
                      <a:pt x="271" y="315"/>
                      <a:pt x="269" y="338"/>
                    </a:cubicBezTo>
                    <a:cubicBezTo>
                      <a:pt x="268" y="354"/>
                      <a:pt x="266" y="365"/>
                      <a:pt x="263" y="372"/>
                    </a:cubicBezTo>
                    <a:cubicBezTo>
                      <a:pt x="262" y="371"/>
                      <a:pt x="260" y="371"/>
                      <a:pt x="258" y="371"/>
                    </a:cubicBezTo>
                    <a:cubicBezTo>
                      <a:pt x="249" y="371"/>
                      <a:pt x="241" y="375"/>
                      <a:pt x="235" y="381"/>
                    </a:cubicBezTo>
                    <a:cubicBezTo>
                      <a:pt x="235" y="381"/>
                      <a:pt x="235" y="381"/>
                      <a:pt x="235" y="381"/>
                    </a:cubicBezTo>
                    <a:cubicBezTo>
                      <a:pt x="235" y="381"/>
                      <a:pt x="235" y="381"/>
                      <a:pt x="235" y="381"/>
                    </a:cubicBezTo>
                    <a:cubicBezTo>
                      <a:pt x="230" y="387"/>
                      <a:pt x="226" y="395"/>
                      <a:pt x="226" y="404"/>
                    </a:cubicBezTo>
                    <a:cubicBezTo>
                      <a:pt x="226" y="413"/>
                      <a:pt x="230" y="421"/>
                      <a:pt x="235" y="427"/>
                    </a:cubicBezTo>
                    <a:cubicBezTo>
                      <a:pt x="235" y="427"/>
                      <a:pt x="235" y="427"/>
                      <a:pt x="235" y="427"/>
                    </a:cubicBezTo>
                    <a:cubicBezTo>
                      <a:pt x="241" y="433"/>
                      <a:pt x="249" y="436"/>
                      <a:pt x="258" y="436"/>
                    </a:cubicBezTo>
                    <a:cubicBezTo>
                      <a:pt x="267" y="436"/>
                      <a:pt x="275" y="433"/>
                      <a:pt x="281" y="427"/>
                    </a:cubicBezTo>
                    <a:cubicBezTo>
                      <a:pt x="287" y="421"/>
                      <a:pt x="291" y="413"/>
                      <a:pt x="291" y="404"/>
                    </a:cubicBezTo>
                    <a:cubicBezTo>
                      <a:pt x="291" y="395"/>
                      <a:pt x="287" y="387"/>
                      <a:pt x="281" y="381"/>
                    </a:cubicBezTo>
                    <a:cubicBezTo>
                      <a:pt x="281" y="381"/>
                      <a:pt x="281" y="381"/>
                      <a:pt x="281" y="381"/>
                    </a:cubicBezTo>
                    <a:cubicBezTo>
                      <a:pt x="281" y="380"/>
                      <a:pt x="280" y="380"/>
                      <a:pt x="279" y="379"/>
                    </a:cubicBezTo>
                    <a:cubicBezTo>
                      <a:pt x="282" y="371"/>
                      <a:pt x="286" y="358"/>
                      <a:pt x="287" y="339"/>
                    </a:cubicBezTo>
                    <a:cubicBezTo>
                      <a:pt x="289" y="318"/>
                      <a:pt x="281" y="290"/>
                      <a:pt x="275" y="272"/>
                    </a:cubicBezTo>
                    <a:cubicBezTo>
                      <a:pt x="294" y="276"/>
                      <a:pt x="311" y="280"/>
                      <a:pt x="315" y="281"/>
                    </a:cubicBezTo>
                    <a:cubicBezTo>
                      <a:pt x="336" y="329"/>
                      <a:pt x="347" y="383"/>
                      <a:pt x="348" y="444"/>
                    </a:cubicBezTo>
                    <a:cubicBezTo>
                      <a:pt x="325" y="491"/>
                      <a:pt x="27" y="494"/>
                      <a:pt x="0" y="444"/>
                    </a:cubicBezTo>
                    <a:cubicBezTo>
                      <a:pt x="1" y="383"/>
                      <a:pt x="12" y="329"/>
                      <a:pt x="33" y="281"/>
                    </a:cubicBezTo>
                    <a:cubicBezTo>
                      <a:pt x="39" y="279"/>
                      <a:pt x="55" y="276"/>
                      <a:pt x="70" y="273"/>
                    </a:cubicBezTo>
                    <a:cubicBezTo>
                      <a:pt x="69" y="289"/>
                      <a:pt x="70" y="305"/>
                      <a:pt x="70" y="321"/>
                    </a:cubicBezTo>
                    <a:cubicBezTo>
                      <a:pt x="51" y="333"/>
                      <a:pt x="33" y="355"/>
                      <a:pt x="25" y="376"/>
                    </a:cubicBezTo>
                    <a:cubicBezTo>
                      <a:pt x="22" y="383"/>
                      <a:pt x="20" y="390"/>
                      <a:pt x="20" y="397"/>
                    </a:cubicBezTo>
                    <a:cubicBezTo>
                      <a:pt x="20" y="404"/>
                      <a:pt x="22" y="411"/>
                      <a:pt x="25" y="417"/>
                    </a:cubicBezTo>
                    <a:cubicBezTo>
                      <a:pt x="29" y="423"/>
                      <a:pt x="35" y="429"/>
                      <a:pt x="44" y="433"/>
                    </a:cubicBezTo>
                    <a:cubicBezTo>
                      <a:pt x="42" y="437"/>
                      <a:pt x="42" y="437"/>
                      <a:pt x="42" y="437"/>
                    </a:cubicBezTo>
                    <a:cubicBezTo>
                      <a:pt x="42" y="437"/>
                      <a:pt x="65" y="452"/>
                      <a:pt x="70" y="450"/>
                    </a:cubicBezTo>
                    <a:cubicBezTo>
                      <a:pt x="75" y="449"/>
                      <a:pt x="82" y="429"/>
                      <a:pt x="80" y="424"/>
                    </a:cubicBezTo>
                    <a:cubicBezTo>
                      <a:pt x="77" y="419"/>
                      <a:pt x="49" y="418"/>
                      <a:pt x="49" y="418"/>
                    </a:cubicBezTo>
                    <a:cubicBezTo>
                      <a:pt x="49" y="421"/>
                      <a:pt x="49" y="421"/>
                      <a:pt x="49" y="421"/>
                    </a:cubicBezTo>
                    <a:cubicBezTo>
                      <a:pt x="43" y="418"/>
                      <a:pt x="39" y="414"/>
                      <a:pt x="37" y="410"/>
                    </a:cubicBezTo>
                    <a:cubicBezTo>
                      <a:pt x="34" y="406"/>
                      <a:pt x="33" y="402"/>
                      <a:pt x="34" y="397"/>
                    </a:cubicBezTo>
                    <a:cubicBezTo>
                      <a:pt x="34" y="392"/>
                      <a:pt x="35" y="387"/>
                      <a:pt x="37" y="381"/>
                    </a:cubicBezTo>
                    <a:cubicBezTo>
                      <a:pt x="45" y="362"/>
                      <a:pt x="62" y="342"/>
                      <a:pt x="79" y="331"/>
                    </a:cubicBezTo>
                    <a:cubicBezTo>
                      <a:pt x="81" y="331"/>
                      <a:pt x="81" y="331"/>
                      <a:pt x="81" y="331"/>
                    </a:cubicBezTo>
                    <a:cubicBezTo>
                      <a:pt x="100" y="338"/>
                      <a:pt x="120" y="353"/>
                      <a:pt x="131" y="369"/>
                    </a:cubicBezTo>
                    <a:cubicBezTo>
                      <a:pt x="134" y="374"/>
                      <a:pt x="137" y="379"/>
                      <a:pt x="138" y="384"/>
                    </a:cubicBezTo>
                    <a:cubicBezTo>
                      <a:pt x="139" y="389"/>
                      <a:pt x="139" y="393"/>
                      <a:pt x="138" y="398"/>
                    </a:cubicBezTo>
                    <a:cubicBezTo>
                      <a:pt x="137" y="402"/>
                      <a:pt x="134" y="406"/>
                      <a:pt x="129" y="410"/>
                    </a:cubicBezTo>
                    <a:cubicBezTo>
                      <a:pt x="127" y="408"/>
                      <a:pt x="127" y="408"/>
                      <a:pt x="127" y="408"/>
                    </a:cubicBezTo>
                    <a:cubicBezTo>
                      <a:pt x="127" y="408"/>
                      <a:pt x="101" y="416"/>
                      <a:pt x="99" y="421"/>
                    </a:cubicBezTo>
                    <a:cubicBezTo>
                      <a:pt x="98" y="426"/>
                      <a:pt x="109" y="444"/>
                      <a:pt x="114" y="444"/>
                    </a:cubicBezTo>
                    <a:cubicBezTo>
                      <a:pt x="120" y="444"/>
                      <a:pt x="139" y="425"/>
                      <a:pt x="139" y="425"/>
                    </a:cubicBezTo>
                    <a:cubicBezTo>
                      <a:pt x="136" y="421"/>
                      <a:pt x="136" y="421"/>
                      <a:pt x="136" y="421"/>
                    </a:cubicBezTo>
                    <a:cubicBezTo>
                      <a:pt x="144" y="416"/>
                      <a:pt x="149" y="409"/>
                      <a:pt x="151" y="401"/>
                    </a:cubicBezTo>
                    <a:cubicBezTo>
                      <a:pt x="153" y="395"/>
                      <a:pt x="153" y="388"/>
                      <a:pt x="151" y="381"/>
                    </a:cubicBezTo>
                    <a:cubicBezTo>
                      <a:pt x="149" y="374"/>
                      <a:pt x="146" y="368"/>
                      <a:pt x="142" y="362"/>
                    </a:cubicBezTo>
                    <a:cubicBezTo>
                      <a:pt x="129" y="343"/>
                      <a:pt x="108" y="327"/>
                      <a:pt x="87" y="319"/>
                    </a:cubicBezTo>
                    <a:cubicBezTo>
                      <a:pt x="86" y="302"/>
                      <a:pt x="86" y="286"/>
                      <a:pt x="87" y="270"/>
                    </a:cubicBezTo>
                    <a:cubicBezTo>
                      <a:pt x="99" y="269"/>
                      <a:pt x="109" y="267"/>
                      <a:pt x="114" y="267"/>
                    </a:cubicBezTo>
                    <a:cubicBezTo>
                      <a:pt x="116" y="308"/>
                      <a:pt x="146" y="356"/>
                      <a:pt x="176" y="385"/>
                    </a:cubicBezTo>
                    <a:cubicBezTo>
                      <a:pt x="205" y="365"/>
                      <a:pt x="233" y="302"/>
                      <a:pt x="234" y="267"/>
                    </a:cubicBezTo>
                    <a:close/>
                    <a:moveTo>
                      <a:pt x="275" y="121"/>
                    </a:moveTo>
                    <a:cubicBezTo>
                      <a:pt x="278" y="122"/>
                      <a:pt x="278" y="122"/>
                      <a:pt x="278" y="122"/>
                    </a:cubicBezTo>
                    <a:cubicBezTo>
                      <a:pt x="280" y="137"/>
                      <a:pt x="280" y="157"/>
                      <a:pt x="266" y="167"/>
                    </a:cubicBezTo>
                    <a:cubicBezTo>
                      <a:pt x="265" y="170"/>
                      <a:pt x="264" y="173"/>
                      <a:pt x="263" y="176"/>
                    </a:cubicBezTo>
                    <a:cubicBezTo>
                      <a:pt x="254" y="202"/>
                      <a:pt x="240" y="222"/>
                      <a:pt x="223" y="235"/>
                    </a:cubicBezTo>
                    <a:cubicBezTo>
                      <a:pt x="209" y="247"/>
                      <a:pt x="193" y="253"/>
                      <a:pt x="177" y="254"/>
                    </a:cubicBezTo>
                    <a:cubicBezTo>
                      <a:pt x="160" y="255"/>
                      <a:pt x="144" y="250"/>
                      <a:pt x="129" y="239"/>
                    </a:cubicBezTo>
                    <a:cubicBezTo>
                      <a:pt x="113" y="228"/>
                      <a:pt x="99" y="211"/>
                      <a:pt x="89" y="186"/>
                    </a:cubicBezTo>
                    <a:cubicBezTo>
                      <a:pt x="86" y="180"/>
                      <a:pt x="84" y="174"/>
                      <a:pt x="82" y="167"/>
                    </a:cubicBezTo>
                    <a:cubicBezTo>
                      <a:pt x="79" y="165"/>
                      <a:pt x="75" y="161"/>
                      <a:pt x="72" y="155"/>
                    </a:cubicBezTo>
                    <a:cubicBezTo>
                      <a:pt x="67" y="144"/>
                      <a:pt x="70" y="122"/>
                      <a:pt x="70" y="122"/>
                    </a:cubicBezTo>
                    <a:cubicBezTo>
                      <a:pt x="73" y="121"/>
                      <a:pt x="73" y="121"/>
                      <a:pt x="73" y="121"/>
                    </a:cubicBezTo>
                    <a:cubicBezTo>
                      <a:pt x="64" y="59"/>
                      <a:pt x="92" y="7"/>
                      <a:pt x="150" y="4"/>
                    </a:cubicBezTo>
                    <a:cubicBezTo>
                      <a:pt x="173" y="2"/>
                      <a:pt x="198" y="0"/>
                      <a:pt x="219" y="19"/>
                    </a:cubicBezTo>
                    <a:cubicBezTo>
                      <a:pt x="266" y="1"/>
                      <a:pt x="287" y="83"/>
                      <a:pt x="275" y="121"/>
                    </a:cubicBezTo>
                    <a:close/>
                    <a:moveTo>
                      <a:pt x="99" y="116"/>
                    </a:moveTo>
                    <a:cubicBezTo>
                      <a:pt x="97" y="138"/>
                      <a:pt x="100" y="160"/>
                      <a:pt x="108" y="178"/>
                    </a:cubicBezTo>
                    <a:cubicBezTo>
                      <a:pt x="117" y="199"/>
                      <a:pt x="128" y="213"/>
                      <a:pt x="141" y="222"/>
                    </a:cubicBezTo>
                    <a:cubicBezTo>
                      <a:pt x="152" y="230"/>
                      <a:pt x="164" y="234"/>
                      <a:pt x="176" y="233"/>
                    </a:cubicBezTo>
                    <a:cubicBezTo>
                      <a:pt x="188" y="232"/>
                      <a:pt x="200" y="228"/>
                      <a:pt x="211" y="219"/>
                    </a:cubicBezTo>
                    <a:cubicBezTo>
                      <a:pt x="224" y="208"/>
                      <a:pt x="236" y="191"/>
                      <a:pt x="244" y="169"/>
                    </a:cubicBezTo>
                    <a:cubicBezTo>
                      <a:pt x="250" y="152"/>
                      <a:pt x="252" y="133"/>
                      <a:pt x="250" y="114"/>
                    </a:cubicBezTo>
                    <a:cubicBezTo>
                      <a:pt x="239" y="112"/>
                      <a:pt x="229" y="107"/>
                      <a:pt x="222" y="102"/>
                    </a:cubicBezTo>
                    <a:cubicBezTo>
                      <a:pt x="215" y="122"/>
                      <a:pt x="215" y="122"/>
                      <a:pt x="215" y="122"/>
                    </a:cubicBezTo>
                    <a:cubicBezTo>
                      <a:pt x="205" y="121"/>
                      <a:pt x="205" y="121"/>
                      <a:pt x="205" y="121"/>
                    </a:cubicBezTo>
                    <a:cubicBezTo>
                      <a:pt x="211" y="107"/>
                      <a:pt x="211" y="107"/>
                      <a:pt x="211" y="107"/>
                    </a:cubicBezTo>
                    <a:cubicBezTo>
                      <a:pt x="187" y="125"/>
                      <a:pt x="187" y="125"/>
                      <a:pt x="187" y="125"/>
                    </a:cubicBezTo>
                    <a:cubicBezTo>
                      <a:pt x="179" y="120"/>
                      <a:pt x="179" y="120"/>
                      <a:pt x="179" y="120"/>
                    </a:cubicBezTo>
                    <a:cubicBezTo>
                      <a:pt x="191" y="106"/>
                      <a:pt x="191" y="106"/>
                      <a:pt x="191" y="106"/>
                    </a:cubicBezTo>
                    <a:cubicBezTo>
                      <a:pt x="171" y="114"/>
                      <a:pt x="139" y="121"/>
                      <a:pt x="99" y="116"/>
                    </a:cubicBezTo>
                    <a:close/>
                    <a:moveTo>
                      <a:pt x="269" y="393"/>
                    </a:moveTo>
                    <a:cubicBezTo>
                      <a:pt x="266" y="391"/>
                      <a:pt x="262" y="389"/>
                      <a:pt x="258" y="389"/>
                    </a:cubicBezTo>
                    <a:cubicBezTo>
                      <a:pt x="254" y="389"/>
                      <a:pt x="251" y="391"/>
                      <a:pt x="248" y="393"/>
                    </a:cubicBezTo>
                    <a:cubicBezTo>
                      <a:pt x="248" y="393"/>
                      <a:pt x="248" y="393"/>
                      <a:pt x="248" y="393"/>
                    </a:cubicBezTo>
                    <a:cubicBezTo>
                      <a:pt x="245" y="396"/>
                      <a:pt x="244" y="400"/>
                      <a:pt x="244" y="404"/>
                    </a:cubicBezTo>
                    <a:cubicBezTo>
                      <a:pt x="244" y="408"/>
                      <a:pt x="245" y="411"/>
                      <a:pt x="248" y="414"/>
                    </a:cubicBezTo>
                    <a:cubicBezTo>
                      <a:pt x="248" y="414"/>
                      <a:pt x="248" y="414"/>
                      <a:pt x="248" y="414"/>
                    </a:cubicBezTo>
                    <a:cubicBezTo>
                      <a:pt x="251" y="417"/>
                      <a:pt x="254" y="418"/>
                      <a:pt x="258" y="418"/>
                    </a:cubicBezTo>
                    <a:cubicBezTo>
                      <a:pt x="262" y="418"/>
                      <a:pt x="266" y="417"/>
                      <a:pt x="269" y="414"/>
                    </a:cubicBezTo>
                    <a:cubicBezTo>
                      <a:pt x="271" y="411"/>
                      <a:pt x="273" y="408"/>
                      <a:pt x="273" y="404"/>
                    </a:cubicBezTo>
                    <a:cubicBezTo>
                      <a:pt x="273" y="400"/>
                      <a:pt x="271" y="396"/>
                      <a:pt x="269" y="393"/>
                    </a:cubicBezTo>
                    <a:close/>
                  </a:path>
                </a:pathLst>
              </a:custGeom>
              <a:solidFill>
                <a:schemeClr val="tx1"/>
              </a:solidFill>
              <a:ln>
                <a:noFill/>
              </a:ln>
            </p:spPr>
            <p:txBody>
              <a:bodyPr vert="horz" wrap="square" lIns="68750" tIns="34375" rIns="68750" bIns="34375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</a:endParaRPr>
              </a:p>
            </p:txBody>
          </p:sp>
          <p:sp>
            <p:nvSpPr>
              <p:cNvPr id="11" name="Oval 10"/>
              <p:cNvSpPr/>
              <p:nvPr/>
            </p:nvSpPr>
            <p:spPr>
              <a:xfrm>
                <a:off x="4177287" y="3526478"/>
                <a:ext cx="217628" cy="214636"/>
              </a:xfrm>
              <a:prstGeom prst="ellipse">
                <a:avLst/>
              </a:prstGeom>
              <a:solidFill>
                <a:srgbClr val="92D050">
                  <a:alpha val="37000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</a:endParaRPr>
              </a:p>
            </p:txBody>
          </p:sp>
          <p:sp>
            <p:nvSpPr>
              <p:cNvPr id="12" name="Oval 11"/>
              <p:cNvSpPr/>
              <p:nvPr/>
            </p:nvSpPr>
            <p:spPr>
              <a:xfrm>
                <a:off x="3623610" y="3134249"/>
                <a:ext cx="1348133" cy="1256559"/>
              </a:xfrm>
              <a:prstGeom prst="ellipse">
                <a:avLst/>
              </a:prstGeom>
              <a:noFill/>
              <a:ln w="57150" cmpd="thickThin">
                <a:solidFill>
                  <a:srgbClr val="92D05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</a:endParaRPr>
              </a:p>
            </p:txBody>
          </p:sp>
        </p:grpSp>
        <p:sp>
          <p:nvSpPr>
            <p:cNvPr id="6" name="TextBox 5"/>
            <p:cNvSpPr txBox="1"/>
            <p:nvPr/>
          </p:nvSpPr>
          <p:spPr>
            <a:xfrm>
              <a:off x="3779046" y="4406084"/>
              <a:ext cx="1837362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i="0" u="none" strike="noStrike" kern="1200" cap="none" spc="0" normalizeH="0" baseline="0" noProof="0" dirty="0">
                  <a:ln w="0"/>
                  <a:solidFill>
                    <a:prstClr val="black"/>
                  </a:solidFill>
                  <a:effectLst>
                    <a:outerShdw blurRad="38100" dist="19050" dir="2700000" algn="tl" rotWithShape="0">
                      <a:prstClr val="black">
                        <a:alpha val="40000"/>
                      </a:prstClr>
                    </a:outerShdw>
                  </a:effectLst>
                  <a:uLnTx/>
                  <a:uFillTx/>
                  <a:latin typeface="Lato" panose="020F0502020204030203" pitchFamily="34" charset="0"/>
                </a:rPr>
                <a:t>DeCoDe Panel</a:t>
              </a: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2260743" y="2821950"/>
            <a:ext cx="8292553" cy="3435648"/>
            <a:chOff x="2260743" y="3290580"/>
            <a:chExt cx="8292553" cy="3435648"/>
          </a:xfrm>
        </p:grpSpPr>
        <p:cxnSp>
          <p:nvCxnSpPr>
            <p:cNvPr id="14" name="Straight Connector 13"/>
            <p:cNvCxnSpPr>
              <a:cxnSpLocks/>
            </p:cNvCxnSpPr>
            <p:nvPr/>
          </p:nvCxnSpPr>
          <p:spPr>
            <a:xfrm>
              <a:off x="2273056" y="3977111"/>
              <a:ext cx="6812120" cy="27277"/>
            </a:xfrm>
            <a:prstGeom prst="line">
              <a:avLst/>
            </a:prstGeom>
            <a:ln w="889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TextBox 14"/>
            <p:cNvSpPr txBox="1"/>
            <p:nvPr/>
          </p:nvSpPr>
          <p:spPr>
            <a:xfrm>
              <a:off x="5941990" y="4983480"/>
              <a:ext cx="4601252" cy="16312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Lato" panose="020F0502020204030203" pitchFamily="34" charset="0"/>
                </a:rPr>
                <a:t>Pathology Results</a:t>
              </a:r>
            </a:p>
            <a:p>
              <a:pPr marL="214313" marR="0" lvl="0" indent="-214313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</a:rPr>
                <a:t>Site pathology report </a:t>
              </a:r>
            </a:p>
            <a:p>
              <a:pPr marL="214313" marR="0" lvl="0" indent="-214313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</a:rPr>
                <a:t>CDC Central Pathology Laboratory:  special stains, immunohistochemistry</a:t>
              </a:r>
            </a:p>
            <a:p>
              <a:pPr marL="214313" marR="0" lvl="0" indent="-214313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</a:rPr>
                <a:t>Whole slide images</a:t>
              </a:r>
            </a:p>
          </p:txBody>
        </p:sp>
        <p:grpSp>
          <p:nvGrpSpPr>
            <p:cNvPr id="16" name="Group 15"/>
            <p:cNvGrpSpPr/>
            <p:nvPr/>
          </p:nvGrpSpPr>
          <p:grpSpPr>
            <a:xfrm>
              <a:off x="5676665" y="4145677"/>
              <a:ext cx="3344230" cy="777815"/>
              <a:chOff x="3903174" y="5253773"/>
              <a:chExt cx="3505692" cy="1047784"/>
            </a:xfrm>
          </p:grpSpPr>
          <p:sp>
            <p:nvSpPr>
              <p:cNvPr id="29" name="TextBox 28"/>
              <p:cNvSpPr txBox="1"/>
              <p:nvPr/>
            </p:nvSpPr>
            <p:spPr>
              <a:xfrm>
                <a:off x="3903174" y="5334582"/>
                <a:ext cx="3505692" cy="91212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Molecular Diagnostics</a:t>
                </a:r>
              </a:p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TAC Results</a:t>
                </a:r>
              </a:p>
            </p:txBody>
          </p:sp>
          <p:sp>
            <p:nvSpPr>
              <p:cNvPr id="30" name="Rounded Rectangle 29"/>
              <p:cNvSpPr/>
              <p:nvPr/>
            </p:nvSpPr>
            <p:spPr>
              <a:xfrm>
                <a:off x="4111888" y="5253773"/>
                <a:ext cx="3132953" cy="1047784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</a:endParaRPr>
              </a:p>
            </p:txBody>
          </p:sp>
        </p:grpSp>
        <p:grpSp>
          <p:nvGrpSpPr>
            <p:cNvPr id="17" name="Group 16"/>
            <p:cNvGrpSpPr/>
            <p:nvPr/>
          </p:nvGrpSpPr>
          <p:grpSpPr>
            <a:xfrm>
              <a:off x="2396974" y="5200197"/>
              <a:ext cx="3376583" cy="1526031"/>
              <a:chOff x="7727857" y="2738019"/>
              <a:chExt cx="3560065" cy="1526031"/>
            </a:xfrm>
          </p:grpSpPr>
          <p:sp>
            <p:nvSpPr>
              <p:cNvPr id="27" name="TextBox 26"/>
              <p:cNvSpPr txBox="1"/>
              <p:nvPr/>
            </p:nvSpPr>
            <p:spPr>
              <a:xfrm>
                <a:off x="7727857" y="2738019"/>
                <a:ext cx="3560065" cy="150810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Other Diagnostics </a:t>
                </a:r>
              </a:p>
              <a:p>
                <a:pPr marL="214313" marR="0" lvl="0" indent="-214313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Blood and CSF culture</a:t>
                </a:r>
              </a:p>
              <a:p>
                <a:pPr marL="214313" marR="0" lvl="0" indent="-214313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HIV (PCR) </a:t>
                </a:r>
              </a:p>
              <a:p>
                <a:pPr marL="214313" marR="0" lvl="0" indent="-214313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TB (GeneXpert) </a:t>
                </a:r>
              </a:p>
              <a:p>
                <a:pPr marL="214313" marR="0" lvl="0" indent="-214313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Malaria blood smears &amp; RDT</a:t>
                </a:r>
              </a:p>
            </p:txBody>
          </p:sp>
          <p:sp>
            <p:nvSpPr>
              <p:cNvPr id="28" name="Rounded Rectangle 27"/>
              <p:cNvSpPr/>
              <p:nvPr/>
            </p:nvSpPr>
            <p:spPr>
              <a:xfrm>
                <a:off x="7758556" y="2738019"/>
                <a:ext cx="3394718" cy="1526031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</a:endParaRPr>
              </a:p>
            </p:txBody>
          </p:sp>
        </p:grpSp>
        <p:sp>
          <p:nvSpPr>
            <p:cNvPr id="18" name="Rounded Rectangle 17"/>
            <p:cNvSpPr/>
            <p:nvPr/>
          </p:nvSpPr>
          <p:spPr>
            <a:xfrm>
              <a:off x="5855633" y="5024062"/>
              <a:ext cx="4553820" cy="1562634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</a:endParaRPr>
            </a:p>
          </p:txBody>
        </p:sp>
        <p:grpSp>
          <p:nvGrpSpPr>
            <p:cNvPr id="19" name="Group 18"/>
            <p:cNvGrpSpPr/>
            <p:nvPr/>
          </p:nvGrpSpPr>
          <p:grpSpPr>
            <a:xfrm>
              <a:off x="2434419" y="4145677"/>
              <a:ext cx="3195170" cy="1189293"/>
              <a:chOff x="4164265" y="1329141"/>
              <a:chExt cx="3187208" cy="1325540"/>
            </a:xfrm>
          </p:grpSpPr>
          <p:sp>
            <p:nvSpPr>
              <p:cNvPr id="25" name="TextBox 24"/>
              <p:cNvSpPr txBox="1"/>
              <p:nvPr/>
            </p:nvSpPr>
            <p:spPr>
              <a:xfrm>
                <a:off x="4211224" y="1351145"/>
                <a:ext cx="3053990" cy="130353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i="0" u="none" strike="noStrike" kern="1200" cap="none" spc="0" normalizeH="0" baseline="0" noProof="0" dirty="0">
                    <a:ln>
                      <a:noFill/>
                    </a:ln>
                    <a:solidFill>
                      <a:srgbClr val="7030A0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MITS Collection Data</a:t>
                </a:r>
              </a:p>
              <a:p>
                <a:pPr marL="214313" marR="0" lvl="0" indent="-214313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Anthropometrics </a:t>
                </a:r>
              </a:p>
              <a:p>
                <a:pPr marL="214313" marR="0" lvl="0" indent="-214313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r>
                  <a:rPr kumimoji="0" lang="en-US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 pitchFamily="34" charset="0"/>
                  </a:rPr>
                  <a:t>Photographs </a:t>
                </a:r>
              </a:p>
              <a:p>
                <a:pPr marL="214313" marR="0" lvl="0" indent="-214313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 typeface="Arial" panose="020B0604020202020204" pitchFamily="34" charset="0"/>
                  <a:buChar char="•"/>
                  <a:tabLst/>
                  <a:defRPr/>
                </a:pPr>
                <a:endParaRPr kumimoji="0" lang="en-US" sz="12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0"/>
                </a:endParaRPr>
              </a:p>
            </p:txBody>
          </p:sp>
          <p:sp>
            <p:nvSpPr>
              <p:cNvPr id="26" name="Rounded Rectangle 25"/>
              <p:cNvSpPr/>
              <p:nvPr/>
            </p:nvSpPr>
            <p:spPr>
              <a:xfrm>
                <a:off x="4164265" y="1329141"/>
                <a:ext cx="3187208" cy="1049166"/>
              </a:xfrm>
              <a:prstGeom prst="roundRect">
                <a:avLst/>
              </a:prstGeom>
              <a:noFill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20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 panose="020F0502020204030203" pitchFamily="34" charset="0"/>
                </a:endParaRPr>
              </a:p>
            </p:txBody>
          </p:sp>
        </p:grpSp>
        <p:cxnSp>
          <p:nvCxnSpPr>
            <p:cNvPr id="20" name="Straight Arrow Connector 19"/>
            <p:cNvCxnSpPr/>
            <p:nvPr/>
          </p:nvCxnSpPr>
          <p:spPr>
            <a:xfrm flipH="1" flipV="1">
              <a:off x="5882473" y="3290580"/>
              <a:ext cx="4586" cy="615274"/>
            </a:xfrm>
            <a:prstGeom prst="straightConnector1">
              <a:avLst/>
            </a:prstGeom>
            <a:ln w="101600">
              <a:solidFill>
                <a:srgbClr val="7030A0"/>
              </a:solidFill>
              <a:headEnd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>
              <a:cxnSpLocks/>
            </p:cNvCxnSpPr>
            <p:nvPr/>
          </p:nvCxnSpPr>
          <p:spPr>
            <a:xfrm flipV="1">
              <a:off x="9072863" y="4004389"/>
              <a:ext cx="1" cy="919103"/>
            </a:xfrm>
            <a:prstGeom prst="line">
              <a:avLst/>
            </a:prstGeom>
            <a:ln w="889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Connector 21"/>
            <p:cNvCxnSpPr/>
            <p:nvPr/>
          </p:nvCxnSpPr>
          <p:spPr>
            <a:xfrm flipV="1">
              <a:off x="10543242" y="4931232"/>
              <a:ext cx="10054" cy="1655464"/>
            </a:xfrm>
            <a:prstGeom prst="line">
              <a:avLst/>
            </a:prstGeom>
            <a:ln w="889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Connector 22"/>
            <p:cNvCxnSpPr>
              <a:cxnSpLocks/>
            </p:cNvCxnSpPr>
            <p:nvPr/>
          </p:nvCxnSpPr>
          <p:spPr>
            <a:xfrm flipV="1">
              <a:off x="9085176" y="4882773"/>
              <a:ext cx="1468120" cy="5024"/>
            </a:xfrm>
            <a:prstGeom prst="line">
              <a:avLst/>
            </a:prstGeom>
            <a:ln w="889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4" name="Straight Connector 23"/>
            <p:cNvCxnSpPr/>
            <p:nvPr/>
          </p:nvCxnSpPr>
          <p:spPr>
            <a:xfrm flipV="1">
              <a:off x="2260743" y="3990750"/>
              <a:ext cx="1" cy="2623946"/>
            </a:xfrm>
            <a:prstGeom prst="line">
              <a:avLst/>
            </a:prstGeom>
            <a:ln w="88900">
              <a:solidFill>
                <a:srgbClr val="7030A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1" name="Group 30"/>
          <p:cNvGrpSpPr/>
          <p:nvPr/>
        </p:nvGrpSpPr>
        <p:grpSpPr>
          <a:xfrm>
            <a:off x="482363" y="875653"/>
            <a:ext cx="4124809" cy="2457341"/>
            <a:chOff x="482363" y="1241413"/>
            <a:chExt cx="4124809" cy="2457341"/>
          </a:xfrm>
        </p:grpSpPr>
        <p:cxnSp>
          <p:nvCxnSpPr>
            <p:cNvPr id="32" name="Straight Arrow Connector 31"/>
            <p:cNvCxnSpPr/>
            <p:nvPr/>
          </p:nvCxnSpPr>
          <p:spPr>
            <a:xfrm flipV="1">
              <a:off x="3931938" y="2220891"/>
              <a:ext cx="675234" cy="10177"/>
            </a:xfrm>
            <a:prstGeom prst="straightConnector1">
              <a:avLst/>
            </a:prstGeom>
            <a:ln w="101600">
              <a:solidFill>
                <a:srgbClr val="1863A8"/>
              </a:solidFill>
              <a:headEnd w="lg" len="med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33" name="Group 32"/>
            <p:cNvGrpSpPr/>
            <p:nvPr/>
          </p:nvGrpSpPr>
          <p:grpSpPr>
            <a:xfrm>
              <a:off x="482363" y="1241413"/>
              <a:ext cx="3406939" cy="2457341"/>
              <a:chOff x="482363" y="1241413"/>
              <a:chExt cx="3406939" cy="2457341"/>
            </a:xfrm>
          </p:grpSpPr>
          <p:grpSp>
            <p:nvGrpSpPr>
              <p:cNvPr id="34" name="Group 33"/>
              <p:cNvGrpSpPr/>
              <p:nvPr/>
            </p:nvGrpSpPr>
            <p:grpSpPr>
              <a:xfrm>
                <a:off x="482363" y="3172821"/>
                <a:ext cx="3376583" cy="458690"/>
                <a:chOff x="3857295" y="-108576"/>
                <a:chExt cx="4390639" cy="2373954"/>
              </a:xfrm>
            </p:grpSpPr>
            <p:sp>
              <p:nvSpPr>
                <p:cNvPr id="45" name="TextBox 44"/>
                <p:cNvSpPr txBox="1"/>
                <p:nvPr/>
              </p:nvSpPr>
              <p:spPr>
                <a:xfrm>
                  <a:off x="3857295" y="4229"/>
                  <a:ext cx="4390639" cy="2070772"/>
                </a:xfrm>
                <a:prstGeom prst="rect">
                  <a:avLst/>
                </a:prstGeom>
                <a:ln>
                  <a:noFill/>
                </a:ln>
              </p:spPr>
              <p:style>
                <a:lnRef idx="2">
                  <a:schemeClr val="accent5"/>
                </a:lnRef>
                <a:fillRef idx="1001">
                  <a:schemeClr val="lt1"/>
                </a:fillRef>
                <a:effectRef idx="0">
                  <a:schemeClr val="accent5"/>
                </a:effectRef>
                <a:fontRef idx="minor">
                  <a:schemeClr val="dk1"/>
                </a:fontRef>
              </p:style>
              <p:txBody>
                <a:bodyPr wrap="square" rtlCol="0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70C0"/>
                      </a:solidFill>
                      <a:effectLst/>
                      <a:uLnTx/>
                      <a:uFillTx/>
                      <a:latin typeface="Lato" panose="020F0502020204030203" pitchFamily="34" charset="0"/>
                    </a:rPr>
                    <a:t>Maternal Abstraction </a:t>
                  </a:r>
                </a:p>
              </p:txBody>
            </p:sp>
            <p:sp>
              <p:nvSpPr>
                <p:cNvPr id="46" name="Rounded Rectangle 45"/>
                <p:cNvSpPr/>
                <p:nvPr/>
              </p:nvSpPr>
              <p:spPr>
                <a:xfrm>
                  <a:off x="3959596" y="-108576"/>
                  <a:ext cx="4100954" cy="2373954"/>
                </a:xfrm>
                <a:prstGeom prst="round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ato" panose="020F0502020204030203" pitchFamily="34" charset="0"/>
                  </a:endParaRPr>
                </a:p>
              </p:txBody>
            </p:sp>
          </p:grpSp>
          <p:grpSp>
            <p:nvGrpSpPr>
              <p:cNvPr id="35" name="Group 34"/>
              <p:cNvGrpSpPr/>
              <p:nvPr/>
            </p:nvGrpSpPr>
            <p:grpSpPr>
              <a:xfrm>
                <a:off x="544541" y="1241413"/>
                <a:ext cx="3170298" cy="534123"/>
                <a:chOff x="1321781" y="2091805"/>
                <a:chExt cx="2588584" cy="692879"/>
              </a:xfrm>
            </p:grpSpPr>
            <p:sp>
              <p:nvSpPr>
                <p:cNvPr id="43" name="TextBox 42"/>
                <p:cNvSpPr txBox="1"/>
                <p:nvPr/>
              </p:nvSpPr>
              <p:spPr>
                <a:xfrm>
                  <a:off x="1321781" y="2153809"/>
                  <a:ext cx="2581394" cy="519034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70C0"/>
                      </a:solidFill>
                      <a:effectLst/>
                      <a:uLnTx/>
                      <a:uFillTx/>
                      <a:latin typeface="Lato" panose="020F0502020204030203" pitchFamily="34" charset="0"/>
                    </a:rPr>
                    <a:t>Demographic Data</a:t>
                  </a:r>
                  <a:r>
                    <a:rPr kumimoji="0" lang="en-US" sz="20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92D050"/>
                      </a:solidFill>
                      <a:effectLst/>
                      <a:uLnTx/>
                      <a:uFillTx/>
                      <a:latin typeface="Lato" panose="020F0502020204030203" pitchFamily="34" charset="0"/>
                    </a:rPr>
                    <a:t> </a:t>
                  </a:r>
                  <a:endParaRPr kumimoji="0" lang="en-US" sz="20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 pitchFamily="34" charset="0"/>
                  </a:endParaRPr>
                </a:p>
              </p:txBody>
            </p:sp>
            <p:sp>
              <p:nvSpPr>
                <p:cNvPr id="44" name="Rounded Rectangle 43"/>
                <p:cNvSpPr/>
                <p:nvPr/>
              </p:nvSpPr>
              <p:spPr>
                <a:xfrm>
                  <a:off x="1364175" y="2091805"/>
                  <a:ext cx="2546190" cy="692879"/>
                </a:xfrm>
                <a:prstGeom prst="round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ato" panose="020F0502020204030203" pitchFamily="34" charset="0"/>
                  </a:endParaRPr>
                </a:p>
              </p:txBody>
            </p:sp>
          </p:grpSp>
          <p:grpSp>
            <p:nvGrpSpPr>
              <p:cNvPr id="36" name="Group 35"/>
              <p:cNvGrpSpPr/>
              <p:nvPr/>
            </p:nvGrpSpPr>
            <p:grpSpPr>
              <a:xfrm>
                <a:off x="501405" y="1844557"/>
                <a:ext cx="3260649" cy="442511"/>
                <a:chOff x="1278645" y="2437677"/>
                <a:chExt cx="2865403" cy="807820"/>
              </a:xfrm>
            </p:grpSpPr>
            <p:sp>
              <p:nvSpPr>
                <p:cNvPr id="41" name="TextBox 40"/>
                <p:cNvSpPr txBox="1"/>
                <p:nvPr/>
              </p:nvSpPr>
              <p:spPr>
                <a:xfrm>
                  <a:off x="1278645" y="2437677"/>
                  <a:ext cx="2865403" cy="730415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70C0"/>
                      </a:solidFill>
                      <a:effectLst/>
                      <a:uLnTx/>
                      <a:uFillTx/>
                      <a:latin typeface="Lato" panose="020F0502020204030203" pitchFamily="34" charset="0"/>
                    </a:rPr>
                    <a:t>Verbal Autopsy</a:t>
                  </a:r>
                </a:p>
              </p:txBody>
            </p:sp>
            <p:sp>
              <p:nvSpPr>
                <p:cNvPr id="42" name="Rounded Rectangle 41"/>
                <p:cNvSpPr/>
                <p:nvPr/>
              </p:nvSpPr>
              <p:spPr>
                <a:xfrm>
                  <a:off x="1364175" y="2499030"/>
                  <a:ext cx="2744480" cy="746467"/>
                </a:xfrm>
                <a:prstGeom prst="round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ato" panose="020F0502020204030203" pitchFamily="34" charset="0"/>
                  </a:endParaRPr>
                </a:p>
              </p:txBody>
            </p:sp>
          </p:grpSp>
          <p:grpSp>
            <p:nvGrpSpPr>
              <p:cNvPr id="37" name="Group 36"/>
              <p:cNvGrpSpPr/>
              <p:nvPr/>
            </p:nvGrpSpPr>
            <p:grpSpPr>
              <a:xfrm>
                <a:off x="576120" y="2387492"/>
                <a:ext cx="3138719" cy="694483"/>
                <a:chOff x="273021" y="4055482"/>
                <a:chExt cx="3557917" cy="2061709"/>
              </a:xfrm>
            </p:grpSpPr>
            <p:sp>
              <p:nvSpPr>
                <p:cNvPr id="39" name="TextBox 38"/>
                <p:cNvSpPr txBox="1"/>
                <p:nvPr/>
              </p:nvSpPr>
              <p:spPr>
                <a:xfrm>
                  <a:off x="280538" y="4101559"/>
                  <a:ext cx="3493182" cy="2010127"/>
                </a:xfrm>
                <a:prstGeom prst="rect">
                  <a:avLst/>
                </a:prstGeom>
                <a:noFill/>
              </p:spPr>
              <p:txBody>
                <a:bodyPr wrap="square" rtlCol="0">
                  <a:spAutoFit/>
                </a:bodyPr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sz="2000" i="0" u="none" strike="noStrike" kern="1200" cap="none" spc="0" normalizeH="0" baseline="0" noProof="0" dirty="0">
                      <a:ln>
                        <a:noFill/>
                      </a:ln>
                      <a:solidFill>
                        <a:srgbClr val="0070C0"/>
                      </a:solidFill>
                      <a:effectLst/>
                      <a:uLnTx/>
                      <a:uFillTx/>
                      <a:latin typeface="Lato" panose="020F0502020204030203" pitchFamily="34" charset="0"/>
                    </a:rPr>
                    <a:t>Clinical Abstraction </a:t>
                  </a:r>
                </a:p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r>
                    <a:rPr kumimoji="0" lang="en-US" i="0" u="none" strike="noStrike" kern="1200" cap="none" spc="0" normalizeH="0" baseline="0" noProof="0" dirty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Lato" panose="020F0502020204030203" pitchFamily="34" charset="0"/>
                    </a:rPr>
                    <a:t>Available medical records</a:t>
                  </a:r>
                </a:p>
              </p:txBody>
            </p:sp>
            <p:sp>
              <p:nvSpPr>
                <p:cNvPr id="40" name="Rounded Rectangle 39"/>
                <p:cNvSpPr/>
                <p:nvPr/>
              </p:nvSpPr>
              <p:spPr>
                <a:xfrm>
                  <a:off x="273021" y="4055482"/>
                  <a:ext cx="3557917" cy="2061709"/>
                </a:xfrm>
                <a:prstGeom prst="roundRect">
                  <a:avLst/>
                </a:prstGeom>
                <a:noFill/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marL="0" marR="0" lvl="0" indent="0" algn="ctr" defTabSz="4572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200" i="0" u="none" strike="noStrike" kern="1200" cap="none" spc="0" normalizeH="0" baseline="0" noProof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Lato" panose="020F0502020204030203" pitchFamily="34" charset="0"/>
                  </a:endParaRPr>
                </a:p>
              </p:txBody>
            </p:sp>
          </p:grpSp>
          <p:cxnSp>
            <p:nvCxnSpPr>
              <p:cNvPr id="38" name="Straight Connector 37"/>
              <p:cNvCxnSpPr/>
              <p:nvPr/>
            </p:nvCxnSpPr>
            <p:spPr>
              <a:xfrm flipV="1">
                <a:off x="3865576" y="1263541"/>
                <a:ext cx="23726" cy="2435213"/>
              </a:xfrm>
              <a:prstGeom prst="line">
                <a:avLst/>
              </a:prstGeom>
              <a:ln w="88900">
                <a:solidFill>
                  <a:srgbClr val="1863A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48" name="Straight Arrow Connector 47"/>
          <p:cNvCxnSpPr/>
          <p:nvPr/>
        </p:nvCxnSpPr>
        <p:spPr>
          <a:xfrm flipV="1">
            <a:off x="7245290" y="1817169"/>
            <a:ext cx="675234" cy="10177"/>
          </a:xfrm>
          <a:prstGeom prst="straightConnector1">
            <a:avLst/>
          </a:prstGeom>
          <a:ln w="101600">
            <a:solidFill>
              <a:srgbClr val="C00000"/>
            </a:solidFill>
            <a:headEnd w="lg" len="med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9" name="Group 48"/>
          <p:cNvGrpSpPr/>
          <p:nvPr/>
        </p:nvGrpSpPr>
        <p:grpSpPr>
          <a:xfrm>
            <a:off x="7785844" y="1149415"/>
            <a:ext cx="3640891" cy="1441526"/>
            <a:chOff x="4055195" y="5232423"/>
            <a:chExt cx="3505692" cy="1047784"/>
          </a:xfrm>
        </p:grpSpPr>
        <p:sp>
          <p:nvSpPr>
            <p:cNvPr id="50" name="TextBox 49"/>
            <p:cNvSpPr txBox="1"/>
            <p:nvPr/>
          </p:nvSpPr>
          <p:spPr>
            <a:xfrm>
              <a:off x="4055195" y="5429775"/>
              <a:ext cx="3505692" cy="51453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Lato" panose="020F0502020204030203" pitchFamily="34" charset="0"/>
                </a:rPr>
                <a:t>Cause of Death Assignment 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srgbClr val="C00000"/>
                  </a:solidFill>
                  <a:effectLst/>
                  <a:uLnTx/>
                  <a:uFillTx/>
                  <a:latin typeface="Lato" panose="020F0502020204030203" pitchFamily="34" charset="0"/>
                </a:rPr>
                <a:t>ICD-10 and ICD-PM</a:t>
              </a:r>
            </a:p>
          </p:txBody>
        </p:sp>
        <p:sp>
          <p:nvSpPr>
            <p:cNvPr id="51" name="Rounded Rectangle 50"/>
            <p:cNvSpPr/>
            <p:nvPr/>
          </p:nvSpPr>
          <p:spPr>
            <a:xfrm>
              <a:off x="4241565" y="5232423"/>
              <a:ext cx="3132953" cy="1047784"/>
            </a:xfrm>
            <a:prstGeom prst="round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 panose="020F0502020204030203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2486038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" name="Picture 55" descr="ICD-10_2016_Vol2_ELECTRONIC.pdf - Adobe Acrobat Pro">
            <a:extLst>
              <a:ext uri="{FF2B5EF4-FFF2-40B4-BE49-F238E27FC236}">
                <a16:creationId xmlns:a16="http://schemas.microsoft.com/office/drawing/2014/main" id="{C01F115E-659C-7F44-9C44-F870A0273DF6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950135" y="969638"/>
            <a:ext cx="8108265" cy="2188230"/>
          </a:xfrm>
          <a:prstGeom prst="rect">
            <a:avLst/>
          </a:prstGeom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C012918-0370-4157-98F2-C12F1D975E9D}"/>
              </a:ext>
            </a:extLst>
          </p:cNvPr>
          <p:cNvGrpSpPr/>
          <p:nvPr/>
        </p:nvGrpSpPr>
        <p:grpSpPr>
          <a:xfrm>
            <a:off x="445830" y="3219268"/>
            <a:ext cx="10502257" cy="3039143"/>
            <a:chOff x="445830" y="3314700"/>
            <a:chExt cx="11746170" cy="3749116"/>
          </a:xfrm>
        </p:grpSpPr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F60EE164-8812-4A3C-9FE3-91245FB62BE9}"/>
                </a:ext>
              </a:extLst>
            </p:cNvPr>
            <p:cNvGrpSpPr/>
            <p:nvPr/>
          </p:nvGrpSpPr>
          <p:grpSpPr>
            <a:xfrm>
              <a:off x="952479" y="3314700"/>
              <a:ext cx="7468734" cy="3749116"/>
              <a:chOff x="711179" y="3197819"/>
              <a:chExt cx="7468734" cy="3749116"/>
            </a:xfrm>
          </p:grpSpPr>
          <p:sp>
            <p:nvSpPr>
              <p:cNvPr id="60" name="Rectangle 59">
                <a:extLst>
                  <a:ext uri="{FF2B5EF4-FFF2-40B4-BE49-F238E27FC236}">
                    <a16:creationId xmlns:a16="http://schemas.microsoft.com/office/drawing/2014/main" id="{F63316CE-8F71-244F-B5C1-44E30AC99492}"/>
                  </a:ext>
                </a:extLst>
              </p:cNvPr>
              <p:cNvSpPr/>
              <p:nvPr/>
            </p:nvSpPr>
            <p:spPr>
              <a:xfrm>
                <a:off x="1047489" y="3198589"/>
                <a:ext cx="7109541" cy="1139029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Immediate cause of death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i="1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“the disease or complication which directly preceded or directly led to death”</a:t>
                </a:r>
              </a:p>
            </p:txBody>
          </p:sp>
          <p:sp>
            <p:nvSpPr>
              <p:cNvPr id="62" name="TextBox 61">
                <a:extLst>
                  <a:ext uri="{FF2B5EF4-FFF2-40B4-BE49-F238E27FC236}">
                    <a16:creationId xmlns:a16="http://schemas.microsoft.com/office/drawing/2014/main" id="{570AAE47-ACA6-C44C-AC7A-17F8651330DD}"/>
                  </a:ext>
                </a:extLst>
              </p:cNvPr>
              <p:cNvSpPr txBox="1"/>
              <p:nvPr/>
            </p:nvSpPr>
            <p:spPr>
              <a:xfrm>
                <a:off x="1469934" y="4275125"/>
                <a:ext cx="6685673" cy="455612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wrap="square" lIns="0" tIns="0" rIns="0" bIns="0" rtlCol="0" anchor="t">
                <a:spAutoFit/>
              </a:bodyPr>
              <a:lstStyle/>
              <a:p>
                <a:pPr marL="0" marR="0" lvl="0" indent="61595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Morbid causes of death</a:t>
                </a:r>
                <a:endParaRPr lang="en-US" b="1" dirty="0">
                  <a:ea typeface="+mn-ea"/>
                  <a:cs typeface="+mn-cs"/>
                </a:endParaRPr>
              </a:p>
              <a:p>
                <a:pPr marL="0" marR="0" lvl="0" indent="61595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lang="en-US" sz="6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Lato" panose="020F0502020204030203"/>
                  <a:cs typeface="Lato" panose="020F0502020204030203"/>
                </a:endParaRPr>
              </a:p>
            </p:txBody>
          </p:sp>
          <p:sp>
            <p:nvSpPr>
              <p:cNvPr id="67" name="Rectangle 66">
                <a:extLst>
                  <a:ext uri="{FF2B5EF4-FFF2-40B4-BE49-F238E27FC236}">
                    <a16:creationId xmlns:a16="http://schemas.microsoft.com/office/drawing/2014/main" id="{59F460A4-450C-F641-8F00-8DC1B355B9E6}"/>
                  </a:ext>
                </a:extLst>
              </p:cNvPr>
              <p:cNvSpPr/>
              <p:nvPr/>
            </p:nvSpPr>
            <p:spPr>
              <a:xfrm>
                <a:off x="1043970" y="4690290"/>
                <a:ext cx="7135943" cy="1480737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Underlying cause of death 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“disease or injury that initiated the train of events leading directly to death, or circumstances of accident or violence which produced the fatal injury”</a:t>
                </a:r>
              </a:p>
            </p:txBody>
          </p:sp>
          <p:sp>
            <p:nvSpPr>
              <p:cNvPr id="21" name="Rectangle 20">
                <a:extLst>
                  <a:ext uri="{FF2B5EF4-FFF2-40B4-BE49-F238E27FC236}">
                    <a16:creationId xmlns:a16="http://schemas.microsoft.com/office/drawing/2014/main" id="{1FE91B4C-173D-4BA1-A486-F1CC47276E34}"/>
                  </a:ext>
                </a:extLst>
              </p:cNvPr>
              <p:cNvSpPr/>
              <p:nvPr/>
            </p:nvSpPr>
            <p:spPr>
              <a:xfrm>
                <a:off x="1045389" y="6149615"/>
                <a:ext cx="7109541" cy="797320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Significant contributor</a:t>
                </a:r>
              </a:p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i="1" u="none" strike="noStrike" kern="1200" cap="none" spc="0" normalizeH="0" baseline="0" noProof="0" dirty="0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Other conditions that contribute to death</a:t>
                </a:r>
              </a:p>
            </p:txBody>
          </p:sp>
          <p:sp>
            <p:nvSpPr>
              <p:cNvPr id="4" name="TextBox 3">
                <a:extLst>
                  <a:ext uri="{FF2B5EF4-FFF2-40B4-BE49-F238E27FC236}">
                    <a16:creationId xmlns:a16="http://schemas.microsoft.com/office/drawing/2014/main" id="{C65E81BD-6B38-4CD4-95FD-62C811F61AF0}"/>
                  </a:ext>
                </a:extLst>
              </p:cNvPr>
              <p:cNvSpPr txBox="1"/>
              <p:nvPr/>
            </p:nvSpPr>
            <p:spPr>
              <a:xfrm>
                <a:off x="712601" y="3197819"/>
                <a:ext cx="360550" cy="493580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a</a:t>
                </a:r>
              </a:p>
            </p:txBody>
          </p: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31576BC6-0AF6-4855-B6F0-D0EB44905B5C}"/>
                  </a:ext>
                </a:extLst>
              </p:cNvPr>
              <p:cNvSpPr txBox="1"/>
              <p:nvPr/>
            </p:nvSpPr>
            <p:spPr>
              <a:xfrm>
                <a:off x="712599" y="4275125"/>
                <a:ext cx="770699" cy="493580"/>
              </a:xfrm>
              <a:prstGeom prst="rect">
                <a:avLst/>
              </a:prstGeom>
              <a:solidFill>
                <a:schemeClr val="accent2">
                  <a:lumMod val="60000"/>
                  <a:lumOff val="4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b-c</a:t>
                </a:r>
              </a:p>
            </p:txBody>
          </p:sp>
          <p:sp>
            <p:nvSpPr>
              <p:cNvPr id="24" name="TextBox 23">
                <a:extLst>
                  <a:ext uri="{FF2B5EF4-FFF2-40B4-BE49-F238E27FC236}">
                    <a16:creationId xmlns:a16="http://schemas.microsoft.com/office/drawing/2014/main" id="{585ED7D2-2BD2-42DF-BD7E-452CE4E09B79}"/>
                  </a:ext>
                </a:extLst>
              </p:cNvPr>
              <p:cNvSpPr txBox="1"/>
              <p:nvPr/>
            </p:nvSpPr>
            <p:spPr>
              <a:xfrm>
                <a:off x="711179" y="4697775"/>
                <a:ext cx="332790" cy="493580"/>
              </a:xfrm>
              <a:prstGeom prst="rect">
                <a:avLst/>
              </a:prstGeom>
              <a:solidFill>
                <a:schemeClr val="accent4">
                  <a:lumMod val="60000"/>
                  <a:lumOff val="4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sz="200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Lato" panose="020F0502020204030203"/>
                    <a:ea typeface="+mn-ea"/>
                    <a:cs typeface="+mn-cs"/>
                  </a:rPr>
                  <a:t>d</a:t>
                </a:r>
              </a:p>
            </p:txBody>
          </p:sp>
          <p:sp>
            <p:nvSpPr>
              <p:cNvPr id="25" name="TextBox 24">
                <a:extLst>
                  <a:ext uri="{FF2B5EF4-FFF2-40B4-BE49-F238E27FC236}">
                    <a16:creationId xmlns:a16="http://schemas.microsoft.com/office/drawing/2014/main" id="{8DC32597-E85F-4DB1-85B8-46E8D93C360F}"/>
                  </a:ext>
                </a:extLst>
              </p:cNvPr>
              <p:cNvSpPr txBox="1"/>
              <p:nvPr/>
            </p:nvSpPr>
            <p:spPr>
              <a:xfrm>
                <a:off x="711921" y="6149617"/>
                <a:ext cx="360549" cy="493580"/>
              </a:xfrm>
              <a:prstGeom prst="rect">
                <a:avLst/>
              </a:prstGeom>
              <a:solidFill>
                <a:schemeClr val="accent5">
                  <a:lumMod val="60000"/>
                  <a:lumOff val="40000"/>
                </a:schemeClr>
              </a:solidFill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+mn-ea"/>
                  <a:cs typeface="+mn-cs"/>
                </a:endParaRPr>
              </a:p>
            </p:txBody>
          </p:sp>
        </p:grpSp>
        <p:sp>
          <p:nvSpPr>
            <p:cNvPr id="9" name="Right Brace 8">
              <a:extLst>
                <a:ext uri="{FF2B5EF4-FFF2-40B4-BE49-F238E27FC236}">
                  <a16:creationId xmlns:a16="http://schemas.microsoft.com/office/drawing/2014/main" id="{25888F12-BB34-4818-8C65-D450627729B3}"/>
                </a:ext>
              </a:extLst>
            </p:cNvPr>
            <p:cNvSpPr/>
            <p:nvPr/>
          </p:nvSpPr>
          <p:spPr>
            <a:xfrm>
              <a:off x="8396230" y="3314700"/>
              <a:ext cx="547160" cy="2605608"/>
            </a:xfrm>
            <a:prstGeom prst="rightBrace">
              <a:avLst/>
            </a:prstGeom>
            <a:ln w="28575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/>
                <a:ea typeface="+mn-ea"/>
                <a:cs typeface="+mn-cs"/>
              </a:endParaRPr>
            </a:p>
          </p:txBody>
        </p:sp>
        <p:sp>
          <p:nvSpPr>
            <p:cNvPr id="28" name="Right Brace 27">
              <a:extLst>
                <a:ext uri="{FF2B5EF4-FFF2-40B4-BE49-F238E27FC236}">
                  <a16:creationId xmlns:a16="http://schemas.microsoft.com/office/drawing/2014/main" id="{335D1998-7085-4F1D-A9EA-C5858807E9CA}"/>
                </a:ext>
              </a:extLst>
            </p:cNvPr>
            <p:cNvSpPr/>
            <p:nvPr/>
          </p:nvSpPr>
          <p:spPr>
            <a:xfrm>
              <a:off x="8396230" y="6158935"/>
              <a:ext cx="547160" cy="646331"/>
            </a:xfrm>
            <a:prstGeom prst="rightBrace">
              <a:avLst/>
            </a:prstGeom>
            <a:ln w="28575"/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/>
                <a:ea typeface="+mn-ea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D27D5A0-682A-4AB8-91CE-84AB0A6D388E}"/>
                </a:ext>
              </a:extLst>
            </p:cNvPr>
            <p:cNvSpPr txBox="1"/>
            <p:nvPr/>
          </p:nvSpPr>
          <p:spPr>
            <a:xfrm>
              <a:off x="9006890" y="4407438"/>
              <a:ext cx="2766010" cy="493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+mn-ea"/>
                  <a:cs typeface="+mn-cs"/>
                </a:rPr>
                <a:t>In the causal chain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AFB45427-FFA4-4E4E-8BB1-4A719BC95879}"/>
                </a:ext>
              </a:extLst>
            </p:cNvPr>
            <p:cNvSpPr txBox="1"/>
            <p:nvPr/>
          </p:nvSpPr>
          <p:spPr>
            <a:xfrm>
              <a:off x="8943390" y="6282046"/>
              <a:ext cx="3248610" cy="49358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i="1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+mn-ea"/>
                  <a:cs typeface="+mn-cs"/>
                </a:rPr>
                <a:t> Not in the causal chain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913520A2-4058-443B-A91D-660A98864689}"/>
                </a:ext>
              </a:extLst>
            </p:cNvPr>
            <p:cNvSpPr txBox="1"/>
            <p:nvPr/>
          </p:nvSpPr>
          <p:spPr>
            <a:xfrm>
              <a:off x="445830" y="3314700"/>
              <a:ext cx="447500" cy="2605607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txBody>
            <a:bodyPr vert="vert270"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>
                  <a:tab pos="2514600" algn="l"/>
                </a:tabLst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+mn-ea"/>
                  <a:cs typeface="+mn-cs"/>
                </a:rPr>
                <a:t>Part 1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48690CF-12CE-4757-A016-39CECA4E2577}"/>
                </a:ext>
              </a:extLst>
            </p:cNvPr>
            <p:cNvSpPr txBox="1"/>
            <p:nvPr/>
          </p:nvSpPr>
          <p:spPr>
            <a:xfrm>
              <a:off x="445830" y="6158934"/>
              <a:ext cx="447500" cy="816170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</p:spPr>
          <p:txBody>
            <a:bodyPr vert="vert270"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+mn-ea"/>
                  <a:cs typeface="+mn-cs"/>
                </a:rPr>
                <a:t>Part 2</a:t>
              </a:r>
            </a:p>
          </p:txBody>
        </p:sp>
      </p:grpSp>
      <p:sp>
        <p:nvSpPr>
          <p:cNvPr id="19" name="Title 1">
            <a:extLst>
              <a:ext uri="{FF2B5EF4-FFF2-40B4-BE49-F238E27FC236}">
                <a16:creationId xmlns:a16="http://schemas.microsoft.com/office/drawing/2014/main" id="{3ABCD7C1-926B-440C-A07A-B8091D3CFDC3}"/>
              </a:ext>
            </a:extLst>
          </p:cNvPr>
          <p:cNvSpPr txBox="1">
            <a:spLocks/>
          </p:cNvSpPr>
          <p:nvPr/>
        </p:nvSpPr>
        <p:spPr>
          <a:xfrm>
            <a:off x="295664" y="107614"/>
            <a:ext cx="11637255" cy="669445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3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i="0" kern="1200">
                <a:solidFill>
                  <a:srgbClr val="4C9C2E"/>
                </a:solidFill>
                <a:latin typeface="Lato" panose="020F0502020204030203" pitchFamily="34" charset="77"/>
                <a:ea typeface="+mj-ea"/>
                <a:cs typeface="+mj-cs"/>
              </a:defRPr>
            </a:lvl1pPr>
          </a:lstStyle>
          <a:p>
            <a:r>
              <a:rPr lang="en-US" sz="2800" b="0" dirty="0">
                <a:latin typeface="Lato" panose="020F0502020204030203"/>
                <a:cs typeface="Arial" panose="020B0604020202020204" pitchFamily="34" charset="0"/>
              </a:rPr>
              <a:t>Cause of death assignment following ICD-10 and ICD-PM: </a:t>
            </a:r>
            <a:br>
              <a:rPr lang="en-US" sz="2800" b="0" dirty="0">
                <a:latin typeface="Lato" panose="020F0502020204030203"/>
                <a:cs typeface="Arial" panose="020B0604020202020204" pitchFamily="34" charset="0"/>
              </a:rPr>
            </a:br>
            <a:r>
              <a:rPr lang="en-US" sz="2800" b="0" dirty="0">
                <a:latin typeface="Lato" panose="020F0502020204030203"/>
                <a:cs typeface="Arial" panose="020B0604020202020204" pitchFamily="34" charset="0"/>
              </a:rPr>
              <a:t>importance of causal chain</a:t>
            </a:r>
            <a:endParaRPr lang="en-US" sz="2800" b="0" dirty="0">
              <a:latin typeface="Lato" panose="020F0502020204030203"/>
            </a:endParaRPr>
          </a:p>
        </p:txBody>
      </p:sp>
    </p:spTree>
    <p:extLst>
      <p:ext uri="{BB962C8B-B14F-4D97-AF65-F5344CB8AC3E}">
        <p14:creationId xmlns:p14="http://schemas.microsoft.com/office/powerpoint/2010/main" val="34914510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071AEB8-C46E-214E-8177-6E3648F783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59" y="350549"/>
            <a:ext cx="7813465" cy="1001936"/>
          </a:xfrm>
        </p:spPr>
        <p:txBody>
          <a:bodyPr/>
          <a:lstStyle/>
          <a:p>
            <a:r>
              <a:rPr lang="en-US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HAMPS DeCoDe Standardizations</a:t>
            </a:r>
          </a:p>
        </p:txBody>
      </p:sp>
      <p:sp>
        <p:nvSpPr>
          <p:cNvPr id="8" name="Content Placeholder 5">
            <a:extLst>
              <a:ext uri="{FF2B5EF4-FFF2-40B4-BE49-F238E27FC236}">
                <a16:creationId xmlns:a16="http://schemas.microsoft.com/office/drawing/2014/main" id="{B73253AA-A711-4A4B-BD05-5F313FC02D8C}"/>
              </a:ext>
            </a:extLst>
          </p:cNvPr>
          <p:cNvSpPr txBox="1">
            <a:spLocks/>
          </p:cNvSpPr>
          <p:nvPr/>
        </p:nvSpPr>
        <p:spPr>
          <a:xfrm>
            <a:off x="281265" y="1459523"/>
            <a:ext cx="11367810" cy="4465027"/>
          </a:xfrm>
          <a:prstGeom prst="rect">
            <a:avLst/>
          </a:prstGeom>
        </p:spPr>
        <p:txBody>
          <a:bodyPr>
            <a:norm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dhere to WHO ICD-10 and ICD-PM guidelines for</a:t>
            </a:r>
          </a:p>
          <a:p>
            <a:pPr marL="0" indent="0">
              <a:buNone/>
            </a:pPr>
            <a:r>
              <a:rPr lang="en-US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   determining and classifying perinatal and child deaths</a:t>
            </a:r>
          </a:p>
          <a:p>
            <a:pPr marL="0" indent="0">
              <a:buNone/>
            </a:pPr>
            <a:endParaRPr lang="en-US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en-US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Standardized training provided</a:t>
            </a:r>
          </a:p>
          <a:p>
            <a:pPr marL="0" indent="0">
              <a:buNone/>
            </a:pPr>
            <a:endParaRPr lang="en-US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en-US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eveloped diagnosis standards for interpretation of complete CHAMPS data</a:t>
            </a:r>
          </a:p>
          <a:p>
            <a:pPr marL="0" indent="0">
              <a:buNone/>
            </a:pPr>
            <a:endParaRPr lang="en-US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r>
              <a:rPr lang="en-US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xternal quality assurance process</a:t>
            </a:r>
          </a:p>
          <a:p>
            <a:endParaRPr lang="en-US" dirty="0"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7656990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52823-194A-2A4A-8016-646E43715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700" y="134241"/>
            <a:ext cx="11029616" cy="669445"/>
          </a:xfrm>
        </p:spPr>
        <p:txBody>
          <a:bodyPr>
            <a:noAutofit/>
          </a:bodyPr>
          <a:lstStyle/>
          <a:p>
            <a:r>
              <a:rPr lang="en-US" b="0" dirty="0">
                <a:latin typeface="Lato" panose="020F0502020204030203" pitchFamily="34" charset="0"/>
              </a:rPr>
              <a:t>CHAMPS Aims to Deepen Understanding of Causes and Contributors to Under-5 Death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CE21796-36ED-3C43-96D9-4DE54095F149}"/>
              </a:ext>
            </a:extLst>
          </p:cNvPr>
          <p:cNvGrpSpPr>
            <a:grpSpLocks noChangeAspect="1"/>
          </p:cNvGrpSpPr>
          <p:nvPr/>
        </p:nvGrpSpPr>
        <p:grpSpPr>
          <a:xfrm>
            <a:off x="-2943" y="2463124"/>
            <a:ext cx="3046638" cy="2654256"/>
            <a:chOff x="3310212" y="4815990"/>
            <a:chExt cx="2345552" cy="2299342"/>
          </a:xfrm>
          <a:solidFill>
            <a:srgbClr val="C0C0C0"/>
          </a:solidFill>
        </p:grpSpPr>
        <p:sp>
          <p:nvSpPr>
            <p:cNvPr id="11" name="Freeform 441">
              <a:extLst>
                <a:ext uri="{FF2B5EF4-FFF2-40B4-BE49-F238E27FC236}">
                  <a16:creationId xmlns:a16="http://schemas.microsoft.com/office/drawing/2014/main" id="{8BE52E04-B02B-504C-8CCB-A542A6941777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4242060" y="5695748"/>
              <a:ext cx="240769" cy="197554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7783" tIns="37783" rIns="37783" bIns="37783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2" name="Freeform 441">
              <a:extLst>
                <a:ext uri="{FF2B5EF4-FFF2-40B4-BE49-F238E27FC236}">
                  <a16:creationId xmlns:a16="http://schemas.microsoft.com/office/drawing/2014/main" id="{F83F1EF9-DD13-D946-9347-1B3A61EE5A95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211040" y="5419819"/>
              <a:ext cx="322210" cy="346528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7783" tIns="37783" rIns="37783" bIns="37783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3" name="Freeform 4">
              <a:extLst>
                <a:ext uri="{FF2B5EF4-FFF2-40B4-BE49-F238E27FC236}">
                  <a16:creationId xmlns:a16="http://schemas.microsoft.com/office/drawing/2014/main" id="{BE8F53AB-FC28-894F-AAAA-26067F094CA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948998" y="5041639"/>
              <a:ext cx="271030" cy="231951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FA0B371-5277-494E-886B-B1ED2CF2BA11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gray">
            <a:xfrm>
              <a:off x="4622501" y="4971045"/>
              <a:ext cx="60509" cy="60509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2D1ACE1-AD6E-9A4B-8C70-2F14A3BA8D60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gray">
            <a:xfrm>
              <a:off x="4647713" y="4931967"/>
              <a:ext cx="129842" cy="114715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ACA827-D9D6-CF4D-92E2-0F7386EFB0D9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gray">
            <a:xfrm>
              <a:off x="4753604" y="5349226"/>
              <a:ext cx="10085" cy="1512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363DE32D-28BA-C64A-8BF6-79439B3D549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gray">
            <a:xfrm>
              <a:off x="5472148" y="5339142"/>
              <a:ext cx="90764" cy="141188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50C443E9-8617-5D46-88A6-11E25CCFE7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5487275" y="5298802"/>
              <a:ext cx="65551" cy="40339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129D3FE0-2861-BB41-AB14-38F936F127A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405677" y="5117275"/>
              <a:ext cx="45382" cy="25212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7462D841-B0CF-2B40-B4B2-243F05B29C70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4446016" y="5218124"/>
              <a:ext cx="5042" cy="1008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3E39BFFF-24A1-F246-939D-6EC4E0DFDA8D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556949" y="4911797"/>
              <a:ext cx="126060" cy="64290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FE4678BC-E003-8A42-845D-88672879A004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5096545" y="5116313"/>
              <a:ext cx="559219" cy="694592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solidFill>
              <a:srgbClr val="EBE717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91220190-4C30-F040-BC08-050BE6337293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gray">
            <a:xfrm>
              <a:off x="4632586" y="5011384"/>
              <a:ext cx="366835" cy="368096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D2850D6E-183C-9242-994E-9045B0F80329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4531737" y="5071893"/>
              <a:ext cx="186569" cy="206739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8350CEFB-CDA8-B74E-BA4A-46B616CBC2ED}"/>
                </a:ext>
              </a:extLst>
            </p:cNvPr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4446016" y="5177784"/>
              <a:ext cx="25212" cy="90763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8C6E8E7F-B867-6B4F-9A77-F29E3A15396B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4461144" y="5172742"/>
              <a:ext cx="80679" cy="105891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5919970A-3576-7F4A-8129-FDA30234F052}"/>
                </a:ext>
              </a:extLst>
            </p:cNvPr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gray">
            <a:xfrm>
              <a:off x="4683010" y="5253420"/>
              <a:ext cx="35297" cy="40339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975CDA49-8608-5C43-868D-9B8476184EDC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5115398" y="4921882"/>
              <a:ext cx="210521" cy="104630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32E9129-5542-5D45-B65E-FF81E7995BBE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4461144" y="5142487"/>
              <a:ext cx="30255" cy="40339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CBC8DAF-78AF-F54C-B18E-9BAB519E612C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5185991" y="5801784"/>
              <a:ext cx="10085" cy="17648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0DB756C3-8EEE-3641-A620-74672D46DE35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5320876" y="5248378"/>
              <a:ext cx="156315" cy="100848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9610EF7-9B60-DE4C-B599-414E65CB7EA5}"/>
                </a:ext>
              </a:extLst>
            </p:cNvPr>
            <p:cNvSpPr>
              <a:spLocks noEditPoints="1"/>
            </p:cNvSpPr>
            <p:nvPr>
              <p:custDataLst>
                <p:tags r:id="rId22"/>
              </p:custDataLst>
            </p:nvPr>
          </p:nvSpPr>
          <p:spPr bwMode="gray">
            <a:xfrm>
              <a:off x="4782598" y="5349226"/>
              <a:ext cx="151273" cy="23069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939609C0-1ED0-9746-8D74-4E229FE2AE38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4954040" y="5081978"/>
              <a:ext cx="321454" cy="32775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4" name="Freeform 38">
              <a:extLst>
                <a:ext uri="{FF2B5EF4-FFF2-40B4-BE49-F238E27FC236}">
                  <a16:creationId xmlns:a16="http://schemas.microsoft.com/office/drawing/2014/main" id="{D05E207E-5D98-CA4A-9816-F3E3E54CCC0B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4763689" y="5354269"/>
              <a:ext cx="13866" cy="35297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5" name="Freeform 39">
              <a:extLst>
                <a:ext uri="{FF2B5EF4-FFF2-40B4-BE49-F238E27FC236}">
                  <a16:creationId xmlns:a16="http://schemas.microsoft.com/office/drawing/2014/main" id="{948FAE32-52A8-0B48-A63A-896E6A676719}"/>
                </a:ext>
              </a:extLst>
            </p:cNvPr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gray">
            <a:xfrm>
              <a:off x="4451059" y="5202996"/>
              <a:ext cx="402132" cy="381963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6" name="Freeform 43">
              <a:extLst>
                <a:ext uri="{FF2B5EF4-FFF2-40B4-BE49-F238E27FC236}">
                  <a16:creationId xmlns:a16="http://schemas.microsoft.com/office/drawing/2014/main" id="{9FDFE4C5-432E-1746-A31D-8647FC4ACA87}"/>
                </a:ext>
              </a:extLst>
            </p:cNvPr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gray">
            <a:xfrm>
              <a:off x="5310791" y="5736232"/>
              <a:ext cx="45382" cy="90763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7" name="Freeform 44">
              <a:extLst>
                <a:ext uri="{FF2B5EF4-FFF2-40B4-BE49-F238E27FC236}">
                  <a16:creationId xmlns:a16="http://schemas.microsoft.com/office/drawing/2014/main" id="{32E2BFCA-9F37-7646-BB52-D3BBB984F9A3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4471228" y="5071893"/>
              <a:ext cx="131103" cy="126060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8" name="Freeform 45">
              <a:extLst>
                <a:ext uri="{FF2B5EF4-FFF2-40B4-BE49-F238E27FC236}">
                  <a16:creationId xmlns:a16="http://schemas.microsoft.com/office/drawing/2014/main" id="{5127160E-CA62-414A-A025-82F78A656866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5080101" y="4976088"/>
              <a:ext cx="144969" cy="115976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9" name="Freeform 48">
              <a:extLst>
                <a:ext uri="{FF2B5EF4-FFF2-40B4-BE49-F238E27FC236}">
                  <a16:creationId xmlns:a16="http://schemas.microsoft.com/office/drawing/2014/main" id="{60CE7E9A-4A0F-D041-98CB-028AF4DB4E14}"/>
                </a:ext>
              </a:extLst>
            </p:cNvPr>
            <p:cNvSpPr>
              <a:spLocks noEditPoints="1"/>
            </p:cNvSpPr>
            <p:nvPr>
              <p:custDataLst>
                <p:tags r:id="rId29"/>
              </p:custDataLst>
            </p:nvPr>
          </p:nvSpPr>
          <p:spPr bwMode="gray">
            <a:xfrm>
              <a:off x="4280878" y="4945833"/>
              <a:ext cx="366835" cy="166400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0" name="Freeform 49">
              <a:extLst>
                <a:ext uri="{FF2B5EF4-FFF2-40B4-BE49-F238E27FC236}">
                  <a16:creationId xmlns:a16="http://schemas.microsoft.com/office/drawing/2014/main" id="{944490AF-8538-1546-AA9B-E2AF122928D9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4768731" y="4931967"/>
              <a:ext cx="296242" cy="195393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1" name="Freeform 50">
              <a:extLst>
                <a:ext uri="{FF2B5EF4-FFF2-40B4-BE49-F238E27FC236}">
                  <a16:creationId xmlns:a16="http://schemas.microsoft.com/office/drawing/2014/main" id="{1012BA7A-5F73-2341-A455-FBB4A85BD6FC}"/>
                </a:ext>
              </a:extLst>
            </p:cNvPr>
            <p:cNvSpPr>
              <a:spLocks noEditPoints="1"/>
            </p:cNvSpPr>
            <p:nvPr>
              <p:custDataLst>
                <p:tags r:id="rId31"/>
              </p:custDataLst>
            </p:nvPr>
          </p:nvSpPr>
          <p:spPr bwMode="gray">
            <a:xfrm>
              <a:off x="4777556" y="5354269"/>
              <a:ext cx="90764" cy="80679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2" name="Freeform 51">
              <a:extLst>
                <a:ext uri="{FF2B5EF4-FFF2-40B4-BE49-F238E27FC236}">
                  <a16:creationId xmlns:a16="http://schemas.microsoft.com/office/drawing/2014/main" id="{AAF3165F-DD41-A745-9A8C-D4D4019CD0DD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4863277" y="4856331"/>
              <a:ext cx="327757" cy="220605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3" name="Freeform 53">
              <a:extLst>
                <a:ext uri="{FF2B5EF4-FFF2-40B4-BE49-F238E27FC236}">
                  <a16:creationId xmlns:a16="http://schemas.microsoft.com/office/drawing/2014/main" id="{E90CC07B-45D8-3642-942F-CC0F9D3F6185}"/>
                </a:ext>
              </a:extLst>
            </p:cNvPr>
            <p:cNvSpPr>
              <a:spLocks noEditPoints="1"/>
            </p:cNvSpPr>
            <p:nvPr>
              <p:custDataLst>
                <p:tags r:id="rId33"/>
              </p:custDataLst>
            </p:nvPr>
          </p:nvSpPr>
          <p:spPr bwMode="gray">
            <a:xfrm>
              <a:off x="4456101" y="5192911"/>
              <a:ext cx="15127" cy="3025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4" name="Freeform 54">
              <a:extLst>
                <a:ext uri="{FF2B5EF4-FFF2-40B4-BE49-F238E27FC236}">
                  <a16:creationId xmlns:a16="http://schemas.microsoft.com/office/drawing/2014/main" id="{560963BC-7A9E-7144-BC73-DBA455B0ACCC}"/>
                </a:ext>
              </a:extLst>
            </p:cNvPr>
            <p:cNvSpPr>
              <a:spLocks noEditPoints="1"/>
            </p:cNvSpPr>
            <p:nvPr>
              <p:custDataLst>
                <p:tags r:id="rId34"/>
              </p:custDataLst>
            </p:nvPr>
          </p:nvSpPr>
          <p:spPr bwMode="gray">
            <a:xfrm>
              <a:off x="4602331" y="5524451"/>
              <a:ext cx="230690" cy="161357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5" name="Freeform 83">
              <a:extLst>
                <a:ext uri="{FF2B5EF4-FFF2-40B4-BE49-F238E27FC236}">
                  <a16:creationId xmlns:a16="http://schemas.microsoft.com/office/drawing/2014/main" id="{DAFA441E-E957-8B4B-89FD-49C6DCA006EA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4220369" y="4891627"/>
              <a:ext cx="119757" cy="79418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6" name="Freeform 92">
              <a:extLst>
                <a:ext uri="{FF2B5EF4-FFF2-40B4-BE49-F238E27FC236}">
                  <a16:creationId xmlns:a16="http://schemas.microsoft.com/office/drawing/2014/main" id="{837FCF28-0ED4-ED48-A355-CF1D7B9C2959}"/>
                </a:ext>
              </a:extLst>
            </p:cNvPr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4169944" y="4955918"/>
              <a:ext cx="160096" cy="176485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7" name="Freeform 117">
              <a:extLst>
                <a:ext uri="{FF2B5EF4-FFF2-40B4-BE49-F238E27FC236}">
                  <a16:creationId xmlns:a16="http://schemas.microsoft.com/office/drawing/2014/main" id="{0901D4DB-9104-5A44-A0BC-CE47DB2A8B96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3626624" y="5076936"/>
              <a:ext cx="392048" cy="447514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8" name="Freeform 118">
              <a:extLst>
                <a:ext uri="{FF2B5EF4-FFF2-40B4-BE49-F238E27FC236}">
                  <a16:creationId xmlns:a16="http://schemas.microsoft.com/office/drawing/2014/main" id="{F8C663D9-4084-3440-A6CE-7271483FE5B6}"/>
                </a:ext>
              </a:extLst>
            </p:cNvPr>
            <p:cNvSpPr>
              <a:spLocks noEditPoints="1"/>
            </p:cNvSpPr>
            <p:nvPr>
              <p:custDataLst>
                <p:tags r:id="rId38"/>
              </p:custDataLst>
            </p:nvPr>
          </p:nvSpPr>
          <p:spPr bwMode="gray">
            <a:xfrm>
              <a:off x="4018672" y="6067771"/>
              <a:ext cx="231951" cy="31767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9" name="Freeform 119">
              <a:extLst>
                <a:ext uri="{FF2B5EF4-FFF2-40B4-BE49-F238E27FC236}">
                  <a16:creationId xmlns:a16="http://schemas.microsoft.com/office/drawing/2014/main" id="{C98FBB53-A3C3-C04F-9C53-1E381B8237E6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3808151" y="5675723"/>
              <a:ext cx="60509" cy="146230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0" name="Freeform 120">
              <a:extLst>
                <a:ext uri="{FF2B5EF4-FFF2-40B4-BE49-F238E27FC236}">
                  <a16:creationId xmlns:a16="http://schemas.microsoft.com/office/drawing/2014/main" id="{91C055C8-CE58-7B49-9E2F-82FE2F88121E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4174987" y="6380401"/>
              <a:ext cx="175224" cy="21556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1" name="Freeform 121">
              <a:extLst>
                <a:ext uri="{FF2B5EF4-FFF2-40B4-BE49-F238E27FC236}">
                  <a16:creationId xmlns:a16="http://schemas.microsoft.com/office/drawing/2014/main" id="{C7B79F78-822E-B244-B1AF-3CB48F68D14D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3687133" y="5615214"/>
              <a:ext cx="151273" cy="131103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2" name="Freeform 122">
              <a:extLst>
                <a:ext uri="{FF2B5EF4-FFF2-40B4-BE49-F238E27FC236}">
                  <a16:creationId xmlns:a16="http://schemas.microsoft.com/office/drawing/2014/main" id="{A1BBBE44-6951-1A42-A1BB-4EAEC589ABD8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4345168" y="6018608"/>
              <a:ext cx="35297" cy="49163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3" name="Freeform 123">
              <a:extLst>
                <a:ext uri="{FF2B5EF4-FFF2-40B4-BE49-F238E27FC236}">
                  <a16:creationId xmlns:a16="http://schemas.microsoft.com/office/drawing/2014/main" id="{E0FDE1FD-3653-3641-9F08-88A91753A86F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3953120" y="5660596"/>
              <a:ext cx="151273" cy="267248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4" name="Freeform 124">
              <a:extLst>
                <a:ext uri="{FF2B5EF4-FFF2-40B4-BE49-F238E27FC236}">
                  <a16:creationId xmlns:a16="http://schemas.microsoft.com/office/drawing/2014/main" id="{F8E26D5D-806A-0E4F-A511-F8EB192DEA48}"/>
                </a:ext>
              </a:extLst>
            </p:cNvPr>
            <p:cNvSpPr>
              <a:spLocks noEditPoints="1"/>
            </p:cNvSpPr>
            <p:nvPr>
              <p:custDataLst>
                <p:tags r:id="rId44"/>
              </p:custDataLst>
            </p:nvPr>
          </p:nvSpPr>
          <p:spPr bwMode="gray">
            <a:xfrm>
              <a:off x="3310212" y="5564790"/>
              <a:ext cx="50424" cy="5546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5" name="Freeform 125">
              <a:extLst>
                <a:ext uri="{FF2B5EF4-FFF2-40B4-BE49-F238E27FC236}">
                  <a16:creationId xmlns:a16="http://schemas.microsoft.com/office/drawing/2014/main" id="{2572341E-4BB4-0044-BAA3-C57AA62F6176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4069096" y="5711020"/>
              <a:ext cx="247078" cy="201697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6" name="Freeform 126">
              <a:extLst>
                <a:ext uri="{FF2B5EF4-FFF2-40B4-BE49-F238E27FC236}">
                  <a16:creationId xmlns:a16="http://schemas.microsoft.com/office/drawing/2014/main" id="{0D647DA7-7558-0F46-87B8-D074123EB371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4048926" y="5419820"/>
              <a:ext cx="201697" cy="371878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7" name="Freeform 127">
              <a:extLst>
                <a:ext uri="{FF2B5EF4-FFF2-40B4-BE49-F238E27FC236}">
                  <a16:creationId xmlns:a16="http://schemas.microsoft.com/office/drawing/2014/main" id="{A5FE9161-6526-E949-B752-5A47BD2C1C5B}"/>
                </a:ext>
              </a:extLst>
            </p:cNvPr>
            <p:cNvSpPr>
              <a:spLocks noEditPoints="1"/>
            </p:cNvSpPr>
            <p:nvPr>
              <p:custDataLst>
                <p:tags r:id="rId47"/>
              </p:custDataLst>
            </p:nvPr>
          </p:nvSpPr>
          <p:spPr bwMode="gray">
            <a:xfrm>
              <a:off x="4617458" y="6229128"/>
              <a:ext cx="25212" cy="20170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8" name="Freeform 128">
              <a:extLst>
                <a:ext uri="{FF2B5EF4-FFF2-40B4-BE49-F238E27FC236}">
                  <a16:creationId xmlns:a16="http://schemas.microsoft.com/office/drawing/2014/main" id="{BC0E46B2-A59B-1F42-8B54-8FA34DFED3FF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4003545" y="5877420"/>
              <a:ext cx="146230" cy="200436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9" name="Freeform 129">
              <a:extLst>
                <a:ext uri="{FF2B5EF4-FFF2-40B4-BE49-F238E27FC236}">
                  <a16:creationId xmlns:a16="http://schemas.microsoft.com/office/drawing/2014/main" id="{22053432-C551-B245-A437-5C2A3A70DA84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4023714" y="5842123"/>
              <a:ext cx="366835" cy="432387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0" name="Freeform 130">
              <a:extLst>
                <a:ext uri="{FF2B5EF4-FFF2-40B4-BE49-F238E27FC236}">
                  <a16:creationId xmlns:a16="http://schemas.microsoft.com/office/drawing/2014/main" id="{AF2EA6B9-19AC-B34A-A2D7-5EF66C04011E}"/>
                </a:ext>
              </a:extLst>
            </p:cNvPr>
            <p:cNvSpPr>
              <a:spLocks noEditPoints="1"/>
            </p:cNvSpPr>
            <p:nvPr>
              <p:custDataLst>
                <p:tags r:id="rId50"/>
              </p:custDataLst>
            </p:nvPr>
          </p:nvSpPr>
          <p:spPr bwMode="gray">
            <a:xfrm>
              <a:off x="3626624" y="5716063"/>
              <a:ext cx="121018" cy="151272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1" name="Freeform 131">
              <a:extLst>
                <a:ext uri="{FF2B5EF4-FFF2-40B4-BE49-F238E27FC236}">
                  <a16:creationId xmlns:a16="http://schemas.microsoft.com/office/drawing/2014/main" id="{1A779704-B9CB-1841-B31F-FE9B40D849E0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4587204" y="5670681"/>
              <a:ext cx="35297" cy="40339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2" name="Freeform 132">
              <a:extLst>
                <a:ext uri="{FF2B5EF4-FFF2-40B4-BE49-F238E27FC236}">
                  <a16:creationId xmlns:a16="http://schemas.microsoft.com/office/drawing/2014/main" id="{5C32F717-37CD-B94A-8156-46948DC37866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4265750" y="5218124"/>
              <a:ext cx="230690" cy="231951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3" name="Freeform 133">
              <a:extLst>
                <a:ext uri="{FF2B5EF4-FFF2-40B4-BE49-F238E27FC236}">
                  <a16:creationId xmlns:a16="http://schemas.microsoft.com/office/drawing/2014/main" id="{AE499FCA-528A-3041-BA0E-BF4FA834B285}"/>
                </a:ext>
              </a:extLst>
            </p:cNvPr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gray">
            <a:xfrm>
              <a:off x="3953120" y="5877420"/>
              <a:ext cx="55467" cy="65551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4" name="Freeform 134">
              <a:extLst>
                <a:ext uri="{FF2B5EF4-FFF2-40B4-BE49-F238E27FC236}">
                  <a16:creationId xmlns:a16="http://schemas.microsoft.com/office/drawing/2014/main" id="{78F55970-34E4-134F-AB86-F799A64BF9B9}"/>
                </a:ext>
              </a:extLst>
            </p:cNvPr>
            <p:cNvSpPr>
              <a:spLocks noEditPoints="1"/>
            </p:cNvSpPr>
            <p:nvPr>
              <p:custDataLst>
                <p:tags r:id="rId54"/>
              </p:custDataLst>
            </p:nvPr>
          </p:nvSpPr>
          <p:spPr bwMode="gray">
            <a:xfrm>
              <a:off x="4486356" y="5544620"/>
              <a:ext cx="131103" cy="136145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5" name="Freeform 135">
              <a:extLst>
                <a:ext uri="{FF2B5EF4-FFF2-40B4-BE49-F238E27FC236}">
                  <a16:creationId xmlns:a16="http://schemas.microsoft.com/office/drawing/2014/main" id="{BF183FC8-3A06-7E44-874C-C6D308DDB625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4420804" y="5620257"/>
              <a:ext cx="287418" cy="267248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solidFill>
              <a:srgbClr val="92D05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6" name="Freeform 136">
              <a:extLst>
                <a:ext uri="{FF2B5EF4-FFF2-40B4-BE49-F238E27FC236}">
                  <a16:creationId xmlns:a16="http://schemas.microsoft.com/office/drawing/2014/main" id="{FF736680-DE14-9741-906F-EB10DAB3EFA9}"/>
                </a:ext>
              </a:extLst>
            </p:cNvPr>
            <p:cNvSpPr>
              <a:spLocks noEditPoints="1"/>
            </p:cNvSpPr>
            <p:nvPr>
              <p:custDataLst>
                <p:tags r:id="rId56"/>
              </p:custDataLst>
            </p:nvPr>
          </p:nvSpPr>
          <p:spPr bwMode="gray">
            <a:xfrm>
              <a:off x="3958163" y="5912717"/>
              <a:ext cx="110933" cy="139927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7" name="Freeform 137">
              <a:extLst>
                <a:ext uri="{FF2B5EF4-FFF2-40B4-BE49-F238E27FC236}">
                  <a16:creationId xmlns:a16="http://schemas.microsoft.com/office/drawing/2014/main" id="{4986BC16-B681-4342-A590-BD9B07EE5DD7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3732514" y="5705978"/>
              <a:ext cx="85721" cy="151272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8" name="Freeform 138">
              <a:extLst>
                <a:ext uri="{FF2B5EF4-FFF2-40B4-BE49-F238E27FC236}">
                  <a16:creationId xmlns:a16="http://schemas.microsoft.com/office/drawing/2014/main" id="{EAA31845-13E8-6447-9AA0-9E1123509648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3505605" y="5670681"/>
              <a:ext cx="141188" cy="131103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9" name="Freeform 139">
              <a:extLst>
                <a:ext uri="{FF2B5EF4-FFF2-40B4-BE49-F238E27FC236}">
                  <a16:creationId xmlns:a16="http://schemas.microsoft.com/office/drawing/2014/main" id="{5671FC2F-61FC-8342-A2CA-43CE56E1A475}"/>
                </a:ext>
              </a:extLst>
            </p:cNvPr>
            <p:cNvSpPr>
              <a:spLocks noEditPoints="1"/>
            </p:cNvSpPr>
            <p:nvPr>
              <p:custDataLst>
                <p:tags r:id="rId59"/>
              </p:custDataLst>
            </p:nvPr>
          </p:nvSpPr>
          <p:spPr bwMode="gray">
            <a:xfrm>
              <a:off x="3475351" y="5670681"/>
              <a:ext cx="55467" cy="40339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0" name="Freeform 140">
              <a:extLst>
                <a:ext uri="{FF2B5EF4-FFF2-40B4-BE49-F238E27FC236}">
                  <a16:creationId xmlns:a16="http://schemas.microsoft.com/office/drawing/2014/main" id="{9C469643-C12D-6D43-9D9B-B12C4D9B5714}"/>
                </a:ext>
              </a:extLst>
            </p:cNvPr>
            <p:cNvSpPr>
              <a:spLocks noEditPoints="1"/>
            </p:cNvSpPr>
            <p:nvPr>
              <p:custDataLst>
                <p:tags r:id="rId60"/>
              </p:custDataLst>
            </p:nvPr>
          </p:nvSpPr>
          <p:spPr bwMode="gray">
            <a:xfrm>
              <a:off x="4440974" y="5857250"/>
              <a:ext cx="151273" cy="21556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1" name="Freeform 141">
              <a:extLst>
                <a:ext uri="{FF2B5EF4-FFF2-40B4-BE49-F238E27FC236}">
                  <a16:creationId xmlns:a16="http://schemas.microsoft.com/office/drawing/2014/main" id="{B0401843-1F42-F744-8EFC-B9B24E06F147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4311132" y="6636304"/>
              <a:ext cx="44121" cy="50424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2" name="Freeform 142">
              <a:extLst>
                <a:ext uri="{FF2B5EF4-FFF2-40B4-BE49-F238E27FC236}">
                  <a16:creationId xmlns:a16="http://schemas.microsoft.com/office/drawing/2014/main" id="{66B54812-8376-0F41-9668-807C661F240C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3571157" y="5766487"/>
              <a:ext cx="80679" cy="100848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B4B4B4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3" name="Freeform 143">
              <a:extLst>
                <a:ext uri="{FF2B5EF4-FFF2-40B4-BE49-F238E27FC236}">
                  <a16:creationId xmlns:a16="http://schemas.microsoft.com/office/drawing/2014/main" id="{FCD14529-65CD-EE4B-B81D-4B310950A639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gray">
            <a:xfrm>
              <a:off x="3968248" y="5177784"/>
              <a:ext cx="302545" cy="331538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4" name="Freeform 144">
              <a:extLst>
                <a:ext uri="{FF2B5EF4-FFF2-40B4-BE49-F238E27FC236}">
                  <a16:creationId xmlns:a16="http://schemas.microsoft.com/office/drawing/2014/main" id="{581DC5E7-7A9D-5045-A84D-8CAFD1B6A215}"/>
                </a:ext>
              </a:extLst>
            </p:cNvPr>
            <p:cNvSpPr>
              <a:spLocks noEditPoints="1"/>
            </p:cNvSpPr>
            <p:nvPr>
              <p:custDataLst>
                <p:tags r:id="rId64"/>
              </p:custDataLst>
            </p:nvPr>
          </p:nvSpPr>
          <p:spPr bwMode="gray">
            <a:xfrm>
              <a:off x="4617458" y="6239213"/>
              <a:ext cx="141188" cy="32775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5" name="Freeform 145">
              <a:extLst>
                <a:ext uri="{FF2B5EF4-FFF2-40B4-BE49-F238E27FC236}">
                  <a16:creationId xmlns:a16="http://schemas.microsoft.com/office/drawing/2014/main" id="{7E4DA940-ED2A-DB41-96FB-4B6150BB6980}"/>
                </a:ext>
              </a:extLst>
            </p:cNvPr>
            <p:cNvSpPr>
              <a:spLocks noEditPoints="1"/>
            </p:cNvSpPr>
            <p:nvPr>
              <p:custDataLst>
                <p:tags r:id="rId65"/>
              </p:custDataLst>
            </p:nvPr>
          </p:nvSpPr>
          <p:spPr bwMode="gray">
            <a:xfrm>
              <a:off x="4415762" y="6183746"/>
              <a:ext cx="60509" cy="181527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6" name="Freeform 146">
              <a:extLst>
                <a:ext uri="{FF2B5EF4-FFF2-40B4-BE49-F238E27FC236}">
                  <a16:creationId xmlns:a16="http://schemas.microsoft.com/office/drawing/2014/main" id="{D54ED38B-FA6C-D244-9623-C0C626EEC4D6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gray">
            <a:xfrm>
              <a:off x="3561072" y="5379481"/>
              <a:ext cx="312630" cy="351708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7" name="Freeform 147">
              <a:extLst>
                <a:ext uri="{FF2B5EF4-FFF2-40B4-BE49-F238E27FC236}">
                  <a16:creationId xmlns:a16="http://schemas.microsoft.com/office/drawing/2014/main" id="{5282EED3-C7EC-314E-AC91-AA10823AADDF}"/>
                </a:ext>
              </a:extLst>
            </p:cNvPr>
            <p:cNvSpPr>
              <a:spLocks noEditPoints="1"/>
            </p:cNvSpPr>
            <p:nvPr>
              <p:custDataLst>
                <p:tags r:id="rId67"/>
              </p:custDataLst>
            </p:nvPr>
          </p:nvSpPr>
          <p:spPr bwMode="gray">
            <a:xfrm>
              <a:off x="3465266" y="5324014"/>
              <a:ext cx="236994" cy="301284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8" name="Freeform 148">
              <a:extLst>
                <a:ext uri="{FF2B5EF4-FFF2-40B4-BE49-F238E27FC236}">
                  <a16:creationId xmlns:a16="http://schemas.microsoft.com/office/drawing/2014/main" id="{A85F23BE-525B-424C-8A45-22F783A071B6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3540902" y="5107190"/>
              <a:ext cx="231951" cy="206739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9" name="Freeform 149">
              <a:extLst>
                <a:ext uri="{FF2B5EF4-FFF2-40B4-BE49-F238E27FC236}">
                  <a16:creationId xmlns:a16="http://schemas.microsoft.com/office/drawing/2014/main" id="{F4650F1E-9FFB-214E-A166-183A572EC075}"/>
                </a:ext>
              </a:extLst>
            </p:cNvPr>
            <p:cNvSpPr>
              <a:spLocks noEditPoints="1"/>
            </p:cNvSpPr>
            <p:nvPr>
              <p:custDataLst>
                <p:tags r:id="rId69"/>
              </p:custDataLst>
            </p:nvPr>
          </p:nvSpPr>
          <p:spPr bwMode="gray">
            <a:xfrm>
              <a:off x="4370380" y="6208958"/>
              <a:ext cx="201697" cy="387005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0" name="Freeform 150">
              <a:extLst>
                <a:ext uri="{FF2B5EF4-FFF2-40B4-BE49-F238E27FC236}">
                  <a16:creationId xmlns:a16="http://schemas.microsoft.com/office/drawing/2014/main" id="{563336FE-3A40-994C-960C-3FC4C408AEF3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4013629" y="6360231"/>
              <a:ext cx="262206" cy="286157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1" name="Freeform 151">
              <a:extLst>
                <a:ext uri="{FF2B5EF4-FFF2-40B4-BE49-F238E27FC236}">
                  <a16:creationId xmlns:a16="http://schemas.microsoft.com/office/drawing/2014/main" id="{AE15478D-973C-4C4F-BC3D-D14C898C80ED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gray">
            <a:xfrm>
              <a:off x="3798066" y="5414778"/>
              <a:ext cx="301284" cy="281114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2" name="Freeform 152">
              <a:extLst>
                <a:ext uri="{FF2B5EF4-FFF2-40B4-BE49-F238E27FC236}">
                  <a16:creationId xmlns:a16="http://schemas.microsoft.com/office/drawing/2014/main" id="{C2099645-FA65-AB45-8BE7-44B8B960B9B1}"/>
                </a:ext>
              </a:extLst>
            </p:cNvPr>
            <p:cNvSpPr>
              <a:spLocks noEditPoints="1"/>
            </p:cNvSpPr>
            <p:nvPr>
              <p:custDataLst>
                <p:tags r:id="rId72"/>
              </p:custDataLst>
            </p:nvPr>
          </p:nvSpPr>
          <p:spPr bwMode="gray">
            <a:xfrm>
              <a:off x="3843447" y="5645469"/>
              <a:ext cx="230690" cy="221866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3" name="Freeform 153">
              <a:extLst>
                <a:ext uri="{FF2B5EF4-FFF2-40B4-BE49-F238E27FC236}">
                  <a16:creationId xmlns:a16="http://schemas.microsoft.com/office/drawing/2014/main" id="{49CBBA7A-9673-A940-BED4-9F9C3FA02B0F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gray">
            <a:xfrm>
              <a:off x="4345168" y="5988353"/>
              <a:ext cx="35297" cy="403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4" name="Freeform 154">
              <a:extLst>
                <a:ext uri="{FF2B5EF4-FFF2-40B4-BE49-F238E27FC236}">
                  <a16:creationId xmlns:a16="http://schemas.microsoft.com/office/drawing/2014/main" id="{C608988A-F093-424F-98AA-7C6F1DB613B5}"/>
                </a:ext>
              </a:extLst>
            </p:cNvPr>
            <p:cNvSpPr>
              <a:spLocks noEditPoints="1"/>
            </p:cNvSpPr>
            <p:nvPr>
              <p:custDataLst>
                <p:tags r:id="rId74"/>
              </p:custDataLst>
            </p:nvPr>
          </p:nvSpPr>
          <p:spPr bwMode="gray">
            <a:xfrm>
              <a:off x="3917823" y="5927844"/>
              <a:ext cx="15127" cy="35297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5" name="Freeform 155">
              <a:extLst>
                <a:ext uri="{FF2B5EF4-FFF2-40B4-BE49-F238E27FC236}">
                  <a16:creationId xmlns:a16="http://schemas.microsoft.com/office/drawing/2014/main" id="{E2E2AF9C-2A21-D74B-9186-C2ACF9ACA97F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gray">
            <a:xfrm>
              <a:off x="3455181" y="5574875"/>
              <a:ext cx="121018" cy="105891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6" name="Freeform 156">
              <a:extLst>
                <a:ext uri="{FF2B5EF4-FFF2-40B4-BE49-F238E27FC236}">
                  <a16:creationId xmlns:a16="http://schemas.microsoft.com/office/drawing/2014/main" id="{64E25B3F-B111-4244-9BAC-8DCB95B9A70F}"/>
                </a:ext>
              </a:extLst>
            </p:cNvPr>
            <p:cNvSpPr>
              <a:spLocks noEditPoints="1"/>
            </p:cNvSpPr>
            <p:nvPr>
              <p:custDataLst>
                <p:tags r:id="rId76"/>
              </p:custDataLst>
            </p:nvPr>
          </p:nvSpPr>
          <p:spPr bwMode="gray">
            <a:xfrm>
              <a:off x="4672925" y="6067771"/>
              <a:ext cx="180266" cy="115976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7" name="Freeform 157">
              <a:extLst>
                <a:ext uri="{FF2B5EF4-FFF2-40B4-BE49-F238E27FC236}">
                  <a16:creationId xmlns:a16="http://schemas.microsoft.com/office/drawing/2014/main" id="{132CB308-C8B1-4949-8D4E-C1409DF68E91}"/>
                </a:ext>
              </a:extLst>
            </p:cNvPr>
            <p:cNvSpPr>
              <a:spLocks noEditPoints="1"/>
            </p:cNvSpPr>
            <p:nvPr>
              <p:custDataLst>
                <p:tags r:id="rId77"/>
              </p:custDataLst>
            </p:nvPr>
          </p:nvSpPr>
          <p:spPr bwMode="gray">
            <a:xfrm>
              <a:off x="3540902" y="5736232"/>
              <a:ext cx="55467" cy="70594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rgbClr val="92D05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8" name="Freeform 158">
              <a:extLst>
                <a:ext uri="{FF2B5EF4-FFF2-40B4-BE49-F238E27FC236}">
                  <a16:creationId xmlns:a16="http://schemas.microsoft.com/office/drawing/2014/main" id="{72F3BC4D-E6C7-3B4B-9EBF-78D592AAB87C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4577119" y="5685808"/>
              <a:ext cx="196654" cy="31767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9" name="Freeform 160">
              <a:extLst>
                <a:ext uri="{FF2B5EF4-FFF2-40B4-BE49-F238E27FC236}">
                  <a16:creationId xmlns:a16="http://schemas.microsoft.com/office/drawing/2014/main" id="{B2C1EEAA-4D36-B54F-B262-1D301362CC9A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gray">
            <a:xfrm>
              <a:off x="4380465" y="6566970"/>
              <a:ext cx="25212" cy="39078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0" name="Freeform 161">
              <a:extLst>
                <a:ext uri="{FF2B5EF4-FFF2-40B4-BE49-F238E27FC236}">
                  <a16:creationId xmlns:a16="http://schemas.microsoft.com/office/drawing/2014/main" id="{DDB2062F-0DEE-3F4C-93AE-14DC37168B5F}"/>
                </a:ext>
              </a:extLst>
            </p:cNvPr>
            <p:cNvSpPr>
              <a:spLocks noEditPoints="1"/>
            </p:cNvSpPr>
            <p:nvPr>
              <p:custDataLst>
                <p:tags r:id="rId80"/>
              </p:custDataLst>
            </p:nvPr>
          </p:nvSpPr>
          <p:spPr bwMode="gray">
            <a:xfrm>
              <a:off x="4350210" y="5988353"/>
              <a:ext cx="211782" cy="24581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1" name="Freeform 162">
              <a:extLst>
                <a:ext uri="{FF2B5EF4-FFF2-40B4-BE49-F238E27FC236}">
                  <a16:creationId xmlns:a16="http://schemas.microsoft.com/office/drawing/2014/main" id="{9E4614EA-76FC-864F-9797-F47D11B88ECB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3470309" y="5645469"/>
              <a:ext cx="60509" cy="1512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2" name="Freeform 163">
              <a:extLst>
                <a:ext uri="{FF2B5EF4-FFF2-40B4-BE49-F238E27FC236}">
                  <a16:creationId xmlns:a16="http://schemas.microsoft.com/office/drawing/2014/main" id="{8CDAC747-2A88-424E-95A4-0DCE6E9C4FBE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3787981" y="5705978"/>
              <a:ext cx="40339" cy="121018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3" name="Freeform 164">
              <a:extLst>
                <a:ext uri="{FF2B5EF4-FFF2-40B4-BE49-F238E27FC236}">
                  <a16:creationId xmlns:a16="http://schemas.microsoft.com/office/drawing/2014/main" id="{21426936-4673-624D-8D8F-E96A51A774E6}"/>
                </a:ext>
              </a:extLst>
            </p:cNvPr>
            <p:cNvSpPr>
              <a:spLocks noEditPoints="1"/>
            </p:cNvSpPr>
            <p:nvPr>
              <p:custDataLst>
                <p:tags r:id="rId83"/>
              </p:custDataLst>
            </p:nvPr>
          </p:nvSpPr>
          <p:spPr bwMode="gray">
            <a:xfrm>
              <a:off x="3932951" y="5071893"/>
              <a:ext cx="80679" cy="181527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4" name="Freeform 165">
              <a:extLst>
                <a:ext uri="{FF2B5EF4-FFF2-40B4-BE49-F238E27FC236}">
                  <a16:creationId xmlns:a16="http://schemas.microsoft.com/office/drawing/2014/main" id="{8FB0C4A0-9E60-6844-B24F-7A5F5E14DC46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>
              <a:off x="4355253" y="5867335"/>
              <a:ext cx="105891" cy="131103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5" name="Freeform 166">
              <a:extLst>
                <a:ext uri="{FF2B5EF4-FFF2-40B4-BE49-F238E27FC236}">
                  <a16:creationId xmlns:a16="http://schemas.microsoft.com/office/drawing/2014/main" id="{65E61BF1-5676-9E4D-9717-1C4629B0F745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3465266" y="5313929"/>
              <a:ext cx="161357" cy="166400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6" name="Freeform 167">
              <a:extLst>
                <a:ext uri="{FF2B5EF4-FFF2-40B4-BE49-F238E27FC236}">
                  <a16:creationId xmlns:a16="http://schemas.microsoft.com/office/drawing/2014/main" id="{2E7F6EAA-4E02-6A48-AE45-5809ABA06C0E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gray">
            <a:xfrm>
              <a:off x="4210284" y="6153492"/>
              <a:ext cx="225648" cy="231951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7" name="Freeform 168">
              <a:extLst>
                <a:ext uri="{FF2B5EF4-FFF2-40B4-BE49-F238E27FC236}">
                  <a16:creationId xmlns:a16="http://schemas.microsoft.com/office/drawing/2014/main" id="{D3874CB3-9388-0B4C-8766-D3E5BB47B05A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4275835" y="6324934"/>
              <a:ext cx="150012" cy="166400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8" name="Freeform 186">
              <a:extLst>
                <a:ext uri="{FF2B5EF4-FFF2-40B4-BE49-F238E27FC236}">
                  <a16:creationId xmlns:a16="http://schemas.microsoft.com/office/drawing/2014/main" id="{47D93B2F-2F99-0746-A696-9E11C0FACED5}"/>
                </a:ext>
              </a:extLst>
            </p:cNvPr>
            <p:cNvSpPr>
              <a:spLocks noEditPoints="1"/>
            </p:cNvSpPr>
            <p:nvPr>
              <p:custDataLst>
                <p:tags r:id="rId88"/>
              </p:custDataLst>
            </p:nvPr>
          </p:nvSpPr>
          <p:spPr bwMode="gray">
            <a:xfrm>
              <a:off x="4109435" y="6481249"/>
              <a:ext cx="407175" cy="634083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grpSp>
          <p:nvGrpSpPr>
            <p:cNvPr id="99" name="Group 464">
              <a:extLst>
                <a:ext uri="{FF2B5EF4-FFF2-40B4-BE49-F238E27FC236}">
                  <a16:creationId xmlns:a16="http://schemas.microsoft.com/office/drawing/2014/main" id="{7E97AA85-A640-224A-A79E-40EEEFA9D1BD}"/>
                </a:ext>
              </a:extLst>
            </p:cNvPr>
            <p:cNvGrpSpPr/>
            <p:nvPr>
              <p:custDataLst>
                <p:tags r:id="rId89"/>
              </p:custDataLst>
            </p:nvPr>
          </p:nvGrpSpPr>
          <p:grpSpPr bwMode="gray">
            <a:xfrm>
              <a:off x="4038844" y="4815990"/>
              <a:ext cx="935368" cy="1217743"/>
              <a:chOff x="4818063" y="3268663"/>
              <a:chExt cx="1177924" cy="1533525"/>
            </a:xfrm>
            <a:grpFill/>
          </p:grpSpPr>
          <p:grpSp>
            <p:nvGrpSpPr>
              <p:cNvPr id="105" name="Group 195">
                <a:extLst>
                  <a:ext uri="{FF2B5EF4-FFF2-40B4-BE49-F238E27FC236}">
                    <a16:creationId xmlns:a16="http://schemas.microsoft.com/office/drawing/2014/main" id="{8427B676-0F81-044B-A642-40E237F31F1C}"/>
                  </a:ext>
                </a:extLst>
              </p:cNvPr>
              <p:cNvGrpSpPr>
                <a:grpSpLocks/>
              </p:cNvGrpSpPr>
              <p:nvPr>
                <p:custDataLst>
                  <p:tags r:id="rId90"/>
                </p:custDataLst>
              </p:nvPr>
            </p:nvGrpSpPr>
            <p:grpSpPr bwMode="gray">
              <a:xfrm>
                <a:off x="4818063" y="4294188"/>
                <a:ext cx="525462" cy="508000"/>
                <a:chOff x="3035" y="2705"/>
                <a:chExt cx="331" cy="320"/>
              </a:xfrm>
              <a:grpFill/>
            </p:grpSpPr>
            <p:sp>
              <p:nvSpPr>
                <p:cNvPr id="108" name="Freeform 196">
                  <a:extLst>
                    <a:ext uri="{FF2B5EF4-FFF2-40B4-BE49-F238E27FC236}">
                      <a16:creationId xmlns:a16="http://schemas.microsoft.com/office/drawing/2014/main" id="{155AE840-48D1-BE4A-A714-738A939504B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35" y="2705"/>
                  <a:ext cx="36" cy="36"/>
                </a:xfrm>
                <a:custGeom>
                  <a:avLst/>
                  <a:gdLst/>
                  <a:ahLst/>
                  <a:cxnLst>
                    <a:cxn ang="0">
                      <a:pos x="4" y="8"/>
                    </a:cxn>
                    <a:cxn ang="0">
                      <a:pos x="4" y="8"/>
                    </a:cxn>
                    <a:cxn ang="0">
                      <a:pos x="0" y="8"/>
                    </a:cxn>
                    <a:cxn ang="0">
                      <a:pos x="4" y="4"/>
                    </a:cxn>
                    <a:cxn ang="0">
                      <a:pos x="8" y="0"/>
                    </a:cxn>
                    <a:cxn ang="0">
                      <a:pos x="12" y="0"/>
                    </a:cxn>
                    <a:cxn ang="0">
                      <a:pos x="12" y="4"/>
                    </a:cxn>
                    <a:cxn ang="0">
                      <a:pos x="16" y="4"/>
                    </a:cxn>
                    <a:cxn ang="0">
                      <a:pos x="20" y="8"/>
                    </a:cxn>
                    <a:cxn ang="0">
                      <a:pos x="20" y="8"/>
                    </a:cxn>
                    <a:cxn ang="0">
                      <a:pos x="20" y="8"/>
                    </a:cxn>
                    <a:cxn ang="0">
                      <a:pos x="20" y="12"/>
                    </a:cxn>
                    <a:cxn ang="0">
                      <a:pos x="20" y="16"/>
                    </a:cxn>
                    <a:cxn ang="0">
                      <a:pos x="20" y="16"/>
                    </a:cxn>
                    <a:cxn ang="0">
                      <a:pos x="24" y="16"/>
                    </a:cxn>
                    <a:cxn ang="0">
                      <a:pos x="24" y="16"/>
                    </a:cxn>
                    <a:cxn ang="0">
                      <a:pos x="28" y="16"/>
                    </a:cxn>
                    <a:cxn ang="0">
                      <a:pos x="32" y="20"/>
                    </a:cxn>
                    <a:cxn ang="0">
                      <a:pos x="36" y="20"/>
                    </a:cxn>
                    <a:cxn ang="0">
                      <a:pos x="36" y="20"/>
                    </a:cxn>
                    <a:cxn ang="0">
                      <a:pos x="36" y="20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2" y="28"/>
                    </a:cxn>
                    <a:cxn ang="0">
                      <a:pos x="32" y="28"/>
                    </a:cxn>
                    <a:cxn ang="0">
                      <a:pos x="28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32"/>
                    </a:cxn>
                    <a:cxn ang="0">
                      <a:pos x="24" y="32"/>
                    </a:cxn>
                    <a:cxn ang="0">
                      <a:pos x="20" y="32"/>
                    </a:cxn>
                    <a:cxn ang="0">
                      <a:pos x="20" y="32"/>
                    </a:cxn>
                    <a:cxn ang="0">
                      <a:pos x="20" y="32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16" y="36"/>
                    </a:cxn>
                    <a:cxn ang="0">
                      <a:pos x="16" y="36"/>
                    </a:cxn>
                    <a:cxn ang="0">
                      <a:pos x="16" y="32"/>
                    </a:cxn>
                    <a:cxn ang="0">
                      <a:pos x="12" y="24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36" h="36">
                      <a:moveTo>
                        <a:pt x="8" y="12"/>
                      </a:moveTo>
                      <a:lnTo>
                        <a:pt x="8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28"/>
                      </a:lnTo>
                      <a:lnTo>
                        <a:pt x="12" y="28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8" y="24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197">
                  <a:extLst>
                    <a:ext uri="{FF2B5EF4-FFF2-40B4-BE49-F238E27FC236}">
                      <a16:creationId xmlns:a16="http://schemas.microsoft.com/office/drawing/2014/main" id="{4582F396-9B92-C441-8C1D-3D3A92435D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18" y="2965"/>
                  <a:ext cx="48" cy="60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32" y="0"/>
                    </a:cxn>
                    <a:cxn ang="0">
                      <a:pos x="36" y="4"/>
                    </a:cxn>
                    <a:cxn ang="0">
                      <a:pos x="36" y="4"/>
                    </a:cxn>
                    <a:cxn ang="0">
                      <a:pos x="40" y="8"/>
                    </a:cxn>
                    <a:cxn ang="0">
                      <a:pos x="40" y="8"/>
                    </a:cxn>
                    <a:cxn ang="0">
                      <a:pos x="44" y="12"/>
                    </a:cxn>
                    <a:cxn ang="0">
                      <a:pos x="40" y="8"/>
                    </a:cxn>
                    <a:cxn ang="0">
                      <a:pos x="48" y="8"/>
                    </a:cxn>
                    <a:cxn ang="0">
                      <a:pos x="44" y="12"/>
                    </a:cxn>
                    <a:cxn ang="0">
                      <a:pos x="40" y="16"/>
                    </a:cxn>
                    <a:cxn ang="0">
                      <a:pos x="36" y="16"/>
                    </a:cxn>
                    <a:cxn ang="0">
                      <a:pos x="40" y="24"/>
                    </a:cxn>
                    <a:cxn ang="0">
                      <a:pos x="36" y="28"/>
                    </a:cxn>
                    <a:cxn ang="0">
                      <a:pos x="36" y="32"/>
                    </a:cxn>
                    <a:cxn ang="0">
                      <a:pos x="32" y="32"/>
                    </a:cxn>
                    <a:cxn ang="0">
                      <a:pos x="32" y="40"/>
                    </a:cxn>
                    <a:cxn ang="0">
                      <a:pos x="24" y="40"/>
                    </a:cxn>
                    <a:cxn ang="0">
                      <a:pos x="28" y="44"/>
                    </a:cxn>
                    <a:cxn ang="0">
                      <a:pos x="28" y="44"/>
                    </a:cxn>
                    <a:cxn ang="0">
                      <a:pos x="32" y="44"/>
                    </a:cxn>
                    <a:cxn ang="0">
                      <a:pos x="28" y="48"/>
                    </a:cxn>
                    <a:cxn ang="0">
                      <a:pos x="24" y="52"/>
                    </a:cxn>
                    <a:cxn ang="0">
                      <a:pos x="20" y="48"/>
                    </a:cxn>
                    <a:cxn ang="0">
                      <a:pos x="20" y="56"/>
                    </a:cxn>
                    <a:cxn ang="0">
                      <a:pos x="16" y="60"/>
                    </a:cxn>
                    <a:cxn ang="0">
                      <a:pos x="20" y="56"/>
                    </a:cxn>
                    <a:cxn ang="0">
                      <a:pos x="16" y="52"/>
                    </a:cxn>
                    <a:cxn ang="0">
                      <a:pos x="16" y="52"/>
                    </a:cxn>
                    <a:cxn ang="0">
                      <a:pos x="12" y="48"/>
                    </a:cxn>
                    <a:cxn ang="0">
                      <a:pos x="8" y="52"/>
                    </a:cxn>
                    <a:cxn ang="0">
                      <a:pos x="4" y="56"/>
                    </a:cxn>
                    <a:cxn ang="0">
                      <a:pos x="4" y="52"/>
                    </a:cxn>
                    <a:cxn ang="0">
                      <a:pos x="0" y="48"/>
                    </a:cxn>
                    <a:cxn ang="0">
                      <a:pos x="0" y="40"/>
                    </a:cxn>
                    <a:cxn ang="0">
                      <a:pos x="0" y="32"/>
                    </a:cxn>
                    <a:cxn ang="0">
                      <a:pos x="4" y="28"/>
                    </a:cxn>
                    <a:cxn ang="0">
                      <a:pos x="0" y="20"/>
                    </a:cxn>
                    <a:cxn ang="0">
                      <a:pos x="4" y="12"/>
                    </a:cxn>
                    <a:cxn ang="0">
                      <a:pos x="8" y="8"/>
                    </a:cxn>
                    <a:cxn ang="0">
                      <a:pos x="12" y="4"/>
                    </a:cxn>
                    <a:cxn ang="0">
                      <a:pos x="16" y="0"/>
                    </a:cxn>
                    <a:cxn ang="0">
                      <a:pos x="20" y="4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8" h="60">
                      <a:moveTo>
                        <a:pt x="24" y="0"/>
                      </a:moveTo>
                      <a:lnTo>
                        <a:pt x="28" y="0"/>
                      </a:lnTo>
                      <a:lnTo>
                        <a:pt x="28" y="4"/>
                      </a:lnTo>
                      <a:lnTo>
                        <a:pt x="32" y="0"/>
                      </a:lnTo>
                      <a:lnTo>
                        <a:pt x="32" y="4"/>
                      </a:lnTo>
                      <a:lnTo>
                        <a:pt x="36" y="4"/>
                      </a:lnTo>
                      <a:lnTo>
                        <a:pt x="36" y="0"/>
                      </a:lnTo>
                      <a:lnTo>
                        <a:pt x="36" y="4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40" y="12"/>
                      </a:lnTo>
                      <a:lnTo>
                        <a:pt x="44" y="12"/>
                      </a:lnTo>
                      <a:lnTo>
                        <a:pt x="40" y="12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44" y="12"/>
                      </a:lnTo>
                      <a:lnTo>
                        <a:pt x="44" y="16"/>
                      </a:lnTo>
                      <a:lnTo>
                        <a:pt x="40" y="16"/>
                      </a:lnTo>
                      <a:lnTo>
                        <a:pt x="40" y="12"/>
                      </a:lnTo>
                      <a:lnTo>
                        <a:pt x="36" y="16"/>
                      </a:lnTo>
                      <a:lnTo>
                        <a:pt x="36" y="20"/>
                      </a:lnTo>
                      <a:lnTo>
                        <a:pt x="40" y="24"/>
                      </a:lnTo>
                      <a:lnTo>
                        <a:pt x="36" y="24"/>
                      </a:lnTo>
                      <a:lnTo>
                        <a:pt x="36" y="28"/>
                      </a:lnTo>
                      <a:lnTo>
                        <a:pt x="32" y="32"/>
                      </a:lnTo>
                      <a:lnTo>
                        <a:pt x="36" y="32"/>
                      </a:lnTo>
                      <a:lnTo>
                        <a:pt x="36" y="36"/>
                      </a:lnTo>
                      <a:lnTo>
                        <a:pt x="32" y="32"/>
                      </a:lnTo>
                      <a:lnTo>
                        <a:pt x="32" y="36"/>
                      </a:lnTo>
                      <a:lnTo>
                        <a:pt x="32" y="40"/>
                      </a:lnTo>
                      <a:lnTo>
                        <a:pt x="28" y="40"/>
                      </a:lnTo>
                      <a:lnTo>
                        <a:pt x="24" y="40"/>
                      </a:lnTo>
                      <a:lnTo>
                        <a:pt x="28" y="40"/>
                      </a:lnTo>
                      <a:lnTo>
                        <a:pt x="28" y="44"/>
                      </a:lnTo>
                      <a:lnTo>
                        <a:pt x="24" y="44"/>
                      </a:lnTo>
                      <a:lnTo>
                        <a:pt x="28" y="44"/>
                      </a:lnTo>
                      <a:lnTo>
                        <a:pt x="32" y="48"/>
                      </a:lnTo>
                      <a:lnTo>
                        <a:pt x="32" y="44"/>
                      </a:lnTo>
                      <a:lnTo>
                        <a:pt x="32" y="48"/>
                      </a:lnTo>
                      <a:lnTo>
                        <a:pt x="28" y="48"/>
                      </a:lnTo>
                      <a:lnTo>
                        <a:pt x="28" y="52"/>
                      </a:lnTo>
                      <a:lnTo>
                        <a:pt x="24" y="52"/>
                      </a:lnTo>
                      <a:lnTo>
                        <a:pt x="24" y="48"/>
                      </a:lnTo>
                      <a:lnTo>
                        <a:pt x="20" y="48"/>
                      </a:lnTo>
                      <a:lnTo>
                        <a:pt x="20" y="52"/>
                      </a:lnTo>
                      <a:lnTo>
                        <a:pt x="20" y="56"/>
                      </a:lnTo>
                      <a:lnTo>
                        <a:pt x="20" y="60"/>
                      </a:lnTo>
                      <a:lnTo>
                        <a:pt x="16" y="60"/>
                      </a:lnTo>
                      <a:lnTo>
                        <a:pt x="20" y="60"/>
                      </a:lnTo>
                      <a:lnTo>
                        <a:pt x="20" y="56"/>
                      </a:lnTo>
                      <a:lnTo>
                        <a:pt x="20" y="52"/>
                      </a:lnTo>
                      <a:lnTo>
                        <a:pt x="16" y="52"/>
                      </a:lnTo>
                      <a:lnTo>
                        <a:pt x="16" y="48"/>
                      </a:lnTo>
                      <a:lnTo>
                        <a:pt x="16" y="52"/>
                      </a:lnTo>
                      <a:lnTo>
                        <a:pt x="12" y="52"/>
                      </a:lnTo>
                      <a:lnTo>
                        <a:pt x="12" y="48"/>
                      </a:lnTo>
                      <a:lnTo>
                        <a:pt x="8" y="48"/>
                      </a:lnTo>
                      <a:lnTo>
                        <a:pt x="8" y="52"/>
                      </a:lnTo>
                      <a:lnTo>
                        <a:pt x="4" y="52"/>
                      </a:lnTo>
                      <a:lnTo>
                        <a:pt x="4" y="56"/>
                      </a:lnTo>
                      <a:lnTo>
                        <a:pt x="0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4" y="32"/>
                      </a:lnTo>
                      <a:lnTo>
                        <a:pt x="4" y="28"/>
                      </a:lnTo>
                      <a:lnTo>
                        <a:pt x="4" y="24"/>
                      </a:lnTo>
                      <a:lnTo>
                        <a:pt x="0" y="20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0"/>
                      </a:lnTo>
                      <a:lnTo>
                        <a:pt x="16" y="4"/>
                      </a:lnTo>
                      <a:lnTo>
                        <a:pt x="20" y="4"/>
                      </a:lnTo>
                      <a:lnTo>
                        <a:pt x="24" y="4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6" name="Freeform 207">
                <a:extLst>
                  <a:ext uri="{FF2B5EF4-FFF2-40B4-BE49-F238E27FC236}">
                    <a16:creationId xmlns:a16="http://schemas.microsoft.com/office/drawing/2014/main" id="{584BFAAA-09D5-034D-AFD9-6DF152162FE4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5629275" y="3268663"/>
                <a:ext cx="195262" cy="347663"/>
              </a:xfrm>
              <a:custGeom>
                <a:avLst/>
                <a:gdLst/>
                <a:ahLst/>
                <a:cxnLst>
                  <a:cxn ang="0">
                    <a:pos x="40" y="155"/>
                  </a:cxn>
                  <a:cxn ang="0">
                    <a:pos x="52" y="143"/>
                  </a:cxn>
                  <a:cxn ang="0">
                    <a:pos x="48" y="139"/>
                  </a:cxn>
                  <a:cxn ang="0">
                    <a:pos x="40" y="127"/>
                  </a:cxn>
                  <a:cxn ang="0">
                    <a:pos x="32" y="115"/>
                  </a:cxn>
                  <a:cxn ang="0">
                    <a:pos x="24" y="99"/>
                  </a:cxn>
                  <a:cxn ang="0">
                    <a:pos x="16" y="88"/>
                  </a:cxn>
                  <a:cxn ang="0">
                    <a:pos x="12" y="80"/>
                  </a:cxn>
                  <a:cxn ang="0">
                    <a:pos x="12" y="68"/>
                  </a:cxn>
                  <a:cxn ang="0">
                    <a:pos x="12" y="72"/>
                  </a:cxn>
                  <a:cxn ang="0">
                    <a:pos x="4" y="56"/>
                  </a:cxn>
                  <a:cxn ang="0">
                    <a:pos x="8" y="48"/>
                  </a:cxn>
                  <a:cxn ang="0">
                    <a:pos x="12" y="32"/>
                  </a:cxn>
                  <a:cxn ang="0">
                    <a:pos x="16" y="28"/>
                  </a:cxn>
                  <a:cxn ang="0">
                    <a:pos x="32" y="24"/>
                  </a:cxn>
                  <a:cxn ang="0">
                    <a:pos x="40" y="16"/>
                  </a:cxn>
                  <a:cxn ang="0">
                    <a:pos x="48" y="12"/>
                  </a:cxn>
                  <a:cxn ang="0">
                    <a:pos x="64" y="4"/>
                  </a:cxn>
                  <a:cxn ang="0">
                    <a:pos x="75" y="4"/>
                  </a:cxn>
                  <a:cxn ang="0">
                    <a:pos x="91" y="4"/>
                  </a:cxn>
                  <a:cxn ang="0">
                    <a:pos x="99" y="16"/>
                  </a:cxn>
                  <a:cxn ang="0">
                    <a:pos x="95" y="36"/>
                  </a:cxn>
                  <a:cxn ang="0">
                    <a:pos x="83" y="36"/>
                  </a:cxn>
                  <a:cxn ang="0">
                    <a:pos x="68" y="40"/>
                  </a:cxn>
                  <a:cxn ang="0">
                    <a:pos x="68" y="52"/>
                  </a:cxn>
                  <a:cxn ang="0">
                    <a:pos x="68" y="56"/>
                  </a:cxn>
                  <a:cxn ang="0">
                    <a:pos x="56" y="60"/>
                  </a:cxn>
                  <a:cxn ang="0">
                    <a:pos x="68" y="72"/>
                  </a:cxn>
                  <a:cxn ang="0">
                    <a:pos x="79" y="88"/>
                  </a:cxn>
                  <a:cxn ang="0">
                    <a:pos x="91" y="92"/>
                  </a:cxn>
                  <a:cxn ang="0">
                    <a:pos x="87" y="107"/>
                  </a:cxn>
                  <a:cxn ang="0">
                    <a:pos x="87" y="119"/>
                  </a:cxn>
                  <a:cxn ang="0">
                    <a:pos x="91" y="119"/>
                  </a:cxn>
                  <a:cxn ang="0">
                    <a:pos x="95" y="107"/>
                  </a:cxn>
                  <a:cxn ang="0">
                    <a:pos x="111" y="111"/>
                  </a:cxn>
                  <a:cxn ang="0">
                    <a:pos x="119" y="123"/>
                  </a:cxn>
                  <a:cxn ang="0">
                    <a:pos x="115" y="135"/>
                  </a:cxn>
                  <a:cxn ang="0">
                    <a:pos x="107" y="131"/>
                  </a:cxn>
                  <a:cxn ang="0">
                    <a:pos x="95" y="131"/>
                  </a:cxn>
                  <a:cxn ang="0">
                    <a:pos x="95" y="135"/>
                  </a:cxn>
                  <a:cxn ang="0">
                    <a:pos x="91" y="151"/>
                  </a:cxn>
                  <a:cxn ang="0">
                    <a:pos x="95" y="151"/>
                  </a:cxn>
                  <a:cxn ang="0">
                    <a:pos x="107" y="155"/>
                  </a:cxn>
                  <a:cxn ang="0">
                    <a:pos x="99" y="159"/>
                  </a:cxn>
                  <a:cxn ang="0">
                    <a:pos x="107" y="167"/>
                  </a:cxn>
                  <a:cxn ang="0">
                    <a:pos x="107" y="183"/>
                  </a:cxn>
                  <a:cxn ang="0">
                    <a:pos x="111" y="203"/>
                  </a:cxn>
                  <a:cxn ang="0">
                    <a:pos x="103" y="215"/>
                  </a:cxn>
                  <a:cxn ang="0">
                    <a:pos x="107" y="211"/>
                  </a:cxn>
                  <a:cxn ang="0">
                    <a:pos x="87" y="215"/>
                  </a:cxn>
                  <a:cxn ang="0">
                    <a:pos x="72" y="215"/>
                  </a:cxn>
                  <a:cxn ang="0">
                    <a:pos x="56" y="203"/>
                  </a:cxn>
                  <a:cxn ang="0">
                    <a:pos x="36" y="199"/>
                  </a:cxn>
                  <a:cxn ang="0">
                    <a:pos x="32" y="175"/>
                  </a:cxn>
                  <a:cxn ang="0">
                    <a:pos x="36" y="171"/>
                  </a:cxn>
                </a:cxnLst>
                <a:rect l="0" t="0" r="r" b="b"/>
                <a:pathLst>
                  <a:path w="123" h="219">
                    <a:moveTo>
                      <a:pt x="40" y="167"/>
                    </a:moveTo>
                    <a:lnTo>
                      <a:pt x="40" y="163"/>
                    </a:lnTo>
                    <a:lnTo>
                      <a:pt x="44" y="163"/>
                    </a:lnTo>
                    <a:lnTo>
                      <a:pt x="40" y="159"/>
                    </a:lnTo>
                    <a:lnTo>
                      <a:pt x="40" y="155"/>
                    </a:lnTo>
                    <a:lnTo>
                      <a:pt x="44" y="151"/>
                    </a:lnTo>
                    <a:lnTo>
                      <a:pt x="44" y="147"/>
                    </a:lnTo>
                    <a:lnTo>
                      <a:pt x="44" y="143"/>
                    </a:lnTo>
                    <a:lnTo>
                      <a:pt x="48" y="143"/>
                    </a:lnTo>
                    <a:lnTo>
                      <a:pt x="52" y="143"/>
                    </a:lnTo>
                    <a:lnTo>
                      <a:pt x="56" y="143"/>
                    </a:lnTo>
                    <a:lnTo>
                      <a:pt x="56" y="139"/>
                    </a:lnTo>
                    <a:lnTo>
                      <a:pt x="52" y="135"/>
                    </a:lnTo>
                    <a:lnTo>
                      <a:pt x="48" y="135"/>
                    </a:lnTo>
                    <a:lnTo>
                      <a:pt x="48" y="139"/>
                    </a:lnTo>
                    <a:lnTo>
                      <a:pt x="48" y="135"/>
                    </a:lnTo>
                    <a:lnTo>
                      <a:pt x="44" y="135"/>
                    </a:lnTo>
                    <a:lnTo>
                      <a:pt x="44" y="131"/>
                    </a:lnTo>
                    <a:lnTo>
                      <a:pt x="40" y="131"/>
                    </a:lnTo>
                    <a:lnTo>
                      <a:pt x="40" y="127"/>
                    </a:lnTo>
                    <a:lnTo>
                      <a:pt x="40" y="123"/>
                    </a:lnTo>
                    <a:lnTo>
                      <a:pt x="36" y="123"/>
                    </a:lnTo>
                    <a:lnTo>
                      <a:pt x="36" y="119"/>
                    </a:lnTo>
                    <a:lnTo>
                      <a:pt x="36" y="115"/>
                    </a:lnTo>
                    <a:lnTo>
                      <a:pt x="32" y="115"/>
                    </a:lnTo>
                    <a:lnTo>
                      <a:pt x="32" y="111"/>
                    </a:lnTo>
                    <a:lnTo>
                      <a:pt x="28" y="111"/>
                    </a:lnTo>
                    <a:lnTo>
                      <a:pt x="28" y="107"/>
                    </a:lnTo>
                    <a:lnTo>
                      <a:pt x="24" y="107"/>
                    </a:lnTo>
                    <a:lnTo>
                      <a:pt x="24" y="99"/>
                    </a:lnTo>
                    <a:lnTo>
                      <a:pt x="20" y="99"/>
                    </a:lnTo>
                    <a:lnTo>
                      <a:pt x="20" y="96"/>
                    </a:lnTo>
                    <a:lnTo>
                      <a:pt x="16" y="96"/>
                    </a:lnTo>
                    <a:lnTo>
                      <a:pt x="16" y="92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72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32" y="28"/>
                    </a:lnTo>
                    <a:lnTo>
                      <a:pt x="32" y="24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5" y="0"/>
                    </a:lnTo>
                    <a:lnTo>
                      <a:pt x="75" y="4"/>
                    </a:lnTo>
                    <a:lnTo>
                      <a:pt x="79" y="4"/>
                    </a:lnTo>
                    <a:lnTo>
                      <a:pt x="83" y="4"/>
                    </a:lnTo>
                    <a:lnTo>
                      <a:pt x="87" y="4"/>
                    </a:lnTo>
                    <a:lnTo>
                      <a:pt x="87" y="0"/>
                    </a:lnTo>
                    <a:lnTo>
                      <a:pt x="91" y="4"/>
                    </a:lnTo>
                    <a:lnTo>
                      <a:pt x="95" y="4"/>
                    </a:lnTo>
                    <a:lnTo>
                      <a:pt x="99" y="4"/>
                    </a:lnTo>
                    <a:lnTo>
                      <a:pt x="99" y="8"/>
                    </a:lnTo>
                    <a:lnTo>
                      <a:pt x="95" y="12"/>
                    </a:lnTo>
                    <a:lnTo>
                      <a:pt x="99" y="16"/>
                    </a:lnTo>
                    <a:lnTo>
                      <a:pt x="99" y="20"/>
                    </a:lnTo>
                    <a:lnTo>
                      <a:pt x="95" y="24"/>
                    </a:lnTo>
                    <a:lnTo>
                      <a:pt x="95" y="28"/>
                    </a:lnTo>
                    <a:lnTo>
                      <a:pt x="91" y="32"/>
                    </a:lnTo>
                    <a:lnTo>
                      <a:pt x="95" y="36"/>
                    </a:lnTo>
                    <a:lnTo>
                      <a:pt x="99" y="36"/>
                    </a:lnTo>
                    <a:lnTo>
                      <a:pt x="95" y="36"/>
                    </a:lnTo>
                    <a:lnTo>
                      <a:pt x="91" y="36"/>
                    </a:lnTo>
                    <a:lnTo>
                      <a:pt x="87" y="36"/>
                    </a:lnTo>
                    <a:lnTo>
                      <a:pt x="83" y="36"/>
                    </a:lnTo>
                    <a:lnTo>
                      <a:pt x="79" y="36"/>
                    </a:lnTo>
                    <a:lnTo>
                      <a:pt x="75" y="36"/>
                    </a:lnTo>
                    <a:lnTo>
                      <a:pt x="72" y="36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8"/>
                    </a:lnTo>
                    <a:lnTo>
                      <a:pt x="68" y="48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5" y="52"/>
                    </a:lnTo>
                    <a:lnTo>
                      <a:pt x="75" y="56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8" y="68"/>
                    </a:lnTo>
                    <a:lnTo>
                      <a:pt x="68" y="72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2" y="84"/>
                    </a:lnTo>
                    <a:lnTo>
                      <a:pt x="75" y="84"/>
                    </a:lnTo>
                    <a:lnTo>
                      <a:pt x="79" y="88"/>
                    </a:lnTo>
                    <a:lnTo>
                      <a:pt x="79" y="92"/>
                    </a:lnTo>
                    <a:lnTo>
                      <a:pt x="79" y="88"/>
                    </a:lnTo>
                    <a:lnTo>
                      <a:pt x="83" y="88"/>
                    </a:lnTo>
                    <a:lnTo>
                      <a:pt x="87" y="92"/>
                    </a:lnTo>
                    <a:lnTo>
                      <a:pt x="91" y="92"/>
                    </a:lnTo>
                    <a:lnTo>
                      <a:pt x="91" y="96"/>
                    </a:lnTo>
                    <a:lnTo>
                      <a:pt x="91" y="99"/>
                    </a:lnTo>
                    <a:lnTo>
                      <a:pt x="87" y="99"/>
                    </a:lnTo>
                    <a:lnTo>
                      <a:pt x="87" y="103"/>
                    </a:lnTo>
                    <a:lnTo>
                      <a:pt x="87" y="107"/>
                    </a:lnTo>
                    <a:lnTo>
                      <a:pt x="87" y="111"/>
                    </a:lnTo>
                    <a:lnTo>
                      <a:pt x="87" y="115"/>
                    </a:lnTo>
                    <a:lnTo>
                      <a:pt x="91" y="115"/>
                    </a:lnTo>
                    <a:lnTo>
                      <a:pt x="87" y="115"/>
                    </a:lnTo>
                    <a:lnTo>
                      <a:pt x="87" y="119"/>
                    </a:lnTo>
                    <a:lnTo>
                      <a:pt x="91" y="119"/>
                    </a:lnTo>
                    <a:lnTo>
                      <a:pt x="91" y="123"/>
                    </a:lnTo>
                    <a:lnTo>
                      <a:pt x="95" y="127"/>
                    </a:lnTo>
                    <a:lnTo>
                      <a:pt x="95" y="123"/>
                    </a:lnTo>
                    <a:lnTo>
                      <a:pt x="91" y="119"/>
                    </a:lnTo>
                    <a:lnTo>
                      <a:pt x="95" y="119"/>
                    </a:lnTo>
                    <a:lnTo>
                      <a:pt x="95" y="115"/>
                    </a:lnTo>
                    <a:lnTo>
                      <a:pt x="91" y="115"/>
                    </a:lnTo>
                    <a:lnTo>
                      <a:pt x="95" y="111"/>
                    </a:lnTo>
                    <a:lnTo>
                      <a:pt x="95" y="107"/>
                    </a:lnTo>
                    <a:lnTo>
                      <a:pt x="99" y="107"/>
                    </a:lnTo>
                    <a:lnTo>
                      <a:pt x="103" y="103"/>
                    </a:lnTo>
                    <a:lnTo>
                      <a:pt x="107" y="103"/>
                    </a:lnTo>
                    <a:lnTo>
                      <a:pt x="111" y="107"/>
                    </a:lnTo>
                    <a:lnTo>
                      <a:pt x="111" y="111"/>
                    </a:lnTo>
                    <a:lnTo>
                      <a:pt x="111" y="115"/>
                    </a:lnTo>
                    <a:lnTo>
                      <a:pt x="111" y="119"/>
                    </a:lnTo>
                    <a:lnTo>
                      <a:pt x="115" y="119"/>
                    </a:lnTo>
                    <a:lnTo>
                      <a:pt x="115" y="123"/>
                    </a:lnTo>
                    <a:lnTo>
                      <a:pt x="119" y="123"/>
                    </a:lnTo>
                    <a:lnTo>
                      <a:pt x="123" y="127"/>
                    </a:lnTo>
                    <a:lnTo>
                      <a:pt x="123" y="131"/>
                    </a:lnTo>
                    <a:lnTo>
                      <a:pt x="119" y="131"/>
                    </a:lnTo>
                    <a:lnTo>
                      <a:pt x="115" y="131"/>
                    </a:lnTo>
                    <a:lnTo>
                      <a:pt x="115" y="135"/>
                    </a:lnTo>
                    <a:lnTo>
                      <a:pt x="119" y="135"/>
                    </a:lnTo>
                    <a:lnTo>
                      <a:pt x="115" y="135"/>
                    </a:lnTo>
                    <a:lnTo>
                      <a:pt x="111" y="135"/>
                    </a:lnTo>
                    <a:lnTo>
                      <a:pt x="107" y="135"/>
                    </a:lnTo>
                    <a:lnTo>
                      <a:pt x="107" y="131"/>
                    </a:lnTo>
                    <a:lnTo>
                      <a:pt x="103" y="131"/>
                    </a:lnTo>
                    <a:lnTo>
                      <a:pt x="103" y="135"/>
                    </a:lnTo>
                    <a:lnTo>
                      <a:pt x="103" y="131"/>
                    </a:lnTo>
                    <a:lnTo>
                      <a:pt x="99" y="131"/>
                    </a:lnTo>
                    <a:lnTo>
                      <a:pt x="95" y="131"/>
                    </a:lnTo>
                    <a:lnTo>
                      <a:pt x="95" y="127"/>
                    </a:lnTo>
                    <a:lnTo>
                      <a:pt x="95" y="131"/>
                    </a:lnTo>
                    <a:lnTo>
                      <a:pt x="95" y="135"/>
                    </a:lnTo>
                    <a:lnTo>
                      <a:pt x="91" y="135"/>
                    </a:lnTo>
                    <a:lnTo>
                      <a:pt x="95" y="135"/>
                    </a:lnTo>
                    <a:lnTo>
                      <a:pt x="91" y="135"/>
                    </a:lnTo>
                    <a:lnTo>
                      <a:pt x="91" y="139"/>
                    </a:lnTo>
                    <a:lnTo>
                      <a:pt x="91" y="143"/>
                    </a:lnTo>
                    <a:lnTo>
                      <a:pt x="91" y="147"/>
                    </a:lnTo>
                    <a:lnTo>
                      <a:pt x="91" y="151"/>
                    </a:lnTo>
                    <a:lnTo>
                      <a:pt x="95" y="151"/>
                    </a:lnTo>
                    <a:lnTo>
                      <a:pt x="95" y="155"/>
                    </a:lnTo>
                    <a:lnTo>
                      <a:pt x="95" y="151"/>
                    </a:lnTo>
                    <a:lnTo>
                      <a:pt x="95" y="147"/>
                    </a:lnTo>
                    <a:lnTo>
                      <a:pt x="95" y="151"/>
                    </a:lnTo>
                    <a:lnTo>
                      <a:pt x="99" y="151"/>
                    </a:lnTo>
                    <a:lnTo>
                      <a:pt x="103" y="147"/>
                    </a:lnTo>
                    <a:lnTo>
                      <a:pt x="103" y="151"/>
                    </a:lnTo>
                    <a:lnTo>
                      <a:pt x="103" y="155"/>
                    </a:lnTo>
                    <a:lnTo>
                      <a:pt x="107" y="155"/>
                    </a:lnTo>
                    <a:lnTo>
                      <a:pt x="107" y="159"/>
                    </a:lnTo>
                    <a:lnTo>
                      <a:pt x="103" y="159"/>
                    </a:lnTo>
                    <a:lnTo>
                      <a:pt x="99" y="159"/>
                    </a:lnTo>
                    <a:lnTo>
                      <a:pt x="99" y="155"/>
                    </a:lnTo>
                    <a:lnTo>
                      <a:pt x="99" y="159"/>
                    </a:lnTo>
                    <a:lnTo>
                      <a:pt x="99" y="163"/>
                    </a:lnTo>
                    <a:lnTo>
                      <a:pt x="99" y="167"/>
                    </a:lnTo>
                    <a:lnTo>
                      <a:pt x="99" y="163"/>
                    </a:lnTo>
                    <a:lnTo>
                      <a:pt x="103" y="163"/>
                    </a:lnTo>
                    <a:lnTo>
                      <a:pt x="107" y="167"/>
                    </a:lnTo>
                    <a:lnTo>
                      <a:pt x="111" y="171"/>
                    </a:lnTo>
                    <a:lnTo>
                      <a:pt x="111" y="175"/>
                    </a:lnTo>
                    <a:lnTo>
                      <a:pt x="107" y="175"/>
                    </a:lnTo>
                    <a:lnTo>
                      <a:pt x="107" y="179"/>
                    </a:lnTo>
                    <a:lnTo>
                      <a:pt x="107" y="183"/>
                    </a:lnTo>
                    <a:lnTo>
                      <a:pt x="107" y="187"/>
                    </a:lnTo>
                    <a:lnTo>
                      <a:pt x="107" y="191"/>
                    </a:lnTo>
                    <a:lnTo>
                      <a:pt x="107" y="195"/>
                    </a:lnTo>
                    <a:lnTo>
                      <a:pt x="107" y="199"/>
                    </a:lnTo>
                    <a:lnTo>
                      <a:pt x="111" y="203"/>
                    </a:lnTo>
                    <a:lnTo>
                      <a:pt x="111" y="207"/>
                    </a:lnTo>
                    <a:lnTo>
                      <a:pt x="111" y="211"/>
                    </a:lnTo>
                    <a:lnTo>
                      <a:pt x="111" y="215"/>
                    </a:lnTo>
                    <a:lnTo>
                      <a:pt x="107" y="215"/>
                    </a:lnTo>
                    <a:lnTo>
                      <a:pt x="103" y="215"/>
                    </a:lnTo>
                    <a:lnTo>
                      <a:pt x="107" y="211"/>
                    </a:lnTo>
                    <a:lnTo>
                      <a:pt x="107" y="215"/>
                    </a:lnTo>
                    <a:lnTo>
                      <a:pt x="107" y="211"/>
                    </a:lnTo>
                    <a:lnTo>
                      <a:pt x="111" y="211"/>
                    </a:lnTo>
                    <a:lnTo>
                      <a:pt x="107" y="211"/>
                    </a:lnTo>
                    <a:lnTo>
                      <a:pt x="103" y="211"/>
                    </a:lnTo>
                    <a:lnTo>
                      <a:pt x="99" y="215"/>
                    </a:lnTo>
                    <a:lnTo>
                      <a:pt x="95" y="215"/>
                    </a:lnTo>
                    <a:lnTo>
                      <a:pt x="91" y="215"/>
                    </a:lnTo>
                    <a:lnTo>
                      <a:pt x="87" y="215"/>
                    </a:lnTo>
                    <a:lnTo>
                      <a:pt x="83" y="219"/>
                    </a:lnTo>
                    <a:lnTo>
                      <a:pt x="79" y="219"/>
                    </a:lnTo>
                    <a:lnTo>
                      <a:pt x="75" y="219"/>
                    </a:lnTo>
                    <a:lnTo>
                      <a:pt x="72" y="219"/>
                    </a:lnTo>
                    <a:lnTo>
                      <a:pt x="72" y="215"/>
                    </a:lnTo>
                    <a:lnTo>
                      <a:pt x="68" y="215"/>
                    </a:lnTo>
                    <a:lnTo>
                      <a:pt x="64" y="215"/>
                    </a:lnTo>
                    <a:lnTo>
                      <a:pt x="60" y="211"/>
                    </a:lnTo>
                    <a:lnTo>
                      <a:pt x="56" y="207"/>
                    </a:lnTo>
                    <a:lnTo>
                      <a:pt x="56" y="203"/>
                    </a:lnTo>
                    <a:lnTo>
                      <a:pt x="52" y="203"/>
                    </a:lnTo>
                    <a:lnTo>
                      <a:pt x="48" y="203"/>
                    </a:lnTo>
                    <a:lnTo>
                      <a:pt x="44" y="199"/>
                    </a:lnTo>
                    <a:lnTo>
                      <a:pt x="40" y="199"/>
                    </a:lnTo>
                    <a:lnTo>
                      <a:pt x="36" y="199"/>
                    </a:lnTo>
                    <a:lnTo>
                      <a:pt x="36" y="195"/>
                    </a:lnTo>
                    <a:lnTo>
                      <a:pt x="36" y="191"/>
                    </a:lnTo>
                    <a:lnTo>
                      <a:pt x="32" y="183"/>
                    </a:lnTo>
                    <a:lnTo>
                      <a:pt x="32" y="179"/>
                    </a:lnTo>
                    <a:lnTo>
                      <a:pt x="32" y="175"/>
                    </a:lnTo>
                    <a:lnTo>
                      <a:pt x="36" y="171"/>
                    </a:lnTo>
                    <a:lnTo>
                      <a:pt x="36" y="167"/>
                    </a:lnTo>
                    <a:lnTo>
                      <a:pt x="40" y="167"/>
                    </a:lnTo>
                    <a:lnTo>
                      <a:pt x="36" y="167"/>
                    </a:lnTo>
                    <a:lnTo>
                      <a:pt x="36" y="171"/>
                    </a:lnTo>
                    <a:lnTo>
                      <a:pt x="40" y="171"/>
                    </a:lnTo>
                    <a:lnTo>
                      <a:pt x="40" y="167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07" name="Freeform 208">
                <a:extLst>
                  <a:ext uri="{FF2B5EF4-FFF2-40B4-BE49-F238E27FC236}">
                    <a16:creationId xmlns:a16="http://schemas.microsoft.com/office/drawing/2014/main" id="{EE0BD18F-62D4-D64F-83A9-9C8CB5141389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5907087" y="3275013"/>
                <a:ext cx="88900" cy="120650"/>
              </a:xfrm>
              <a:custGeom>
                <a:avLst/>
                <a:gdLst/>
                <a:ahLst/>
                <a:cxnLst>
                  <a:cxn ang="0">
                    <a:pos x="44" y="20"/>
                  </a:cxn>
                  <a:cxn ang="0">
                    <a:pos x="40" y="24"/>
                  </a:cxn>
                  <a:cxn ang="0">
                    <a:pos x="44" y="28"/>
                  </a:cxn>
                  <a:cxn ang="0">
                    <a:pos x="48" y="24"/>
                  </a:cxn>
                  <a:cxn ang="0">
                    <a:pos x="44" y="28"/>
                  </a:cxn>
                  <a:cxn ang="0">
                    <a:pos x="48" y="36"/>
                  </a:cxn>
                  <a:cxn ang="0">
                    <a:pos x="56" y="36"/>
                  </a:cxn>
                  <a:cxn ang="0">
                    <a:pos x="52" y="40"/>
                  </a:cxn>
                  <a:cxn ang="0">
                    <a:pos x="52" y="44"/>
                  </a:cxn>
                  <a:cxn ang="0">
                    <a:pos x="48" y="48"/>
                  </a:cxn>
                  <a:cxn ang="0">
                    <a:pos x="44" y="52"/>
                  </a:cxn>
                  <a:cxn ang="0">
                    <a:pos x="44" y="52"/>
                  </a:cxn>
                  <a:cxn ang="0">
                    <a:pos x="44" y="60"/>
                  </a:cxn>
                  <a:cxn ang="0">
                    <a:pos x="40" y="56"/>
                  </a:cxn>
                  <a:cxn ang="0">
                    <a:pos x="36" y="60"/>
                  </a:cxn>
                  <a:cxn ang="0">
                    <a:pos x="40" y="64"/>
                  </a:cxn>
                  <a:cxn ang="0">
                    <a:pos x="44" y="68"/>
                  </a:cxn>
                  <a:cxn ang="0">
                    <a:pos x="36" y="72"/>
                  </a:cxn>
                  <a:cxn ang="0">
                    <a:pos x="32" y="68"/>
                  </a:cxn>
                  <a:cxn ang="0">
                    <a:pos x="28" y="72"/>
                  </a:cxn>
                  <a:cxn ang="0">
                    <a:pos x="24" y="76"/>
                  </a:cxn>
                  <a:cxn ang="0">
                    <a:pos x="20" y="72"/>
                  </a:cxn>
                  <a:cxn ang="0">
                    <a:pos x="20" y="68"/>
                  </a:cxn>
                  <a:cxn ang="0">
                    <a:pos x="16" y="64"/>
                  </a:cxn>
                  <a:cxn ang="0">
                    <a:pos x="12" y="68"/>
                  </a:cxn>
                  <a:cxn ang="0">
                    <a:pos x="8" y="64"/>
                  </a:cxn>
                  <a:cxn ang="0">
                    <a:pos x="8" y="64"/>
                  </a:cxn>
                  <a:cxn ang="0">
                    <a:pos x="12" y="68"/>
                  </a:cxn>
                  <a:cxn ang="0">
                    <a:pos x="4" y="68"/>
                  </a:cxn>
                  <a:cxn ang="0">
                    <a:pos x="0" y="64"/>
                  </a:cxn>
                  <a:cxn ang="0">
                    <a:pos x="0" y="56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4" y="32"/>
                  </a:cxn>
                  <a:cxn ang="0">
                    <a:pos x="4" y="24"/>
                  </a:cxn>
                  <a:cxn ang="0">
                    <a:pos x="8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20" y="24"/>
                  </a:cxn>
                  <a:cxn ang="0">
                    <a:pos x="20" y="16"/>
                  </a:cxn>
                  <a:cxn ang="0">
                    <a:pos x="24" y="12"/>
                  </a:cxn>
                  <a:cxn ang="0">
                    <a:pos x="28" y="16"/>
                  </a:cxn>
                  <a:cxn ang="0">
                    <a:pos x="24" y="12"/>
                  </a:cxn>
                  <a:cxn ang="0">
                    <a:pos x="24" y="4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36" y="0"/>
                  </a:cxn>
                  <a:cxn ang="0">
                    <a:pos x="40" y="4"/>
                  </a:cxn>
                  <a:cxn ang="0">
                    <a:pos x="44" y="8"/>
                  </a:cxn>
                  <a:cxn ang="0">
                    <a:pos x="48" y="4"/>
                  </a:cxn>
                  <a:cxn ang="0">
                    <a:pos x="52" y="0"/>
                  </a:cxn>
                  <a:cxn ang="0">
                    <a:pos x="52" y="8"/>
                  </a:cxn>
                  <a:cxn ang="0">
                    <a:pos x="44" y="12"/>
                  </a:cxn>
                  <a:cxn ang="0">
                    <a:pos x="40" y="16"/>
                  </a:cxn>
                </a:cxnLst>
                <a:rect l="0" t="0" r="r" b="b"/>
                <a:pathLst>
                  <a:path w="56" h="76">
                    <a:moveTo>
                      <a:pt x="40" y="16"/>
                    </a:moveTo>
                    <a:lnTo>
                      <a:pt x="44" y="20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40" y="28"/>
                    </a:lnTo>
                    <a:lnTo>
                      <a:pt x="44" y="28"/>
                    </a:lnTo>
                    <a:lnTo>
                      <a:pt x="44" y="24"/>
                    </a:lnTo>
                    <a:lnTo>
                      <a:pt x="48" y="24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8" y="32"/>
                    </a:lnTo>
                    <a:lnTo>
                      <a:pt x="48" y="36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2" y="44"/>
                    </a:lnTo>
                    <a:lnTo>
                      <a:pt x="48" y="44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0" y="68"/>
                    </a:lnTo>
                    <a:lnTo>
                      <a:pt x="36" y="72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28" y="72"/>
                    </a:lnTo>
                    <a:lnTo>
                      <a:pt x="24" y="72"/>
                    </a:lnTo>
                    <a:lnTo>
                      <a:pt x="24" y="76"/>
                    </a:lnTo>
                    <a:lnTo>
                      <a:pt x="24" y="72"/>
                    </a:lnTo>
                    <a:lnTo>
                      <a:pt x="20" y="72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</p:grpSp>
        <p:sp>
          <p:nvSpPr>
            <p:cNvPr id="100" name="Freeform 198">
              <a:extLst>
                <a:ext uri="{FF2B5EF4-FFF2-40B4-BE49-F238E27FC236}">
                  <a16:creationId xmlns:a16="http://schemas.microsoft.com/office/drawing/2014/main" id="{7C99223B-6EB9-AE42-ABB0-D696E91263C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4053" y="5158875"/>
              <a:ext cx="5042" cy="504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1" name="Freeform 265">
              <a:extLst>
                <a:ext uri="{FF2B5EF4-FFF2-40B4-BE49-F238E27FC236}">
                  <a16:creationId xmlns:a16="http://schemas.microsoft.com/office/drawing/2014/main" id="{26FA9CEC-86A4-6248-AE78-E4A9943A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906" y="6185007"/>
              <a:ext cx="1261" cy="504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2" name="Freeform 336">
              <a:extLst>
                <a:ext uri="{FF2B5EF4-FFF2-40B4-BE49-F238E27FC236}">
                  <a16:creationId xmlns:a16="http://schemas.microsoft.com/office/drawing/2014/main" id="{8154BCC1-E392-E84F-98C4-6B52F98641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2175" y="5153833"/>
              <a:ext cx="1261" cy="1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3" name="Freeform 337">
              <a:extLst>
                <a:ext uri="{FF2B5EF4-FFF2-40B4-BE49-F238E27FC236}">
                  <a16:creationId xmlns:a16="http://schemas.microsoft.com/office/drawing/2014/main" id="{030A6F46-EA0F-F742-8720-AA246A775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93094" y="6285856"/>
              <a:ext cx="5042" cy="1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4" name="Freeform 338">
              <a:extLst>
                <a:ext uri="{FF2B5EF4-FFF2-40B4-BE49-F238E27FC236}">
                  <a16:creationId xmlns:a16="http://schemas.microsoft.com/office/drawing/2014/main" id="{0D936ECA-8366-2545-B840-1C4586002A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7373" y="6411916"/>
              <a:ext cx="1261" cy="1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</p:grpSp>
      <p:cxnSp>
        <p:nvCxnSpPr>
          <p:cNvPr id="163" name="Straight Connector 162"/>
          <p:cNvCxnSpPr>
            <a:cxnSpLocks/>
          </p:cNvCxnSpPr>
          <p:nvPr/>
        </p:nvCxnSpPr>
        <p:spPr>
          <a:xfrm flipV="1">
            <a:off x="2001232" y="2624651"/>
            <a:ext cx="1373844" cy="80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>
            <a:cxnSpLocks/>
          </p:cNvCxnSpPr>
          <p:nvPr/>
        </p:nvCxnSpPr>
        <p:spPr>
          <a:xfrm>
            <a:off x="1904626" y="3726225"/>
            <a:ext cx="1470450" cy="9172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/>
          <p:cNvSpPr txBox="1"/>
          <p:nvPr/>
        </p:nvSpPr>
        <p:spPr>
          <a:xfrm>
            <a:off x="9927403" y="3768880"/>
            <a:ext cx="22849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66658"/>
                </a:solidFill>
                <a:effectLst/>
                <a:uLnTx/>
                <a:uFillTx/>
                <a:latin typeface="Lato" panose="020F0502020204030203" pitchFamily="34" charset="0"/>
              </a:rPr>
              <a:t>Surveillance</a:t>
            </a:r>
          </a:p>
        </p:txBody>
      </p:sp>
      <p:pic>
        <p:nvPicPr>
          <p:cNvPr id="182" name="Picture 181"/>
          <p:cNvPicPr>
            <a:picLocks noChangeAspect="1"/>
          </p:cNvPicPr>
          <p:nvPr/>
        </p:nvPicPr>
        <p:blipFill>
          <a:blip r:embed="rId9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0023" y="701476"/>
            <a:ext cx="2233331" cy="167848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3" name="TextBox 182"/>
          <p:cNvSpPr txBox="1"/>
          <p:nvPr/>
        </p:nvSpPr>
        <p:spPr>
          <a:xfrm>
            <a:off x="6197015" y="2379992"/>
            <a:ext cx="3820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66658"/>
                </a:solidFill>
                <a:effectLst/>
                <a:uLnTx/>
                <a:uFillTx/>
                <a:latin typeface="Lato" panose="020F0502020204030203" pitchFamily="34" charset="0"/>
              </a:rPr>
              <a:t>Community Engagement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6570001" y="5797659"/>
            <a:ext cx="3447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66658"/>
                </a:solidFill>
                <a:effectLst/>
                <a:uLnTx/>
                <a:uFillTx/>
                <a:latin typeface="Lato" panose="020F0502020204030203" pitchFamily="34" charset="0"/>
              </a:rPr>
              <a:t>Case Enrollment</a:t>
            </a: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9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293" y="1884477"/>
            <a:ext cx="2215089" cy="197710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7" name="Picture 186"/>
          <p:cNvPicPr>
            <a:picLocks noChangeAspect="1"/>
          </p:cNvPicPr>
          <p:nvPr/>
        </p:nvPicPr>
        <p:blipFill>
          <a:blip r:embed="rId9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8614" y="4622619"/>
            <a:ext cx="3412471" cy="126367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9" name="Circular Arrow 188"/>
          <p:cNvSpPr/>
          <p:nvPr/>
        </p:nvSpPr>
        <p:spPr>
          <a:xfrm rot="1081135">
            <a:off x="6927504" y="1132469"/>
            <a:ext cx="4365346" cy="4593885"/>
          </a:xfrm>
          <a:prstGeom prst="circularArrow">
            <a:avLst>
              <a:gd name="adj1" fmla="val 5194"/>
              <a:gd name="adj2" fmla="val 335470"/>
              <a:gd name="adj3" fmla="val 16867551"/>
              <a:gd name="adj4" fmla="val 15196979"/>
              <a:gd name="adj5" fmla="val 6060"/>
            </a:avLst>
          </a:pr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190" name="Circular Arrow 189"/>
          <p:cNvSpPr/>
          <p:nvPr/>
        </p:nvSpPr>
        <p:spPr>
          <a:xfrm>
            <a:off x="7447963" y="1277355"/>
            <a:ext cx="4365346" cy="4365346"/>
          </a:xfrm>
          <a:prstGeom prst="circularArrow">
            <a:avLst>
              <a:gd name="adj1" fmla="val 5194"/>
              <a:gd name="adj2" fmla="val 335470"/>
              <a:gd name="adj3" fmla="val 4016568"/>
              <a:gd name="adj4" fmla="val 2251715"/>
              <a:gd name="adj5" fmla="val 6060"/>
            </a:avLst>
          </a:pr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75679BF-1909-41DF-B12E-9600F89F4951}"/>
              </a:ext>
            </a:extLst>
          </p:cNvPr>
          <p:cNvGrpSpPr/>
          <p:nvPr/>
        </p:nvGrpSpPr>
        <p:grpSpPr>
          <a:xfrm>
            <a:off x="2729748" y="1059280"/>
            <a:ext cx="5829316" cy="4365346"/>
            <a:chOff x="3460406" y="1246737"/>
            <a:chExt cx="5829316" cy="4365346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8749A6EC-6F2A-4DA7-A3A2-0C73FB6DB68D}"/>
                </a:ext>
              </a:extLst>
            </p:cNvPr>
            <p:cNvSpPr txBox="1"/>
            <p:nvPr/>
          </p:nvSpPr>
          <p:spPr>
            <a:xfrm>
              <a:off x="3460406" y="3933885"/>
              <a:ext cx="498797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i="0" u="none" strike="noStrike" kern="1200" cap="none" spc="0" normalizeH="0" baseline="0" noProof="0" dirty="0">
                  <a:ln>
                    <a:noFill/>
                  </a:ln>
                  <a:solidFill>
                    <a:srgbClr val="366658"/>
                  </a:solidFill>
                  <a:effectLst/>
                  <a:uLnTx/>
                  <a:uFillTx/>
                  <a:latin typeface="Lato" panose="020F0502020204030203" pitchFamily="34" charset="0"/>
                </a:rPr>
                <a:t>Cause of Death Determination</a:t>
              </a:r>
            </a:p>
          </p:txBody>
        </p: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0679B9D5-A5E1-400D-8073-E418E8C447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55234" y="2444237"/>
              <a:ext cx="2875454" cy="1529234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117" name="Circular Arrow 116">
              <a:extLst>
                <a:ext uri="{FF2B5EF4-FFF2-40B4-BE49-F238E27FC236}">
                  <a16:creationId xmlns:a16="http://schemas.microsoft.com/office/drawing/2014/main" id="{25A0323C-A2EA-4040-8B67-25D5CD72601F}"/>
                </a:ext>
              </a:extLst>
            </p:cNvPr>
            <p:cNvSpPr/>
            <p:nvPr/>
          </p:nvSpPr>
          <p:spPr>
            <a:xfrm>
              <a:off x="4924376" y="1246737"/>
              <a:ext cx="4365346" cy="4365346"/>
            </a:xfrm>
            <a:prstGeom prst="circularArrow">
              <a:avLst>
                <a:gd name="adj1" fmla="val 5194"/>
                <a:gd name="adj2" fmla="val 335470"/>
                <a:gd name="adj3" fmla="val 8212815"/>
                <a:gd name="adj4" fmla="val 6447961"/>
                <a:gd name="adj5" fmla="val 6060"/>
              </a:avLst>
            </a:prstGeom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</p:grpSp>
      <p:sp>
        <p:nvSpPr>
          <p:cNvPr id="118" name="Circular Arrow 179">
            <a:extLst>
              <a:ext uri="{FF2B5EF4-FFF2-40B4-BE49-F238E27FC236}">
                <a16:creationId xmlns:a16="http://schemas.microsoft.com/office/drawing/2014/main" id="{EF10F915-567A-4935-9024-C9DDFD15169C}"/>
              </a:ext>
            </a:extLst>
          </p:cNvPr>
          <p:cNvSpPr/>
          <p:nvPr/>
        </p:nvSpPr>
        <p:spPr>
          <a:xfrm rot="19981128">
            <a:off x="4254281" y="1121548"/>
            <a:ext cx="4365346" cy="4365346"/>
          </a:xfrm>
          <a:prstGeom prst="circularArrow">
            <a:avLst>
              <a:gd name="adj1" fmla="val 5194"/>
              <a:gd name="adj2" fmla="val 335470"/>
              <a:gd name="adj3" fmla="val 16867551"/>
              <a:gd name="adj4" fmla="val 15196979"/>
              <a:gd name="adj5" fmla="val 6060"/>
            </a:avLst>
          </a:pr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</p:spTree>
    <p:extLst>
      <p:ext uri="{BB962C8B-B14F-4D97-AF65-F5344CB8AC3E}">
        <p14:creationId xmlns:p14="http://schemas.microsoft.com/office/powerpoint/2010/main" val="345240562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071AEB8-C46E-214E-8177-6E3648F7833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 dirty="0"/>
              <a:t>CHAMPS Case Example 1 </a:t>
            </a:r>
          </a:p>
        </p:txBody>
      </p:sp>
      <p:sp>
        <p:nvSpPr>
          <p:cNvPr id="9" name="Content Placeholder 4">
            <a:extLst>
              <a:ext uri="{FF2B5EF4-FFF2-40B4-BE49-F238E27FC236}">
                <a16:creationId xmlns:a16="http://schemas.microsoft.com/office/drawing/2014/main" id="{CF324EA9-8A0E-4971-B052-BABB7A3E9869}"/>
              </a:ext>
            </a:extLst>
          </p:cNvPr>
          <p:cNvSpPr txBox="1">
            <a:spLocks/>
          </p:cNvSpPr>
          <p:nvPr/>
        </p:nvSpPr>
        <p:spPr>
          <a:xfrm>
            <a:off x="387560" y="1016882"/>
            <a:ext cx="11029615" cy="4270226"/>
          </a:xfrm>
          <a:prstGeom prst="rect">
            <a:avLst/>
          </a:prstGeom>
        </p:spPr>
        <p:txBody>
          <a:bodyPr>
            <a:noAutofit/>
          </a:bodyPr>
          <a:lstStyle>
            <a:lvl1pPr marL="228594" indent="-228594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68578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2pPr>
            <a:lvl3pPr marL="1142971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3pPr>
            <a:lvl4pPr marL="1600160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4pPr>
            <a:lvl5pPr marL="2057349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Courier New" panose="02070309020205020404" pitchFamily="49" charset="0"/>
              <a:buChar char="o"/>
            </a:pPr>
            <a:r>
              <a:rPr lang="en-US" sz="2000" b="1" dirty="0">
                <a:solidFill>
                  <a:srgbClr val="4C9C2E"/>
                </a:solidFill>
                <a:latin typeface="Lato" panose="020F0502020204030203" pitchFamily="34" charset="0"/>
                <a:cs typeface="Calibri" panose="020F0502020204030204" pitchFamily="34" charset="0"/>
              </a:rPr>
              <a:t>Female, Stillbirth</a:t>
            </a:r>
          </a:p>
          <a:p>
            <a:pPr lvl="1"/>
            <a:r>
              <a:rPr lang="en-US" sz="2000" dirty="0">
                <a:latin typeface="Lato" panose="020F0502020204030203" pitchFamily="34" charset="0"/>
                <a:cs typeface="Calibri" panose="020F0502020204030204" pitchFamily="34" charset="0"/>
              </a:rPr>
              <a:t>35 week estimated gestation age (by LMP)</a:t>
            </a:r>
          </a:p>
          <a:p>
            <a:pPr lvl="1"/>
            <a:r>
              <a:rPr lang="en-US" sz="2000" dirty="0">
                <a:latin typeface="Lato" panose="020F0502020204030203" pitchFamily="34" charset="0"/>
                <a:cs typeface="Calibri" panose="020F0502020204030204" pitchFamily="34" charset="0"/>
              </a:rPr>
              <a:t>Weight 3.8 kg</a:t>
            </a:r>
          </a:p>
          <a:p>
            <a:pPr lvl="1">
              <a:buFont typeface="Courier New" panose="02070309020205020404" pitchFamily="49" charset="0"/>
              <a:buChar char="o"/>
            </a:pPr>
            <a:endParaRPr lang="en-US" sz="2000" b="1" dirty="0">
              <a:latin typeface="Lato" panose="020F0502020204030203" pitchFamily="34" charset="0"/>
              <a:cs typeface="Calibri" panose="020F0502020204030204" pitchFamily="34" charset="0"/>
            </a:endParaRP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b="1" dirty="0">
                <a:solidFill>
                  <a:srgbClr val="4C9C2E"/>
                </a:solidFill>
                <a:latin typeface="Lato" panose="020F0502020204030203" pitchFamily="34" charset="0"/>
                <a:cs typeface="Calibri" panose="020F0502020204030204" pitchFamily="34" charset="0"/>
              </a:rPr>
              <a:t>Mother- 20 y/o HIV positive on ART (Dx’ d prior to pregnancy) </a:t>
            </a:r>
          </a:p>
          <a:p>
            <a:pPr lvl="1"/>
            <a:r>
              <a:rPr lang="en-US" sz="2000" dirty="0">
                <a:latin typeface="Lato" panose="020F0502020204030203" pitchFamily="34" charset="0"/>
                <a:cs typeface="Calibri" panose="020F0502020204030204" pitchFamily="34" charset="0"/>
              </a:rPr>
              <a:t>Twin pregnancy</a:t>
            </a:r>
          </a:p>
          <a:p>
            <a:pPr lvl="1"/>
            <a:r>
              <a:rPr lang="en-US" sz="2000" dirty="0">
                <a:latin typeface="Lato" panose="020F0502020204030203" pitchFamily="34" charset="0"/>
                <a:cs typeface="Calibri" panose="020F0502020204030204" pitchFamily="34" charset="0"/>
              </a:rPr>
              <a:t>4 ANC visits</a:t>
            </a:r>
          </a:p>
          <a:p>
            <a:pPr marL="457189" lvl="1" indent="0">
              <a:buNone/>
            </a:pPr>
            <a:endParaRPr lang="en-US" sz="2000" dirty="0">
              <a:latin typeface="Lato" panose="020F0502020204030203" pitchFamily="34" charset="0"/>
              <a:cs typeface="Calibri" panose="020F0502020204030204" pitchFamily="34" charset="0"/>
            </a:endParaRP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>
                <a:latin typeface="Lato" panose="020F0502020204030203" pitchFamily="34" charset="0"/>
                <a:cs typeface="Calibri" panose="020F0502020204030204" pitchFamily="34" charset="0"/>
              </a:rPr>
              <a:t>Post-mortem HIV, malaria and TB testing negative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>
                <a:latin typeface="Lato" panose="020F0502020204030203" pitchFamily="34" charset="0"/>
                <a:cs typeface="Calibri" panose="020F0502020204030204" pitchFamily="34" charset="0"/>
              </a:rPr>
              <a:t>Other twin born alive, APGAR 7/8, weight 2000g. </a:t>
            </a: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>
                <a:latin typeface="Lato" panose="020F0502020204030203" pitchFamily="34" charset="0"/>
                <a:cs typeface="Calibri" panose="020F0502020204030204" pitchFamily="34" charset="0"/>
              </a:rPr>
              <a:t>Condition felt to result in stillbirth:  Obstructed labor</a:t>
            </a:r>
          </a:p>
          <a:p>
            <a:pPr>
              <a:buFont typeface="Courier New" panose="02070309020205020404" pitchFamily="49" charset="0"/>
              <a:buChar char="o"/>
            </a:pPr>
            <a:endParaRPr lang="en-US" sz="2000" b="1" dirty="0">
              <a:latin typeface="Lato" panose="020F0502020204030203" pitchFamily="34" charset="0"/>
              <a:cs typeface="Calibri" panose="020F0502020204030204" pitchFamily="34" charset="0"/>
            </a:endParaRPr>
          </a:p>
          <a:p>
            <a:pPr>
              <a:buFont typeface="Courier New" panose="02070309020205020404" pitchFamily="49" charset="0"/>
              <a:buChar char="o"/>
            </a:pPr>
            <a:r>
              <a:rPr lang="en-US" sz="2000" dirty="0">
                <a:solidFill>
                  <a:prstClr val="black"/>
                </a:solidFill>
                <a:latin typeface="Lato" panose="020F0502020204030203" pitchFamily="34" charset="0"/>
              </a:rPr>
              <a:t>TAC was positive for </a:t>
            </a:r>
            <a:r>
              <a:rPr lang="en-US" sz="2000" i="1" dirty="0">
                <a:solidFill>
                  <a:prstClr val="black"/>
                </a:solidFill>
                <a:latin typeface="Lato" panose="020F0502020204030203" pitchFamily="34" charset="0"/>
              </a:rPr>
              <a:t>Treponema pallidum </a:t>
            </a:r>
            <a:endParaRPr lang="en-US" sz="2000" dirty="0">
              <a:latin typeface="Lato" panose="020F0502020204030203" pitchFamily="34" charset="0"/>
              <a:cs typeface="Calibri" panose="020F0502020204030204" pitchFamily="34" charset="0"/>
            </a:endParaRPr>
          </a:p>
          <a:p>
            <a:pPr>
              <a:buFont typeface="Courier New" panose="02070309020205020404" pitchFamily="49" charset="0"/>
              <a:buChar char="o"/>
            </a:pPr>
            <a:endParaRPr lang="en-US" sz="2000" b="1" dirty="0">
              <a:latin typeface="Lato" panose="020F0502020204030203" pitchFamily="34" charset="0"/>
              <a:cs typeface="Calibri" panose="020F0502020204030204" pitchFamily="34" charset="0"/>
            </a:endParaRPr>
          </a:p>
          <a:p>
            <a:pPr indent="0">
              <a:buFont typeface="Arial" panose="020B0604020202020204" pitchFamily="34" charset="0"/>
              <a:buNone/>
            </a:pPr>
            <a:endParaRPr lang="en-US" sz="2000" b="1" dirty="0">
              <a:latin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9435309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-86205" y="5220704"/>
            <a:ext cx="4450879" cy="448329"/>
          </a:xfrm>
        </p:spPr>
        <p:txBody>
          <a:bodyPr>
            <a:normAutofit fontScale="90000"/>
          </a:bodyPr>
          <a:lstStyle/>
          <a:p>
            <a:pPr algn="ctr"/>
            <a:r>
              <a:rPr lang="en-US" sz="2800" b="0">
                <a:solidFill>
                  <a:schemeClr val="tx1"/>
                </a:solidFill>
                <a:latin typeface="Lato" panose="020F0502020204030203" pitchFamily="34" charset="77"/>
              </a:rPr>
              <a:t>CHAMPS Enrolled (n=(9404)</a:t>
            </a:r>
          </a:p>
        </p:txBody>
      </p:sp>
      <p:graphicFrame>
        <p:nvGraphicFramePr>
          <p:cNvPr id="16" name="Content Placeholder 15">
            <a:extLst>
              <a:ext uri="{FF2B5EF4-FFF2-40B4-BE49-F238E27FC236}">
                <a16:creationId xmlns:a16="http://schemas.microsoft.com/office/drawing/2014/main" id="{AEAE5511-546F-413E-BFB5-6E115936DA1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588494835"/>
              </p:ext>
            </p:extLst>
          </p:nvPr>
        </p:nvGraphicFramePr>
        <p:xfrm>
          <a:off x="-123419" y="1107440"/>
          <a:ext cx="4335689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itle 2"/>
          <p:cNvSpPr txBox="1">
            <a:spLocks/>
          </p:cNvSpPr>
          <p:nvPr/>
        </p:nvSpPr>
        <p:spPr>
          <a:xfrm>
            <a:off x="135073" y="176275"/>
            <a:ext cx="11480309" cy="65709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2800" b="1" kern="1200" cap="all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eaLnBrk="1" hangingPunct="1">
              <a:defRPr>
                <a:solidFill>
                  <a:schemeClr val="tx2"/>
                </a:solidFill>
              </a:defRPr>
            </a:lvl2pPr>
            <a:lvl3pPr eaLnBrk="1" hangingPunct="1">
              <a:defRPr>
                <a:solidFill>
                  <a:schemeClr val="tx2"/>
                </a:solidFill>
              </a:defRPr>
            </a:lvl3pPr>
            <a:lvl4pPr eaLnBrk="1" hangingPunct="1">
              <a:defRPr>
                <a:solidFill>
                  <a:schemeClr val="tx2"/>
                </a:solidFill>
              </a:defRPr>
            </a:lvl4pPr>
            <a:lvl5pPr eaLnBrk="1" hangingPunct="1">
              <a:defRPr>
                <a:solidFill>
                  <a:schemeClr val="tx2"/>
                </a:solidFill>
              </a:defRPr>
            </a:lvl5pPr>
            <a:lvl6pPr eaLnBrk="1" hangingPunct="1">
              <a:defRPr>
                <a:solidFill>
                  <a:schemeClr val="tx2"/>
                </a:solidFill>
              </a:defRPr>
            </a:lvl6pPr>
            <a:lvl7pPr eaLnBrk="1" hangingPunct="1">
              <a:defRPr>
                <a:solidFill>
                  <a:schemeClr val="tx2"/>
                </a:solidFill>
              </a:defRPr>
            </a:lvl7pPr>
            <a:lvl8pPr eaLnBrk="1" hangingPunct="1">
              <a:defRPr>
                <a:solidFill>
                  <a:schemeClr val="tx2"/>
                </a:solidFill>
              </a:defRPr>
            </a:lvl8pPr>
            <a:lvl9pPr eaLnBrk="1" hangingPunct="1">
              <a:defRPr>
                <a:solidFill>
                  <a:schemeClr val="tx2"/>
                </a:solidFill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>
                <a:ln>
                  <a:noFill/>
                </a:ln>
                <a:solidFill>
                  <a:srgbClr val="4C9C2E"/>
                </a:solidFill>
                <a:effectLst/>
                <a:uLnTx/>
                <a:uFillTx/>
                <a:latin typeface="Lato" panose="020F0502020204030203" pitchFamily="34" charset="77"/>
                <a:ea typeface="+mj-ea"/>
                <a:cs typeface="+mj-cs"/>
              </a:rPr>
              <a:t>CHAMPS Deaths Enrolled to Date</a:t>
            </a:r>
          </a:p>
        </p:txBody>
      </p:sp>
      <p:sp>
        <p:nvSpPr>
          <p:cNvPr id="13" name="Title 2">
            <a:extLst>
              <a:ext uri="{FF2B5EF4-FFF2-40B4-BE49-F238E27FC236}">
                <a16:creationId xmlns:a16="http://schemas.microsoft.com/office/drawing/2014/main" id="{4CE66825-8178-8341-B62D-CB78B8891033}"/>
              </a:ext>
            </a:extLst>
          </p:cNvPr>
          <p:cNvSpPr txBox="1">
            <a:spLocks/>
          </p:cNvSpPr>
          <p:nvPr/>
        </p:nvSpPr>
        <p:spPr bwMode="gray">
          <a:xfrm>
            <a:off x="4660570" y="5277460"/>
            <a:ext cx="4127225" cy="431789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j-ea"/>
                <a:cs typeface="+mj-cs"/>
              </a:rPr>
              <a:t>MITS Completed (n=5303)</a:t>
            </a: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488A624D-0961-4E2B-9163-D7A2FACFB856}"/>
              </a:ext>
            </a:extLst>
          </p:cNvPr>
          <p:cNvSpPr txBox="1">
            <a:spLocks/>
          </p:cNvSpPr>
          <p:nvPr/>
        </p:nvSpPr>
        <p:spPr bwMode="gray">
          <a:xfrm>
            <a:off x="8367969" y="5247672"/>
            <a:ext cx="4127225" cy="491363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800" b="1" kern="1200">
                <a:solidFill>
                  <a:schemeClr val="accent2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77"/>
                <a:ea typeface="+mj-ea"/>
                <a:cs typeface="+mj-cs"/>
              </a:rPr>
              <a:t>DeCoDed (n=3667)</a:t>
            </a:r>
          </a:p>
        </p:txBody>
      </p:sp>
      <p:graphicFrame>
        <p:nvGraphicFramePr>
          <p:cNvPr id="17" name="Content Placeholder 15">
            <a:extLst>
              <a:ext uri="{FF2B5EF4-FFF2-40B4-BE49-F238E27FC236}">
                <a16:creationId xmlns:a16="http://schemas.microsoft.com/office/drawing/2014/main" id="{B996CCC7-B42C-42A8-9A71-C747718FC29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219288354"/>
              </p:ext>
            </p:extLst>
          </p:nvPr>
        </p:nvGraphicFramePr>
        <p:xfrm>
          <a:off x="4212270" y="1107440"/>
          <a:ext cx="4335689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8" name="Content Placeholder 15">
            <a:extLst>
              <a:ext uri="{FF2B5EF4-FFF2-40B4-BE49-F238E27FC236}">
                <a16:creationId xmlns:a16="http://schemas.microsoft.com/office/drawing/2014/main" id="{2A137314-E796-4EBA-BC7C-7ECFF75E58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43908593"/>
              </p:ext>
            </p:extLst>
          </p:nvPr>
        </p:nvGraphicFramePr>
        <p:xfrm>
          <a:off x="8159505" y="1087965"/>
          <a:ext cx="4335689" cy="393192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AC3F07FE-FB00-4E7E-9446-81DEFFE8C4F9}"/>
              </a:ext>
            </a:extLst>
          </p:cNvPr>
          <p:cNvSpPr txBox="1"/>
          <p:nvPr/>
        </p:nvSpPr>
        <p:spPr>
          <a:xfrm>
            <a:off x="288397" y="6558588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itchFamily="34" charset="0"/>
              </a:rPr>
              <a:t>SOURCE: CHAMPS data as of 16 September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FF840D-B574-4D55-AF48-F635D395DE76}"/>
              </a:ext>
            </a:extLst>
          </p:cNvPr>
          <p:cNvSpPr txBox="1"/>
          <p:nvPr/>
        </p:nvSpPr>
        <p:spPr>
          <a:xfrm>
            <a:off x="2727129" y="5850377"/>
            <a:ext cx="673774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>
                <a:solidFill>
                  <a:schemeClr val="accent4">
                    <a:lumMod val="75000"/>
                  </a:schemeClr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7% of deaths in CHAMPS catchment population undergo MITS</a:t>
            </a:r>
          </a:p>
        </p:txBody>
      </p:sp>
    </p:spTree>
    <p:extLst>
      <p:ext uri="{BB962C8B-B14F-4D97-AF65-F5344CB8AC3E}">
        <p14:creationId xmlns:p14="http://schemas.microsoft.com/office/powerpoint/2010/main" val="415594186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66E16459-0DC3-944A-A7CD-56F622327A62}"/>
              </a:ext>
            </a:extLst>
          </p:cNvPr>
          <p:cNvSpPr txBox="1">
            <a:spLocks/>
          </p:cNvSpPr>
          <p:nvPr/>
        </p:nvSpPr>
        <p:spPr>
          <a:xfrm>
            <a:off x="288397" y="116552"/>
            <a:ext cx="11353800" cy="54165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b="1" i="0" u="none" strike="noStrike" kern="1200" cap="none" spc="0" normalizeH="0" baseline="0" noProof="0">
                <a:ln>
                  <a:noFill/>
                </a:ln>
                <a:solidFill>
                  <a:srgbClr val="4C9C2E"/>
                </a:solidFill>
                <a:effectLst/>
                <a:uLnTx/>
                <a:uFillTx/>
                <a:latin typeface="Lato" panose="020F0502020204030203" pitchFamily="34" charset="77"/>
                <a:ea typeface="+mj-ea"/>
                <a:cs typeface="Arial" panose="020B0604020202020204" pitchFamily="34" charset="0"/>
              </a:rPr>
              <a:t>Stillbirth Underlying Cause of Death (n=1294)</a:t>
            </a:r>
            <a:endParaRPr kumimoji="0" lang="en-US" sz="2000" b="1" i="0" u="none" strike="noStrike" kern="1200" cap="none" spc="0" normalizeH="0" baseline="0" noProof="0">
              <a:ln>
                <a:noFill/>
              </a:ln>
              <a:solidFill>
                <a:srgbClr val="4C9C2E"/>
              </a:solidFill>
              <a:effectLst/>
              <a:uLnTx/>
              <a:uFillTx/>
              <a:latin typeface="Lato" panose="020F0502020204030203" pitchFamily="34" charset="77"/>
              <a:ea typeface="+mj-ea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8C55090D-9E32-44C2-9695-E9C7C8AEC277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749547173"/>
                  </p:ext>
                </p:extLst>
              </p:nvPr>
            </p:nvGraphicFramePr>
            <p:xfrm>
              <a:off x="144198" y="617846"/>
              <a:ext cx="11903603" cy="5547824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8C55090D-9E32-44C2-9695-E9C7C8AEC27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44198" y="617846"/>
                <a:ext cx="11903603" cy="5547824"/>
              </a:xfrm>
              <a:prstGeom prst="rect">
                <a:avLst/>
              </a:prstGeom>
            </p:spPr>
          </p:pic>
        </mc:Fallback>
      </mc:AlternateContent>
      <p:sp>
        <p:nvSpPr>
          <p:cNvPr id="7" name="TextBox 6">
            <a:extLst>
              <a:ext uri="{FF2B5EF4-FFF2-40B4-BE49-F238E27FC236}">
                <a16:creationId xmlns:a16="http://schemas.microsoft.com/office/drawing/2014/main" id="{BEAF69D3-F75D-46BF-85BF-2B6066D794D0}"/>
              </a:ext>
            </a:extLst>
          </p:cNvPr>
          <p:cNvSpPr txBox="1"/>
          <p:nvPr/>
        </p:nvSpPr>
        <p:spPr>
          <a:xfrm rot="16200000">
            <a:off x="8756082" y="3642788"/>
            <a:ext cx="963725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Other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0F1F986-9E2C-4A2F-8DF0-DDA3994AD326}"/>
              </a:ext>
            </a:extLst>
          </p:cNvPr>
          <p:cNvSpPr txBox="1"/>
          <p:nvPr/>
        </p:nvSpPr>
        <p:spPr>
          <a:xfrm rot="16200000">
            <a:off x="11543817" y="1982224"/>
            <a:ext cx="73096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Syphilis 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0635647-19BF-4B82-8CD2-88B9F35F5D53}"/>
              </a:ext>
            </a:extLst>
          </p:cNvPr>
          <p:cNvSpPr txBox="1"/>
          <p:nvPr/>
        </p:nvSpPr>
        <p:spPr>
          <a:xfrm>
            <a:off x="11185120" y="4961108"/>
            <a:ext cx="5437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BC2FAC7-AAE5-4267-8690-C70BC79731D0}"/>
              </a:ext>
            </a:extLst>
          </p:cNvPr>
          <p:cNvSpPr txBox="1"/>
          <p:nvPr/>
        </p:nvSpPr>
        <p:spPr>
          <a:xfrm>
            <a:off x="9007112" y="2941056"/>
            <a:ext cx="5437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6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A5ADB16-6B64-4351-8517-669D684BC978}"/>
              </a:ext>
            </a:extLst>
          </p:cNvPr>
          <p:cNvSpPr txBox="1"/>
          <p:nvPr/>
        </p:nvSpPr>
        <p:spPr>
          <a:xfrm>
            <a:off x="10671075" y="2286153"/>
            <a:ext cx="5437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9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22216B3-AE8C-444E-8CC9-05C81477365B}"/>
              </a:ext>
            </a:extLst>
          </p:cNvPr>
          <p:cNvSpPr txBox="1"/>
          <p:nvPr/>
        </p:nvSpPr>
        <p:spPr>
          <a:xfrm>
            <a:off x="11192823" y="3637918"/>
            <a:ext cx="543739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7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025D9E0-BB6D-4175-8A55-98EAB806A3CC}"/>
              </a:ext>
            </a:extLst>
          </p:cNvPr>
          <p:cNvSpPr txBox="1"/>
          <p:nvPr/>
        </p:nvSpPr>
        <p:spPr>
          <a:xfrm>
            <a:off x="3684488" y="5278898"/>
            <a:ext cx="692818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73%</a:t>
            </a:r>
          </a:p>
        </p:txBody>
      </p:sp>
      <p:sp>
        <p:nvSpPr>
          <p:cNvPr id="14" name="Explosion 2 13">
            <a:extLst>
              <a:ext uri="{FF2B5EF4-FFF2-40B4-BE49-F238E27FC236}">
                <a16:creationId xmlns:a16="http://schemas.microsoft.com/office/drawing/2014/main" id="{79776F8D-E23B-AA40-1165-916911C694C0}"/>
              </a:ext>
            </a:extLst>
          </p:cNvPr>
          <p:cNvSpPr/>
          <p:nvPr/>
        </p:nvSpPr>
        <p:spPr>
          <a:xfrm>
            <a:off x="1882588" y="1344705"/>
            <a:ext cx="5242818" cy="2592593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83% of stillbirths have only 1 </a:t>
            </a:r>
            <a:r>
              <a:rPr lang="en-US" sz="2400" err="1"/>
              <a:t>CoD</a:t>
            </a:r>
            <a:endParaRPr lang="en-US" sz="24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977729E-FFA8-4B36-975F-FA3BD2DF0786}"/>
              </a:ext>
            </a:extLst>
          </p:cNvPr>
          <p:cNvSpPr txBox="1"/>
          <p:nvPr/>
        </p:nvSpPr>
        <p:spPr>
          <a:xfrm>
            <a:off x="288397" y="6558588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itchFamily="34" charset="0"/>
              </a:rPr>
              <a:t>SOURCE: CHAMPS data as of 16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210158143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4" name="Chart 3">
                <a:extLst>
                  <a:ext uri="{FF2B5EF4-FFF2-40B4-BE49-F238E27FC236}">
                    <a16:creationId xmlns:a16="http://schemas.microsoft.com/office/drawing/2014/main" id="{4977FEDC-7B97-AD47-A044-1787727446A7}"/>
                  </a:ext>
                </a:extLst>
              </p:cNvPr>
              <p:cNvGraphicFramePr/>
              <p:nvPr/>
            </p:nvGraphicFramePr>
            <p:xfrm>
              <a:off x="157647" y="692216"/>
              <a:ext cx="11818453" cy="5492684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4" name="Chart 3">
                <a:extLst>
                  <a:ext uri="{FF2B5EF4-FFF2-40B4-BE49-F238E27FC236}">
                    <a16:creationId xmlns:a16="http://schemas.microsoft.com/office/drawing/2014/main" id="{4977FEDC-7B97-AD47-A044-1787727446A7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157647" y="692216"/>
                <a:ext cx="11818453" cy="5492684"/>
              </a:xfrm>
              <a:prstGeom prst="rect">
                <a:avLst/>
              </a:prstGeom>
            </p:spPr>
          </p:pic>
        </mc:Fallback>
      </mc:AlternateContent>
      <p:sp>
        <p:nvSpPr>
          <p:cNvPr id="5" name="Text Placeholder 7">
            <a:extLst>
              <a:ext uri="{FF2B5EF4-FFF2-40B4-BE49-F238E27FC236}">
                <a16:creationId xmlns:a16="http://schemas.microsoft.com/office/drawing/2014/main" id="{0308A1F2-A1B6-FA49-92DD-48A0F662095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57646" y="393950"/>
            <a:ext cx="11405047" cy="500351"/>
          </a:xfrm>
        </p:spPr>
        <p:txBody>
          <a:bodyPr>
            <a:normAutofit lnSpcReduction="10000"/>
          </a:bodyPr>
          <a:lstStyle/>
          <a:p>
            <a:r>
              <a:rPr lang="en-US">
                <a:latin typeface="Lato" panose="020F0502020204030203"/>
              </a:rPr>
              <a:t>Neonates Underlying Cause of Death (n=1433)</a:t>
            </a: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7" name="Chart 6">
                <a:extLst>
                  <a:ext uri="{FF2B5EF4-FFF2-40B4-BE49-F238E27FC236}">
                    <a16:creationId xmlns:a16="http://schemas.microsoft.com/office/drawing/2014/main" id="{2B555A60-21D5-41CD-BA65-E8EA4CB62DFC}"/>
                  </a:ext>
                </a:extLst>
              </p:cNvPr>
              <p:cNvGraphicFramePr/>
              <p:nvPr/>
            </p:nvGraphicFramePr>
            <p:xfrm>
              <a:off x="157646" y="1081812"/>
              <a:ext cx="11405047" cy="4967200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5"/>
              </a:graphicData>
            </a:graphic>
          </p:graphicFrame>
        </mc:Choice>
        <mc:Fallback xmlns="">
          <p:pic>
            <p:nvPicPr>
              <p:cNvPr id="7" name="Chart 6">
                <a:extLst>
                  <a:ext uri="{FF2B5EF4-FFF2-40B4-BE49-F238E27FC236}">
                    <a16:creationId xmlns:a16="http://schemas.microsoft.com/office/drawing/2014/main" id="{2B555A60-21D5-41CD-BA65-E8EA4CB62DF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6"/>
              <a:stretch>
                <a:fillRect/>
              </a:stretch>
            </p:blipFill>
            <p:spPr>
              <a:xfrm>
                <a:off x="157646" y="1081812"/>
                <a:ext cx="11405047" cy="4967200"/>
              </a:xfrm>
              <a:prstGeom prst="rect">
                <a:avLst/>
              </a:prstGeom>
            </p:spPr>
          </p:pic>
        </mc:Fallback>
      </mc:AlternateContent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6" name="Chart 5">
                <a:extLst>
                  <a:ext uri="{FF2B5EF4-FFF2-40B4-BE49-F238E27FC236}">
                    <a16:creationId xmlns:a16="http://schemas.microsoft.com/office/drawing/2014/main" id="{2B555A60-21D5-41CD-BA65-E8EA4CB62DFC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40474141"/>
                  </p:ext>
                </p:extLst>
              </p:nvPr>
            </p:nvGraphicFramePr>
            <p:xfrm>
              <a:off x="603001" y="1030189"/>
              <a:ext cx="10959693" cy="4967199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7"/>
              </a:graphicData>
            </a:graphic>
          </p:graphicFrame>
        </mc:Choice>
        <mc:Fallback xmlns="">
          <p:pic>
            <p:nvPicPr>
              <p:cNvPr id="6" name="Chart 5">
                <a:extLst>
                  <a:ext uri="{FF2B5EF4-FFF2-40B4-BE49-F238E27FC236}">
                    <a16:creationId xmlns:a16="http://schemas.microsoft.com/office/drawing/2014/main" id="{2B555A60-21D5-41CD-BA65-E8EA4CB62DFC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8"/>
              <a:stretch>
                <a:fillRect/>
              </a:stretch>
            </p:blipFill>
            <p:spPr>
              <a:xfrm>
                <a:off x="603001" y="1030189"/>
                <a:ext cx="10959693" cy="4967199"/>
              </a:xfrm>
              <a:prstGeom prst="rect">
                <a:avLst/>
              </a:prstGeom>
            </p:spPr>
          </p:pic>
        </mc:Fallback>
      </mc:AlternateContent>
      <p:sp>
        <p:nvSpPr>
          <p:cNvPr id="8" name="TextBox 7">
            <a:extLst>
              <a:ext uri="{FF2B5EF4-FFF2-40B4-BE49-F238E27FC236}">
                <a16:creationId xmlns:a16="http://schemas.microsoft.com/office/drawing/2014/main" id="{A9B38818-679E-48F5-9E15-2DA9FA5696A4}"/>
              </a:ext>
            </a:extLst>
          </p:cNvPr>
          <p:cNvSpPr txBox="1"/>
          <p:nvPr/>
        </p:nvSpPr>
        <p:spPr>
          <a:xfrm>
            <a:off x="3936540" y="5329238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36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325EE8A-A3D4-4F72-8034-64F44D5810EF}"/>
              </a:ext>
            </a:extLst>
          </p:cNvPr>
          <p:cNvSpPr txBox="1"/>
          <p:nvPr/>
        </p:nvSpPr>
        <p:spPr>
          <a:xfrm>
            <a:off x="7246478" y="4634167"/>
            <a:ext cx="64008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29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F43652D-AEDA-4C7E-8206-8ABC11298E38}"/>
              </a:ext>
            </a:extLst>
          </p:cNvPr>
          <p:cNvSpPr txBox="1"/>
          <p:nvPr/>
        </p:nvSpPr>
        <p:spPr>
          <a:xfrm>
            <a:off x="8993971" y="3396135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0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9C0FBF8B-8DF9-4BE5-A9EA-1E2541DBC193}"/>
              </a:ext>
            </a:extLst>
          </p:cNvPr>
          <p:cNvSpPr txBox="1"/>
          <p:nvPr/>
        </p:nvSpPr>
        <p:spPr>
          <a:xfrm>
            <a:off x="9941890" y="5187599"/>
            <a:ext cx="4716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8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26D63F8-D575-4819-8969-9D754F99779C}"/>
              </a:ext>
            </a:extLst>
          </p:cNvPr>
          <p:cNvSpPr txBox="1"/>
          <p:nvPr/>
        </p:nvSpPr>
        <p:spPr>
          <a:xfrm>
            <a:off x="10677355" y="1725261"/>
            <a:ext cx="4716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%</a:t>
            </a:r>
          </a:p>
        </p:txBody>
      </p:sp>
      <p:sp>
        <p:nvSpPr>
          <p:cNvPr id="14" name="Explosion 2 13">
            <a:extLst>
              <a:ext uri="{FF2B5EF4-FFF2-40B4-BE49-F238E27FC236}">
                <a16:creationId xmlns:a16="http://schemas.microsoft.com/office/drawing/2014/main" id="{03658467-C66D-F2C0-0CE6-BFD960E7DA4E}"/>
              </a:ext>
            </a:extLst>
          </p:cNvPr>
          <p:cNvSpPr/>
          <p:nvPr/>
        </p:nvSpPr>
        <p:spPr>
          <a:xfrm>
            <a:off x="2350494" y="1627162"/>
            <a:ext cx="4895984" cy="2320893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61% have &gt;1 </a:t>
            </a:r>
            <a:r>
              <a:rPr lang="en-US" sz="2400" err="1"/>
              <a:t>CoD</a:t>
            </a:r>
            <a:r>
              <a:rPr lang="en-US" sz="2400"/>
              <a:t>; 35% have 3+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519DC40-46B2-47D2-9718-1B3B2CBE1F2D}"/>
              </a:ext>
            </a:extLst>
          </p:cNvPr>
          <p:cNvSpPr txBox="1"/>
          <p:nvPr/>
        </p:nvSpPr>
        <p:spPr>
          <a:xfrm>
            <a:off x="288397" y="6558588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itchFamily="34" charset="0"/>
              </a:rPr>
              <a:t>SOURCE: CHAMPS data as of 16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6887551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DBFB0DD-7979-3942-8715-0498A9A6D67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85386" y="1373966"/>
            <a:ext cx="11405047" cy="4110067"/>
          </a:xfrm>
        </p:spPr>
        <p:txBody>
          <a:bodyPr>
            <a:normAutofit/>
          </a:bodyPr>
          <a:lstStyle/>
          <a:p>
            <a:r>
              <a:rPr lang="en-US"/>
              <a:t>78% of stillbirth and 64% of neonatal deaths determined to be related to a maternal condition</a:t>
            </a:r>
          </a:p>
          <a:p>
            <a:r>
              <a:rPr lang="en-US"/>
              <a:t>Most common main maternal conditions </a:t>
            </a:r>
          </a:p>
          <a:p>
            <a:pPr lvl="1"/>
            <a:r>
              <a:rPr lang="en-US" sz="2800"/>
              <a:t>Placental or cord complications (16%)</a:t>
            </a:r>
          </a:p>
          <a:p>
            <a:pPr lvl="1"/>
            <a:r>
              <a:rPr lang="en-US" sz="2800"/>
              <a:t>Maternal hypertension (14%)</a:t>
            </a:r>
          </a:p>
          <a:p>
            <a:pPr lvl="1"/>
            <a:r>
              <a:rPr lang="en-US" sz="2800"/>
              <a:t>Obstructed labor or other labor/delivery complications (14%)</a:t>
            </a:r>
          </a:p>
          <a:p>
            <a:pPr lvl="1"/>
            <a:r>
              <a:rPr lang="en-US" sz="2800"/>
              <a:t>Chorioamnionitis (8%)</a:t>
            </a:r>
          </a:p>
          <a:p>
            <a:pPr lvl="1"/>
            <a:r>
              <a:rPr lang="en-US" sz="2800"/>
              <a:t>Multiple gestation (5%)    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C67D595-7CE0-9045-9373-C5F4A21D905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Autofit/>
          </a:bodyPr>
          <a:lstStyle/>
          <a:p>
            <a:r>
              <a:rPr lang="en-US"/>
              <a:t>Maternal Factors in Stillbirth and Neonatal Death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2686AED-9B6B-4709-8AAE-4C0208EE1CCE}"/>
              </a:ext>
            </a:extLst>
          </p:cNvPr>
          <p:cNvSpPr txBox="1"/>
          <p:nvPr/>
        </p:nvSpPr>
        <p:spPr>
          <a:xfrm>
            <a:off x="288397" y="6558588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itchFamily="34" charset="0"/>
              </a:rPr>
              <a:t>SOURCE: CHAMPS data as of 16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239488930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0774" y="141788"/>
            <a:ext cx="12030451" cy="1024660"/>
          </a:xfrm>
        </p:spPr>
        <p:txBody>
          <a:bodyPr>
            <a:normAutofit/>
          </a:bodyPr>
          <a:lstStyle/>
          <a:p>
            <a:r>
              <a:rPr lang="en-US">
                <a:latin typeface="Lato" panose="020F0502020204030203"/>
              </a:rPr>
              <a:t>Contribution of Respiratory Distress Syndrome in Neonatal Deaths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3CF2DAFB-047D-4764-B7B5-2809ED842FFE}"/>
              </a:ext>
            </a:extLst>
          </p:cNvPr>
          <p:cNvGrpSpPr>
            <a:grpSpLocks noChangeAspect="1"/>
          </p:cNvGrpSpPr>
          <p:nvPr/>
        </p:nvGrpSpPr>
        <p:grpSpPr>
          <a:xfrm>
            <a:off x="6228324" y="1458828"/>
            <a:ext cx="5838707" cy="4196013"/>
            <a:chOff x="1694260" y="0"/>
            <a:chExt cx="8692940" cy="6858000"/>
          </a:xfrm>
        </p:grpSpPr>
        <p:pic>
          <p:nvPicPr>
            <p:cNvPr id="12" name="Picture 11" descr="A close-up of a tree&#10;&#10;Description automatically generated with low confidence">
              <a:extLst>
                <a:ext uri="{FF2B5EF4-FFF2-40B4-BE49-F238E27FC236}">
                  <a16:creationId xmlns:a16="http://schemas.microsoft.com/office/drawing/2014/main" id="{1D70B443-B401-46C7-B666-354FB5B5567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email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1694260" y="0"/>
              <a:ext cx="8692940" cy="6858000"/>
            </a:xfrm>
            <a:prstGeom prst="rect">
              <a:avLst/>
            </a:prstGeom>
          </p:spPr>
        </p:pic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BF9F3D81-9BFB-4245-9337-EBD0E6E32D15}"/>
                </a:ext>
              </a:extLst>
            </p:cNvPr>
            <p:cNvCxnSpPr>
              <a:cxnSpLocks/>
            </p:cNvCxnSpPr>
            <p:nvPr/>
          </p:nvCxnSpPr>
          <p:spPr>
            <a:xfrm>
              <a:off x="4695567" y="1433383"/>
              <a:ext cx="634314" cy="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8375BD87-72BD-455D-82DB-3122D7A66E58}"/>
                </a:ext>
              </a:extLst>
            </p:cNvPr>
            <p:cNvCxnSpPr>
              <a:cxnSpLocks/>
            </p:cNvCxnSpPr>
            <p:nvPr/>
          </p:nvCxnSpPr>
          <p:spPr>
            <a:xfrm>
              <a:off x="3212757" y="5169244"/>
              <a:ext cx="654908" cy="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Arrow Connector 19">
              <a:extLst>
                <a:ext uri="{FF2B5EF4-FFF2-40B4-BE49-F238E27FC236}">
                  <a16:creationId xmlns:a16="http://schemas.microsoft.com/office/drawing/2014/main" id="{90995D69-4CC9-4E21-82A1-9F4F7CBCC148}"/>
                </a:ext>
              </a:extLst>
            </p:cNvPr>
            <p:cNvCxnSpPr>
              <a:cxnSpLocks/>
            </p:cNvCxnSpPr>
            <p:nvPr/>
          </p:nvCxnSpPr>
          <p:spPr>
            <a:xfrm>
              <a:off x="7545859" y="1721708"/>
              <a:ext cx="642552" cy="37070"/>
            </a:xfrm>
            <a:prstGeom prst="straightConnector1">
              <a:avLst/>
            </a:prstGeom>
            <a:ln w="76200"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8A8B81E7-01EA-4F10-9D36-772CBA70F92E}"/>
              </a:ext>
            </a:extLst>
          </p:cNvPr>
          <p:cNvSpPr txBox="1"/>
          <p:nvPr/>
        </p:nvSpPr>
        <p:spPr>
          <a:xfrm>
            <a:off x="132324" y="1458828"/>
            <a:ext cx="5829534" cy="467820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</a:rPr>
              <a:t>Of 1433 neonatal deaths, 43% (</a:t>
            </a:r>
            <a:r>
              <a:rPr lang="en-US" sz="20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n=622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</a:rPr>
              <a:t>) had preterm birth complications in causal chain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/>
              <a:ea typeface="Lato"/>
              <a:cs typeface="Lato"/>
            </a:endParaRPr>
          </a:p>
          <a:p>
            <a:pPr marL="742950" lvl="1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</a:rPr>
              <a:t>Of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</a:rPr>
              <a:t>preterms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</a:rPr>
              <a:t>, 67% had RDS in causal chain</a:t>
            </a:r>
          </a:p>
          <a:p>
            <a:pPr marL="742950" lvl="1" indent="-285750" defTabSz="914400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endParaRPr lang="en-US" sz="2000" dirty="0">
              <a:solidFill>
                <a:srgbClr val="000000"/>
              </a:solidFill>
              <a:latin typeface="Lato"/>
              <a:ea typeface="Lato"/>
              <a:cs typeface="Lato"/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</a:rPr>
              <a:t>Presence of hyaline membranes (</a:t>
            </a:r>
            <a:r>
              <a:rPr lang="en-US" sz="20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Figure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</a:rPr>
              <a:t>) used as definitive diagnosis</a:t>
            </a:r>
          </a:p>
          <a:p>
            <a:pPr marL="285750" indent="-285750" defTabSz="914400">
              <a:buFont typeface="Arial" panose="020B0604020202020204" pitchFamily="34" charset="0"/>
              <a:buChar char="•"/>
              <a:defRPr/>
            </a:pPr>
            <a:endParaRPr lang="en-US" dirty="0">
              <a:cs typeface="Arial" panose="020B0604020202020204"/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/>
                <a:ea typeface="Lato"/>
                <a:cs typeface="Lato"/>
              </a:rPr>
              <a:t>RDS in causal chain of 29% of all neonatal deaths and an additional 2% (32) of neonatal deaths had RDS as contributory condition</a:t>
            </a:r>
            <a:r>
              <a:rPr lang="en-US" sz="20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 </a:t>
            </a:r>
            <a:endParaRPr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defTabSz="914400">
              <a:defRPr/>
            </a:pPr>
            <a:endParaRPr lang="en-US" sz="2000" dirty="0">
              <a:solidFill>
                <a:srgbClr val="000000"/>
              </a:solidFill>
              <a:latin typeface="Lato"/>
              <a:ea typeface="Lato"/>
              <a:cs typeface="Lato"/>
            </a:endParaRPr>
          </a:p>
          <a:p>
            <a:pPr marL="285750" indent="-285750" defTabSz="914400">
              <a:buFont typeface="Arial" panose="020B0604020202020204" pitchFamily="34" charset="0"/>
              <a:buChar char="•"/>
              <a:defRPr/>
            </a:pPr>
            <a:r>
              <a:rPr lang="en-US" sz="2000" dirty="0">
                <a:solidFill>
                  <a:srgbClr val="000000"/>
                </a:solidFill>
                <a:latin typeface="Lato"/>
                <a:ea typeface="Lato"/>
                <a:cs typeface="Lato"/>
              </a:rPr>
              <a:t>Most hospitals in CHAMPS sites lack needed respiratory equipment and surfactant to support preterm infants</a:t>
            </a:r>
            <a:endParaRPr lang="en-US" sz="2000" dirty="0">
              <a:solidFill>
                <a:srgbClr val="000000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6C768F3-192F-43C7-9302-5DF17634BB8C}"/>
              </a:ext>
            </a:extLst>
          </p:cNvPr>
          <p:cNvSpPr txBox="1"/>
          <p:nvPr/>
        </p:nvSpPr>
        <p:spPr>
          <a:xfrm>
            <a:off x="6471904" y="5697614"/>
            <a:ext cx="3544560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* Arrows indicate hyaline membran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8E1813-FE54-4008-882A-B5210354F4BF}"/>
              </a:ext>
            </a:extLst>
          </p:cNvPr>
          <p:cNvSpPr txBox="1"/>
          <p:nvPr/>
        </p:nvSpPr>
        <p:spPr>
          <a:xfrm>
            <a:off x="288397" y="6558588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itchFamily="34" charset="0"/>
              </a:rPr>
              <a:t>SOURCE: CHAMPS data as of 16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2656240463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E0618CD0-63FD-EF41-935C-053DA8A389C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/>
              <a:t>CHAMPS methods</a:t>
            </a:r>
          </a:p>
          <a:p>
            <a:r>
              <a:rPr lang="en-US" dirty="0"/>
              <a:t>CHAMPS key findings for action</a:t>
            </a:r>
          </a:p>
          <a:p>
            <a:r>
              <a:rPr lang="en-US" dirty="0"/>
              <a:t>Using CHAMPS findings to improve maternal deaths &amp; prevent child deaths (Data-to-action)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0E9F36-F354-9141-96F2-0CB428AB09D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>
            <a:normAutofit/>
          </a:bodyPr>
          <a:lstStyle/>
          <a:p>
            <a:r>
              <a:rPr lang="en-US" sz="4400" dirty="0"/>
              <a:t>Presentation outline</a:t>
            </a:r>
          </a:p>
        </p:txBody>
      </p:sp>
    </p:spTree>
    <p:extLst>
      <p:ext uri="{BB962C8B-B14F-4D97-AF65-F5344CB8AC3E}">
        <p14:creationId xmlns:p14="http://schemas.microsoft.com/office/powerpoint/2010/main" val="387559545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AB1060F-8B08-4BE5-94B2-91FF4B79513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09287" y="250364"/>
            <a:ext cx="2701329" cy="2873105"/>
          </a:xfrm>
        </p:spPr>
        <p:txBody>
          <a:bodyPr/>
          <a:lstStyle/>
          <a:p>
            <a:r>
              <a:rPr lang="en-US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eonatal Sepsis Etiologies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EF425BE-6938-42C3-83B5-CFD0036ACF61}"/>
              </a:ext>
            </a:extLst>
          </p:cNvPr>
          <p:cNvSpPr txBox="1"/>
          <p:nvPr/>
        </p:nvSpPr>
        <p:spPr>
          <a:xfrm>
            <a:off x="109287" y="6665519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itchFamily="34" charset="0"/>
              </a:rPr>
              <a:t>SOURCE: CHAMPS data as of 19 August 2022</a:t>
            </a:r>
          </a:p>
        </p:txBody>
      </p:sp>
      <p:pic>
        <p:nvPicPr>
          <p:cNvPr id="4" name="Picture 3" descr="Chart, bar chart&#10;&#10;Description automatically generated">
            <a:extLst>
              <a:ext uri="{FF2B5EF4-FFF2-40B4-BE49-F238E27FC236}">
                <a16:creationId xmlns:a16="http://schemas.microsoft.com/office/drawing/2014/main" id="{48B8F169-999C-4688-88A8-B0F90475F8B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4482" y="270"/>
            <a:ext cx="8791460" cy="6837803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514BBEB-8CB7-40D8-81DB-7B24222994E5}"/>
              </a:ext>
            </a:extLst>
          </p:cNvPr>
          <p:cNvSpPr txBox="1"/>
          <p:nvPr/>
        </p:nvSpPr>
        <p:spPr>
          <a:xfrm>
            <a:off x="352379" y="2481634"/>
            <a:ext cx="2696931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i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Klebsiella pneumoniae </a:t>
            </a:r>
            <a:r>
              <a:rPr lang="en-US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nd </a:t>
            </a:r>
            <a:r>
              <a:rPr lang="en-US" i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cinetobacter baumannii </a:t>
            </a:r>
            <a:r>
              <a:rPr lang="en-US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re the top etiologies in neonatal sepsis deaths </a:t>
            </a:r>
          </a:p>
        </p:txBody>
      </p:sp>
    </p:spTree>
    <p:extLst>
      <p:ext uri="{BB962C8B-B14F-4D97-AF65-F5344CB8AC3E}">
        <p14:creationId xmlns:p14="http://schemas.microsoft.com/office/powerpoint/2010/main" val="345615936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8F28D728-F5A7-44A8-81AD-6E89EB5381DE}"/>
              </a:ext>
            </a:extLst>
          </p:cNvPr>
          <p:cNvSpPr txBox="1">
            <a:spLocks noGrp="1"/>
          </p:cNvSpPr>
          <p:nvPr>
            <p:ph type="body" sz="quarter" idx="11"/>
          </p:nvPr>
        </p:nvSpPr>
        <p:spPr>
          <a:xfrm>
            <a:off x="289560" y="47784"/>
            <a:ext cx="9862119" cy="100171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3200" i="0" u="none" strike="noStrike" kern="1200" cap="none" spc="0" normalizeH="0" baseline="0" noProof="0">
                <a:ln>
                  <a:noFill/>
                </a:ln>
                <a:solidFill>
                  <a:srgbClr val="4C9C2E"/>
                </a:solidFill>
                <a:effectLst/>
                <a:uLnTx/>
                <a:uFillTx/>
                <a:latin typeface="Lato" panose="020F0502020204030203" pitchFamily="34" charset="77"/>
                <a:ea typeface="+mj-ea"/>
                <a:cs typeface="Arial" panose="020B0604020202020204" pitchFamily="34" charset="0"/>
              </a:rPr>
              <a:t>Infant/Child Underlying Cause of Death (n=940)</a:t>
            </a:r>
            <a:endParaRPr kumimoji="0" lang="en-US" sz="2000" i="0" u="none" strike="noStrike" kern="1200" cap="none" spc="0" normalizeH="0" baseline="0" noProof="0">
              <a:ln>
                <a:noFill/>
              </a:ln>
              <a:solidFill>
                <a:srgbClr val="4C9C2E"/>
              </a:solidFill>
              <a:effectLst/>
              <a:uLnTx/>
              <a:uFillTx/>
              <a:latin typeface="Lato" panose="020F0502020204030203" pitchFamily="34" charset="77"/>
              <a:ea typeface="+mj-ea"/>
              <a:cs typeface="Arial" panose="020B0604020202020204" pitchFamily="34" charset="0"/>
            </a:endParaRPr>
          </a:p>
        </p:txBody>
      </p:sp>
      <mc:AlternateContent xmlns:mc="http://schemas.openxmlformats.org/markup-compatibility/2006" xmlns:cx1="http://schemas.microsoft.com/office/drawing/2015/9/8/chartex">
        <mc:Choice Requires="cx1">
          <p:graphicFrame>
            <p:nvGraphicFramePr>
              <p:cNvPr id="5" name="Chart 4">
                <a:extLst>
                  <a:ext uri="{FF2B5EF4-FFF2-40B4-BE49-F238E27FC236}">
                    <a16:creationId xmlns:a16="http://schemas.microsoft.com/office/drawing/2014/main" id="{020F68D8-4BF5-48F5-94A6-E3DD8DFFF188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3746146150"/>
                  </p:ext>
                </p:extLst>
              </p:nvPr>
            </p:nvGraphicFramePr>
            <p:xfrm>
              <a:off x="515471" y="739589"/>
              <a:ext cx="11161058" cy="5177116"/>
            </p:xfrm>
            <a:graphic>
              <a:graphicData uri="http://schemas.microsoft.com/office/drawing/2014/chartex">
                <cx:chart xmlns:cx="http://schemas.microsoft.com/office/drawing/2014/chartex" xmlns:r="http://schemas.openxmlformats.org/officeDocument/2006/relationships" r:id="rId3"/>
              </a:graphicData>
            </a:graphic>
          </p:graphicFrame>
        </mc:Choice>
        <mc:Fallback xmlns="">
          <p:pic>
            <p:nvPicPr>
              <p:cNvPr id="5" name="Chart 4">
                <a:extLst>
                  <a:ext uri="{FF2B5EF4-FFF2-40B4-BE49-F238E27FC236}">
                    <a16:creationId xmlns:a16="http://schemas.microsoft.com/office/drawing/2014/main" id="{020F68D8-4BF5-48F5-94A6-E3DD8DFFF188}"/>
                  </a:ext>
                </a:extLst>
              </p:cNvPr>
              <p:cNvPicPr>
                <a:picLocks noGrp="1" noRot="1" noChangeAspect="1" noMove="1" noResize="1" noEditPoints="1" noAdjustHandles="1" noChangeArrowheads="1" noChangeShapeType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515471" y="739589"/>
                <a:ext cx="11161058" cy="5177116"/>
              </a:xfrm>
              <a:prstGeom prst="rect">
                <a:avLst/>
              </a:prstGeom>
            </p:spPr>
          </p:pic>
        </mc:Fallback>
      </mc:AlternateContent>
      <p:sp>
        <p:nvSpPr>
          <p:cNvPr id="6" name="TextBox 5">
            <a:extLst>
              <a:ext uri="{FF2B5EF4-FFF2-40B4-BE49-F238E27FC236}">
                <a16:creationId xmlns:a16="http://schemas.microsoft.com/office/drawing/2014/main" id="{0486595E-54AF-4D21-8E20-A7CEFE92184C}"/>
              </a:ext>
            </a:extLst>
          </p:cNvPr>
          <p:cNvSpPr txBox="1"/>
          <p:nvPr/>
        </p:nvSpPr>
        <p:spPr>
          <a:xfrm>
            <a:off x="1553357" y="3259723"/>
            <a:ext cx="590226" cy="33855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/>
                <a:ea typeface="Lato"/>
                <a:cs typeface="Lato"/>
              </a:rPr>
              <a:t>12%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25D1699-57A3-4C88-A151-6189C7883E01}"/>
              </a:ext>
            </a:extLst>
          </p:cNvPr>
          <p:cNvSpPr txBox="1"/>
          <p:nvPr/>
        </p:nvSpPr>
        <p:spPr>
          <a:xfrm>
            <a:off x="1258244" y="5457298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1%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6F2764D-65DB-4884-A65E-B1BB406FCBAA}"/>
              </a:ext>
            </a:extLst>
          </p:cNvPr>
          <p:cNvSpPr txBox="1"/>
          <p:nvPr/>
        </p:nvSpPr>
        <p:spPr>
          <a:xfrm>
            <a:off x="3936540" y="3052834"/>
            <a:ext cx="4716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8%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108F20B-FC49-4930-882B-C3020941A96A}"/>
              </a:ext>
            </a:extLst>
          </p:cNvPr>
          <p:cNvSpPr txBox="1"/>
          <p:nvPr/>
        </p:nvSpPr>
        <p:spPr>
          <a:xfrm>
            <a:off x="5247659" y="2975269"/>
            <a:ext cx="4716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6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6430CBA-0726-4573-BD4E-F3B0D3FF700E}"/>
              </a:ext>
            </a:extLst>
          </p:cNvPr>
          <p:cNvSpPr txBox="1"/>
          <p:nvPr/>
        </p:nvSpPr>
        <p:spPr>
          <a:xfrm>
            <a:off x="3582116" y="5225449"/>
            <a:ext cx="4716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4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A744EA6-A93C-47FE-AACB-94EAE8AECD31}"/>
              </a:ext>
            </a:extLst>
          </p:cNvPr>
          <p:cNvSpPr txBox="1"/>
          <p:nvPr/>
        </p:nvSpPr>
        <p:spPr>
          <a:xfrm>
            <a:off x="10026070" y="3002981"/>
            <a:ext cx="590226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/>
                <a:ea typeface="Lato"/>
                <a:cs typeface="Lato"/>
              </a:rPr>
              <a:t>9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EF03F85-3FEE-4C69-9F57-AA7D1840CE95}"/>
              </a:ext>
            </a:extLst>
          </p:cNvPr>
          <p:cNvSpPr txBox="1"/>
          <p:nvPr/>
        </p:nvSpPr>
        <p:spPr>
          <a:xfrm>
            <a:off x="9856566" y="3650348"/>
            <a:ext cx="590226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17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FFD7B39C-3E33-4BAB-A54C-29CD67F1551C}"/>
              </a:ext>
            </a:extLst>
          </p:cNvPr>
          <p:cNvSpPr txBox="1"/>
          <p:nvPr/>
        </p:nvSpPr>
        <p:spPr>
          <a:xfrm>
            <a:off x="10456659" y="4613606"/>
            <a:ext cx="47160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6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667555-BC9B-4D27-BE9D-43AEB7A1133D}"/>
              </a:ext>
            </a:extLst>
          </p:cNvPr>
          <p:cNvSpPr txBox="1"/>
          <p:nvPr/>
        </p:nvSpPr>
        <p:spPr>
          <a:xfrm>
            <a:off x="10135181" y="5474688"/>
            <a:ext cx="471604" cy="338554"/>
          </a:xfrm>
          <a:prstGeom prst="rect">
            <a:avLst/>
          </a:prstGeom>
          <a:noFill/>
        </p:spPr>
        <p:txBody>
          <a:bodyPr wrap="non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/>
                <a:ea typeface="Lato"/>
                <a:cs typeface="Lato"/>
              </a:rPr>
              <a:t>4%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A5EAB60-E17E-21AD-6CA3-DD1ED4AADF82}"/>
              </a:ext>
            </a:extLst>
          </p:cNvPr>
          <p:cNvSpPr txBox="1"/>
          <p:nvPr/>
        </p:nvSpPr>
        <p:spPr>
          <a:xfrm>
            <a:off x="7272834" y="4232778"/>
            <a:ext cx="590226" cy="33855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600" b="1">
                <a:solidFill>
                  <a:schemeClr val="bg1"/>
                </a:solidFill>
                <a:latin typeface="Lato"/>
                <a:ea typeface="Lato"/>
                <a:cs typeface="Lato"/>
              </a:rPr>
              <a:t>18%</a:t>
            </a:r>
          </a:p>
        </p:txBody>
      </p:sp>
      <p:sp>
        <p:nvSpPr>
          <p:cNvPr id="17" name="Explosion 2 16">
            <a:extLst>
              <a:ext uri="{FF2B5EF4-FFF2-40B4-BE49-F238E27FC236}">
                <a16:creationId xmlns:a16="http://schemas.microsoft.com/office/drawing/2014/main" id="{C24E949E-29D4-78CB-A197-627C90C006DC}"/>
              </a:ext>
            </a:extLst>
          </p:cNvPr>
          <p:cNvSpPr/>
          <p:nvPr/>
        </p:nvSpPr>
        <p:spPr>
          <a:xfrm>
            <a:off x="5109824" y="920208"/>
            <a:ext cx="4916246" cy="2409713"/>
          </a:xfrm>
          <a:prstGeom prst="irregularSeal2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/>
              <a:t>73% have &gt;1 </a:t>
            </a:r>
            <a:r>
              <a:rPr lang="en-US" sz="2400" err="1"/>
              <a:t>CoD</a:t>
            </a:r>
            <a:r>
              <a:rPr lang="en-US" sz="2400"/>
              <a:t>; 44% have 3+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0E72232-6589-412B-B62E-B3435B925FF7}"/>
              </a:ext>
            </a:extLst>
          </p:cNvPr>
          <p:cNvSpPr txBox="1"/>
          <p:nvPr/>
        </p:nvSpPr>
        <p:spPr>
          <a:xfrm>
            <a:off x="288397" y="6558588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itchFamily="34" charset="0"/>
              </a:rPr>
              <a:t>SOURCE: CHAMPS data as of 16 September 2022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0EAA169-C306-4EF7-8450-EB4109CAEB0F}"/>
              </a:ext>
            </a:extLst>
          </p:cNvPr>
          <p:cNvSpPr txBox="1"/>
          <p:nvPr/>
        </p:nvSpPr>
        <p:spPr>
          <a:xfrm>
            <a:off x="8784672" y="2660219"/>
            <a:ext cx="1662120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>
                <a:solidFill>
                  <a:schemeClr val="bg1"/>
                </a:solidFill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ongenital birth defects</a:t>
            </a:r>
          </a:p>
        </p:txBody>
      </p:sp>
    </p:spTree>
    <p:extLst>
      <p:ext uri="{BB962C8B-B14F-4D97-AF65-F5344CB8AC3E}">
        <p14:creationId xmlns:p14="http://schemas.microsoft.com/office/powerpoint/2010/main" val="21083667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9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379FD-8A90-4348-B491-96630646C1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6490" y="49234"/>
            <a:ext cx="11216640" cy="603118"/>
          </a:xfrm>
        </p:spPr>
        <p:txBody>
          <a:bodyPr>
            <a:normAutofit/>
          </a:bodyPr>
          <a:lstStyle/>
          <a:p>
            <a:r>
              <a:rPr lang="en-US" b="1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laria in U5 Mortality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AEE1FF76-F7F9-4133-B6BF-F8C7FDC09B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53244472"/>
              </p:ext>
            </p:extLst>
          </p:nvPr>
        </p:nvGraphicFramePr>
        <p:xfrm>
          <a:off x="99992" y="757632"/>
          <a:ext cx="5639234" cy="2353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578754">
                  <a:extLst>
                    <a:ext uri="{9D8B030D-6E8A-4147-A177-3AD203B41FA5}">
                      <a16:colId xmlns:a16="http://schemas.microsoft.com/office/drawing/2014/main" val="433025566"/>
                    </a:ext>
                  </a:extLst>
                </a:gridCol>
                <a:gridCol w="1019907">
                  <a:extLst>
                    <a:ext uri="{9D8B030D-6E8A-4147-A177-3AD203B41FA5}">
                      <a16:colId xmlns:a16="http://schemas.microsoft.com/office/drawing/2014/main" val="850798541"/>
                    </a:ext>
                  </a:extLst>
                </a:gridCol>
                <a:gridCol w="1076838">
                  <a:extLst>
                    <a:ext uri="{9D8B030D-6E8A-4147-A177-3AD203B41FA5}">
                      <a16:colId xmlns:a16="http://schemas.microsoft.com/office/drawing/2014/main" val="112411191"/>
                    </a:ext>
                  </a:extLst>
                </a:gridCol>
                <a:gridCol w="1026366">
                  <a:extLst>
                    <a:ext uri="{9D8B030D-6E8A-4147-A177-3AD203B41FA5}">
                      <a16:colId xmlns:a16="http://schemas.microsoft.com/office/drawing/2014/main" val="492650272"/>
                    </a:ext>
                  </a:extLst>
                </a:gridCol>
                <a:gridCol w="937369">
                  <a:extLst>
                    <a:ext uri="{9D8B030D-6E8A-4147-A177-3AD203B41FA5}">
                      <a16:colId xmlns:a16="http://schemas.microsoft.com/office/drawing/2014/main" val="2993939540"/>
                    </a:ext>
                  </a:extLst>
                </a:gridCol>
              </a:tblGrid>
              <a:tr h="625772"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Age Group</a:t>
                      </a:r>
                      <a:endParaRPr lang="en-US" sz="180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KE (n=262)</a:t>
                      </a:r>
                      <a:endParaRPr lang="en-US" sz="180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MZ (n=156)</a:t>
                      </a:r>
                      <a:endParaRPr lang="en-US" sz="180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SL</a:t>
                      </a:r>
                    </a:p>
                    <a:p>
                      <a:pPr algn="ctr"/>
                      <a:r>
                        <a:rPr lang="en-US" sz="1800"/>
                        <a:t>(n=196)</a:t>
                      </a:r>
                      <a:endParaRPr lang="en-US" sz="180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Total*</a:t>
                      </a:r>
                    </a:p>
                    <a:p>
                      <a:pPr algn="ctr"/>
                      <a:r>
                        <a:rPr lang="en-US" sz="1800"/>
                        <a:t>(n=614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5110549"/>
                  </a:ext>
                </a:extLst>
              </a:tr>
              <a:tr h="411692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u="none" strike="noStrike">
                          <a:effectLst/>
                        </a:rPr>
                        <a:t>Infants (n=283)</a:t>
                      </a:r>
                      <a:endParaRPr lang="en-US" sz="1800" b="1" i="0" u="none" strike="noStrike">
                        <a:solidFill>
                          <a:srgbClr val="000000"/>
                        </a:solidFill>
                        <a:effectLst/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33</a:t>
                      </a:r>
                      <a:endParaRPr lang="en-US" sz="180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4</a:t>
                      </a:r>
                      <a:endParaRPr lang="en-US" sz="180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19</a:t>
                      </a:r>
                      <a:endParaRPr lang="en-US" sz="180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/>
                        <a:t>56</a:t>
                      </a:r>
                      <a:endParaRPr lang="en-US" sz="1800" b="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843818667"/>
                  </a:ext>
                </a:extLst>
              </a:tr>
              <a:tr h="386991">
                <a:tc>
                  <a:txBody>
                    <a:bodyPr/>
                    <a:lstStyle/>
                    <a:p>
                      <a:pPr marL="0" marR="0" lvl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800" u="none" strike="noStrike">
                          <a:effectLst/>
                        </a:rPr>
                        <a:t>Child (n=331)</a:t>
                      </a:r>
                      <a:endParaRPr lang="en-US" sz="1800" b="1" i="0" u="none" strike="noStrike">
                        <a:solidFill>
                          <a:schemeClr val="tx1"/>
                        </a:solidFill>
                        <a:effectLst/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>
                          <a:latin typeface="Lato" panose="020F0502020204030203"/>
                          <a:cs typeface="Calibri" panose="020F0502020204030204" pitchFamily="34" charset="0"/>
                        </a:rPr>
                        <a:t>5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22</a:t>
                      </a:r>
                      <a:endParaRPr lang="en-US" sz="180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/>
                        <a:t>66</a:t>
                      </a:r>
                      <a:endParaRPr lang="en-US" sz="180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0"/>
                        <a:t>140</a:t>
                      </a:r>
                      <a:endParaRPr lang="en-US" sz="1800" b="0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67693516"/>
                  </a:ext>
                </a:extLst>
              </a:tr>
              <a:tr h="584602">
                <a:tc>
                  <a:txBody>
                    <a:bodyPr/>
                    <a:lstStyle/>
                    <a:p>
                      <a:pPr algn="l" fontAlgn="b"/>
                      <a:r>
                        <a:rPr lang="en-US" sz="1800" b="1" u="none" strike="noStrike">
                          <a:effectLst/>
                        </a:rPr>
                        <a:t>TOTAL n=614 (%)</a:t>
                      </a:r>
                      <a:endParaRPr lang="en-US" sz="1800" b="1" i="0" u="none" strike="noStrike">
                        <a:solidFill>
                          <a:schemeClr val="accent1">
                            <a:lumMod val="75000"/>
                          </a:schemeClr>
                        </a:solidFill>
                        <a:effectLst/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85 (32%)</a:t>
                      </a:r>
                      <a:endParaRPr lang="en-US" sz="1800" b="1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26 (17%)</a:t>
                      </a:r>
                      <a:endParaRPr lang="en-US" sz="1800" b="1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85 (43%)</a:t>
                      </a:r>
                      <a:endParaRPr lang="en-US" sz="1800" b="1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800" b="1"/>
                        <a:t>196 (32%)</a:t>
                      </a:r>
                      <a:endParaRPr lang="en-US" sz="1800" b="1">
                        <a:latin typeface="Lato" panose="020F0502020204030203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1474810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4D011CF6-683D-4176-AD9F-43ABFB4582C5}"/>
              </a:ext>
            </a:extLst>
          </p:cNvPr>
          <p:cNvSpPr txBox="1"/>
          <p:nvPr/>
        </p:nvSpPr>
        <p:spPr>
          <a:xfrm>
            <a:off x="129987" y="3284886"/>
            <a:ext cx="3961757" cy="95410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400">
                <a:latin typeface="Lato"/>
                <a:ea typeface="Lato"/>
                <a:cs typeface="Lato"/>
              </a:rPr>
              <a:t>No malaria deaths in Bangladesh and South Africa; few (1 and 3, respectively) in Ethiopia and Mali; </a:t>
            </a:r>
            <a:endParaRPr lang="en-US">
              <a:latin typeface="Lato"/>
              <a:ea typeface="Lato"/>
              <a:cs typeface="Lato"/>
            </a:endParaRPr>
          </a:p>
          <a:p>
            <a:r>
              <a:rPr lang="en-US" sz="1400">
                <a:latin typeface="Lato"/>
                <a:ea typeface="Lato"/>
                <a:cs typeface="Lato"/>
              </a:rPr>
              <a:t>No malaria deaths in neonates</a:t>
            </a:r>
            <a:endParaRPr lang="en-US">
              <a:latin typeface="Lato"/>
              <a:ea typeface="Lato"/>
              <a:cs typeface="Lato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CB8F7F-F8E2-4801-A4FD-2E7569CE6819}"/>
              </a:ext>
            </a:extLst>
          </p:cNvPr>
          <p:cNvSpPr txBox="1"/>
          <p:nvPr/>
        </p:nvSpPr>
        <p:spPr>
          <a:xfrm>
            <a:off x="129901" y="6675140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 defTabSz="914400"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9D90A0"/>
                </a:solidFill>
                <a:effectLst/>
                <a:uLnTx/>
                <a:uFillTx/>
                <a:latin typeface="Arial"/>
                <a:cs typeface="Arial"/>
              </a:rPr>
              <a:t>SOURCE: CHAMPS data as of </a:t>
            </a:r>
            <a:r>
              <a:rPr lang="en-US" sz="900">
                <a:solidFill>
                  <a:srgbClr val="9D90A0"/>
                </a:solidFill>
                <a:latin typeface="Arial"/>
                <a:cs typeface="Arial"/>
              </a:rPr>
              <a:t>16 September 2022</a:t>
            </a:r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9D90A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061E9CC-FC34-164F-8E29-FF4841E52543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237041" y="74385"/>
            <a:ext cx="2421894" cy="1892997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EACFAE96-BAA1-AC41-BF72-BEC56F4E6CED}"/>
              </a:ext>
            </a:extLst>
          </p:cNvPr>
          <p:cNvSpPr txBox="1"/>
          <p:nvPr/>
        </p:nvSpPr>
        <p:spPr>
          <a:xfrm>
            <a:off x="9851106" y="988400"/>
            <a:ext cx="181160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NS- Malaria IHC (red staining)</a:t>
            </a:r>
          </a:p>
        </p:txBody>
      </p:sp>
      <p:pic>
        <p:nvPicPr>
          <p:cNvPr id="6" name="Picture 6" descr="Table&#10;&#10;Description automatically generated">
            <a:extLst>
              <a:ext uri="{FF2B5EF4-FFF2-40B4-BE49-F238E27FC236}">
                <a16:creationId xmlns:a16="http://schemas.microsoft.com/office/drawing/2014/main" id="{5AEB5E11-AD16-61EC-7D1C-C972194D569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71724" y="2065516"/>
            <a:ext cx="5951920" cy="41988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3250029"/>
      </p:ext>
    </p:extLst>
  </p:cSld>
  <p:clrMapOvr>
    <a:masterClrMapping/>
  </p:clrMapOvr>
  <p:transition>
    <p:fade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C362245-3209-4217-A350-57A307784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4792" y="1250418"/>
            <a:ext cx="7115209" cy="4110067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27965" indent="-227965"/>
            <a:r>
              <a:rPr lang="en-US" sz="2000">
                <a:latin typeface="Lato"/>
                <a:ea typeface="Lato"/>
                <a:cs typeface="Lato"/>
              </a:rPr>
              <a:t>Of deaths in children 1-59mo (n=926), 11% had HIV in causal chain</a:t>
            </a:r>
            <a:endParaRPr lang="en-US">
              <a:latin typeface="Lato"/>
              <a:ea typeface="Lato"/>
              <a:cs typeface="Lato"/>
            </a:endParaRPr>
          </a:p>
          <a:p>
            <a:pPr marL="685165" lvl="1" indent="-227965"/>
            <a:r>
              <a:rPr lang="en-US" sz="2000">
                <a:latin typeface="Lato"/>
                <a:ea typeface="Lato"/>
                <a:cs typeface="Lato"/>
              </a:rPr>
              <a:t>97% of these had other infectious process in causal chain</a:t>
            </a:r>
          </a:p>
          <a:p>
            <a:pPr marL="1142365" lvl="2" indent="-227965"/>
            <a:r>
              <a:rPr lang="en-US">
                <a:latin typeface="Lato"/>
                <a:ea typeface="Lato"/>
                <a:cs typeface="Lato"/>
              </a:rPr>
              <a:t>Top pathogens included CMV, </a:t>
            </a:r>
            <a:r>
              <a:rPr lang="en-US" i="1">
                <a:latin typeface="Lato"/>
                <a:ea typeface="Lato"/>
                <a:cs typeface="Lato"/>
              </a:rPr>
              <a:t>Klebsiella pneumoniae, S. pneumoniae, Pneumocystis </a:t>
            </a:r>
            <a:r>
              <a:rPr lang="en-US" i="1" err="1">
                <a:latin typeface="Lato"/>
                <a:ea typeface="Lato"/>
                <a:cs typeface="Lato"/>
              </a:rPr>
              <a:t>jirovecii</a:t>
            </a:r>
            <a:r>
              <a:rPr lang="en-US" i="1">
                <a:latin typeface="Lato"/>
                <a:ea typeface="Lato"/>
                <a:cs typeface="Lato"/>
              </a:rPr>
              <a:t> </a:t>
            </a:r>
            <a:r>
              <a:rPr lang="en-US">
                <a:latin typeface="Lato"/>
                <a:ea typeface="Lato"/>
                <a:cs typeface="Lato"/>
              </a:rPr>
              <a:t>and Malaria</a:t>
            </a:r>
          </a:p>
          <a:p>
            <a:pPr marL="685165" lvl="1" indent="-227965"/>
            <a:r>
              <a:rPr lang="en-US" sz="2000">
                <a:latin typeface="Lato"/>
                <a:ea typeface="Lato"/>
                <a:cs typeface="Lato"/>
              </a:rPr>
              <a:t>Frequent deficiencies in PMTCT</a:t>
            </a:r>
          </a:p>
          <a:p>
            <a:pPr marL="1142365" lvl="2" indent="-227965"/>
            <a:r>
              <a:rPr lang="en-US">
                <a:latin typeface="Lato"/>
                <a:ea typeface="Lato"/>
                <a:cs typeface="Lato"/>
              </a:rPr>
              <a:t>Only 20% of children received antiretroviral treatment prophylaxis after delivery</a:t>
            </a:r>
          </a:p>
          <a:p>
            <a:pPr marL="1142365" lvl="2" indent="-227965"/>
            <a:r>
              <a:rPr lang="en-US">
                <a:latin typeface="Lato"/>
                <a:ea typeface="Lato"/>
                <a:cs typeface="Lato"/>
              </a:rPr>
              <a:t>Only 30% of the mothers received ART during pregnancy</a:t>
            </a:r>
          </a:p>
          <a:p>
            <a:pPr marL="227965" indent="-227965"/>
            <a:r>
              <a:rPr lang="en-US" sz="2000">
                <a:latin typeface="Lato"/>
                <a:ea typeface="Lato"/>
                <a:cs typeface="Lato"/>
              </a:rPr>
              <a:t>Of deaths in children 1-59 months without HIV infection, 16% have documented HIV exposure (born to HIV positive mother)</a:t>
            </a:r>
          </a:p>
          <a:p>
            <a:pPr marL="457200" lvl="1" indent="0">
              <a:buNone/>
            </a:pPr>
            <a:endParaRPr lang="en-US" sz="2000">
              <a:latin typeface="Lato"/>
              <a:ea typeface="Lato"/>
              <a:cs typeface="Lato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DF2A3B-575E-4EA9-8EB4-597F9A730E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68738" y="215692"/>
            <a:ext cx="11405047" cy="1001936"/>
          </a:xfrm>
        </p:spPr>
        <p:txBody>
          <a:bodyPr/>
          <a:lstStyle/>
          <a:p>
            <a:r>
              <a:rPr lang="en-US" dirty="0"/>
              <a:t>HIV in CHAMPS:  HIV prevention gaps</a:t>
            </a: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8CBC7D15-5721-4C95-AFA1-07C38A59A4F5}"/>
              </a:ext>
            </a:extLst>
          </p:cNvPr>
          <p:cNvSpPr txBox="1"/>
          <p:nvPr/>
        </p:nvSpPr>
        <p:spPr>
          <a:xfrm>
            <a:off x="244792" y="6508062"/>
            <a:ext cx="4006145" cy="13424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itchFamily="34" charset="0"/>
              </a:rPr>
              <a:t>SOURCE: CHAMPS data as of </a:t>
            </a:r>
            <a:r>
              <a:rPr lang="en-US" sz="1000">
                <a:solidFill>
                  <a:srgbClr val="898A8D"/>
                </a:solidFill>
                <a:latin typeface="Lato" panose="020F0502020204030203" pitchFamily="34" charset="77"/>
                <a:cs typeface="Arial" pitchFamily="34" charset="0"/>
              </a:rPr>
              <a:t>22 July 2022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898A8D"/>
              </a:solidFill>
              <a:effectLst/>
              <a:uLnTx/>
              <a:uFillTx/>
              <a:latin typeface="Lato" panose="020F0502020204030203" pitchFamily="34" charset="77"/>
              <a:ea typeface="+mn-ea"/>
              <a:cs typeface="Arial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BF16892-F748-5C46-ABE6-8673B5EC6B6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02769" y="1081386"/>
            <a:ext cx="4071016" cy="3068012"/>
          </a:xfrm>
          <a:prstGeom prst="rect">
            <a:avLst/>
          </a:prstGeom>
          <a:solidFill>
            <a:schemeClr val="accent4"/>
          </a:solidFill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675E8F24-C5B6-CB45-A6C7-8B64225A0CFB}"/>
              </a:ext>
            </a:extLst>
          </p:cNvPr>
          <p:cNvSpPr txBox="1"/>
          <p:nvPr/>
        </p:nvSpPr>
        <p:spPr>
          <a:xfrm>
            <a:off x="8147538" y="4301093"/>
            <a:ext cx="307007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/>
              <a:t>CMV inclusion in lung tissue</a:t>
            </a:r>
          </a:p>
        </p:txBody>
      </p:sp>
    </p:spTree>
    <p:extLst>
      <p:ext uri="{BB962C8B-B14F-4D97-AF65-F5344CB8AC3E}">
        <p14:creationId xmlns:p14="http://schemas.microsoft.com/office/powerpoint/2010/main" val="223400814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14D93BE-1E92-29D5-1B82-F21AF38A08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6496" y="110509"/>
            <a:ext cx="3406588" cy="1325563"/>
          </a:xfrm>
        </p:spPr>
        <p:txBody>
          <a:bodyPr>
            <a:normAutofit/>
          </a:bodyPr>
          <a:lstStyle/>
          <a:p>
            <a:r>
              <a:rPr lang="en-GB" sz="3600"/>
              <a:t>Pneumonia</a:t>
            </a:r>
            <a:endParaRPr lang="en-ZA" sz="2800"/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70C4EDE7-2917-444D-A5B6-342507609DB0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27910" y="1252696"/>
            <a:ext cx="6519755" cy="4351338"/>
          </a:xfrm>
        </p:spPr>
        <p:txBody>
          <a:bodyPr>
            <a:normAutofit/>
          </a:bodyPr>
          <a:lstStyle/>
          <a:p>
            <a:r>
              <a:rPr lang="en-US"/>
              <a:t>In causal pathway for nearly half (46%) of post-neonatal deaths </a:t>
            </a:r>
          </a:p>
          <a:p>
            <a:pPr lvl="1"/>
            <a:r>
              <a:rPr lang="en-US"/>
              <a:t>Underlying cause for 9%</a:t>
            </a:r>
          </a:p>
          <a:p>
            <a:pPr lvl="1"/>
            <a:r>
              <a:rPr lang="en-US"/>
              <a:t>Common immediate or co-morbid cause when underlying cause is malnutrition, HIV, sepsis, congenital defects</a:t>
            </a:r>
          </a:p>
          <a:p>
            <a:r>
              <a:rPr lang="en-US"/>
              <a:t>Median number of attributed etiologies = 2 </a:t>
            </a:r>
          </a:p>
          <a:p>
            <a:r>
              <a:rPr lang="en-US"/>
              <a:t>No pathogen determined to be causal in only 12.5%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DF15AA1-832A-44B8-A330-BC2D9D9D6853}"/>
              </a:ext>
            </a:extLst>
          </p:cNvPr>
          <p:cNvSpPr txBox="1"/>
          <p:nvPr/>
        </p:nvSpPr>
        <p:spPr>
          <a:xfrm>
            <a:off x="288397" y="6558588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 anchor="t">
            <a:noAutofit/>
          </a:bodyPr>
          <a:lstStyle/>
          <a:p>
            <a:pPr>
              <a:defRPr/>
            </a:pP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/>
                <a:ea typeface="Lato"/>
                <a:cs typeface="Arial"/>
              </a:rPr>
              <a:t>SOURCE: </a:t>
            </a:r>
            <a:r>
              <a:rPr lang="en-US" sz="1200">
                <a:solidFill>
                  <a:srgbClr val="898A8D"/>
                </a:solidFill>
                <a:latin typeface="Lato"/>
                <a:ea typeface="Lato"/>
                <a:cs typeface="Arial"/>
              </a:rPr>
              <a:t>CHAMPS data for manuscript in preparation</a:t>
            </a:r>
            <a:endParaRPr kumimoji="0" lang="en-US" sz="1200" b="0" i="0" u="none" strike="noStrike" kern="1200" cap="none" spc="0" normalizeH="0" baseline="0" noProof="0" err="1">
              <a:ln>
                <a:noFill/>
              </a:ln>
              <a:solidFill>
                <a:srgbClr val="898A8D"/>
              </a:solidFill>
              <a:effectLst/>
              <a:uLnTx/>
              <a:uFillTx/>
              <a:latin typeface="Lato" panose="020F0502020204030203" pitchFamily="34" charset="77"/>
              <a:ea typeface="+mn-ea"/>
              <a:cs typeface="Arial" pitchFamily="34" charset="0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54C2CBF9-3E54-9BD2-7C1D-99B7FA4530C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4756172"/>
              </p:ext>
            </p:extLst>
          </p:nvPr>
        </p:nvGraphicFramePr>
        <p:xfrm>
          <a:off x="6933949" y="108284"/>
          <a:ext cx="4951499" cy="61264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30065">
                  <a:extLst>
                    <a:ext uri="{9D8B030D-6E8A-4147-A177-3AD203B41FA5}">
                      <a16:colId xmlns:a16="http://schemas.microsoft.com/office/drawing/2014/main" val="1583535248"/>
                    </a:ext>
                  </a:extLst>
                </a:gridCol>
                <a:gridCol w="3021434">
                  <a:extLst>
                    <a:ext uri="{9D8B030D-6E8A-4147-A177-3AD203B41FA5}">
                      <a16:colId xmlns:a16="http://schemas.microsoft.com/office/drawing/2014/main" val="849092026"/>
                    </a:ext>
                  </a:extLst>
                </a:gridCol>
              </a:tblGrid>
              <a:tr h="639177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</a:rPr>
                        <a:t>Pathogen​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</a:rPr>
                        <a:t>% among all Pneumonia (N=280)​</a:t>
                      </a:r>
                      <a:endParaRPr lang="en-US" b="1">
                        <a:solidFill>
                          <a:srgbClr val="FFFFFF"/>
                        </a:solidFill>
                        <a:effectLst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66601086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 b="1">
                          <a:effectLst/>
                          <a:latin typeface="Lato"/>
                        </a:rPr>
                        <a:t>Gram -​</a:t>
                      </a:r>
                      <a:endParaRPr lang="en-US" b="1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800">
                          <a:effectLst/>
                          <a:latin typeface="Lato"/>
                        </a:rPr>
                        <a:t>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452568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*K. pneumoniae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31.4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28991878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*H. influenzae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10.4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70674559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*P. aeruginosa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5.4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77475850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*A. </a:t>
                      </a:r>
                      <a:r>
                        <a:rPr lang="en-US" sz="1800" err="1">
                          <a:effectLst/>
                          <a:latin typeface="Lato"/>
                        </a:rPr>
                        <a:t>baumanii</a:t>
                      </a:r>
                      <a:r>
                        <a:rPr lang="en-US" sz="1800">
                          <a:effectLst/>
                          <a:latin typeface="Lato"/>
                        </a:rPr>
                        <a:t>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5.0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92352209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 b="1">
                          <a:effectLst/>
                          <a:latin typeface="Lato"/>
                        </a:rPr>
                        <a:t>Gram +​</a:t>
                      </a:r>
                      <a:endParaRPr lang="en-US" b="1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800">
                          <a:effectLst/>
                          <a:latin typeface="Lato"/>
                        </a:rPr>
                        <a:t>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26714354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*S. pneumoniae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31.8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97727706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*S. aureus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9.6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9745873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 b="1">
                          <a:effectLst/>
                          <a:latin typeface="Lato"/>
                        </a:rPr>
                        <a:t>Viruses​</a:t>
                      </a:r>
                      <a:endParaRPr lang="en-US" b="1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800">
                          <a:effectLst/>
                          <a:latin typeface="Lato"/>
                        </a:rPr>
                        <a:t>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07461173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*CMV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13.9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1671438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*RSV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7.1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95377511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*Adenovirus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5.0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43909997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 b="1">
                          <a:effectLst/>
                          <a:latin typeface="Lato"/>
                        </a:rPr>
                        <a:t>Fungi​</a:t>
                      </a:r>
                      <a:endParaRPr lang="en-US" b="1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auto"/>
                      <a:r>
                        <a:rPr lang="en-US" sz="1800">
                          <a:effectLst/>
                          <a:latin typeface="Lato"/>
                        </a:rPr>
                        <a:t>​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2471447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>
                          <a:effectLst/>
                          <a:latin typeface="Lato"/>
                        </a:rPr>
                        <a:t>P. </a:t>
                      </a:r>
                      <a:r>
                        <a:rPr lang="en-US" sz="1800" err="1">
                          <a:effectLst/>
                          <a:latin typeface="Lato"/>
                        </a:rPr>
                        <a:t>jirovecii</a:t>
                      </a:r>
                      <a:r>
                        <a:rPr lang="en-US" sz="1800">
                          <a:effectLst/>
                          <a:latin typeface="Lato"/>
                        </a:rPr>
                        <a:t>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7.9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87677114"/>
                  </a:ext>
                </a:extLst>
              </a:tr>
              <a:tr h="323732">
                <a:tc>
                  <a:txBody>
                    <a:bodyPr/>
                    <a:lstStyle/>
                    <a:p>
                      <a:pPr fontAlgn="base"/>
                      <a:r>
                        <a:rPr lang="en-US" sz="1800" b="1">
                          <a:effectLst/>
                          <a:latin typeface="Lato"/>
                        </a:rPr>
                        <a:t>No pathogen​</a:t>
                      </a:r>
                      <a:endParaRPr lang="en-US" b="1">
                        <a:effectLst/>
                        <a:latin typeface="Lato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ase"/>
                      <a:r>
                        <a:rPr lang="en-US" sz="1800">
                          <a:effectLst/>
                          <a:latin typeface="Lato"/>
                        </a:rPr>
                        <a:t>12.5%​</a:t>
                      </a:r>
                      <a:endParaRPr lang="en-US">
                        <a:effectLst/>
                        <a:latin typeface="Lato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0069786"/>
                  </a:ext>
                </a:extLst>
              </a:tr>
            </a:tbl>
          </a:graphicData>
        </a:graphic>
      </p:graphicFrame>
      <p:sp>
        <p:nvSpPr>
          <p:cNvPr id="5" name="TextBox 1">
            <a:extLst>
              <a:ext uri="{FF2B5EF4-FFF2-40B4-BE49-F238E27FC236}">
                <a16:creationId xmlns:a16="http://schemas.microsoft.com/office/drawing/2014/main" id="{B3E0E232-8959-C8BE-79BE-04C34B8E7F36}"/>
              </a:ext>
            </a:extLst>
          </p:cNvPr>
          <p:cNvSpPr txBox="1"/>
          <p:nvPr/>
        </p:nvSpPr>
        <p:spPr>
          <a:xfrm>
            <a:off x="4695864" y="5526255"/>
            <a:ext cx="2321169" cy="830997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/>
              <a:t>*Shown are pathogens accounting for </a:t>
            </a:r>
            <a:r>
              <a:rPr lang="en-US" sz="1600" u="sng"/>
              <a:t>&gt;</a:t>
            </a:r>
            <a:r>
              <a:rPr lang="en-US" sz="1600"/>
              <a:t>5% of pneumonia deaths</a:t>
            </a:r>
          </a:p>
        </p:txBody>
      </p:sp>
    </p:spTree>
    <p:extLst>
      <p:ext uri="{BB962C8B-B14F-4D97-AF65-F5344CB8AC3E}">
        <p14:creationId xmlns:p14="http://schemas.microsoft.com/office/powerpoint/2010/main" val="311640455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type="body" sz="quarter" idx="11"/>
          </p:nvPr>
        </p:nvSpPr>
        <p:spPr>
          <a:xfrm>
            <a:off x="175400" y="1510679"/>
            <a:ext cx="6300704" cy="1001936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rgbClr val="000000"/>
                </a:solidFill>
                <a:latin typeface="Lato" panose="020F0502020204030203"/>
                <a:cs typeface="Arial"/>
              </a:rPr>
              <a:t>Detected in blood, CSF and/or lung tissue in 30% of all deaths</a:t>
            </a:r>
            <a:endParaRPr lang="en-US" sz="2000" b="0" dirty="0">
              <a:solidFill>
                <a:srgbClr val="000000"/>
              </a:solidFill>
              <a:latin typeface="Lato" panose="020F0502020204030203"/>
              <a:ea typeface="Lato"/>
              <a:cs typeface="Arial"/>
            </a:endParaRPr>
          </a:p>
          <a:p>
            <a:pPr marL="799465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Lato" panose="020F0502020204030203"/>
                <a:cs typeface="Arial"/>
              </a:rPr>
              <a:t>Ranges from 11% in stillbirths to 59.6 % in older infants (6 to &lt;12 months)</a:t>
            </a:r>
            <a:endParaRPr lang="en-US" sz="2000" dirty="0">
              <a:solidFill>
                <a:srgbClr val="000000"/>
              </a:solidFill>
              <a:latin typeface="Lato" panose="020F0502020204030203"/>
              <a:ea typeface="Lato"/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rgbClr val="000000"/>
                </a:solidFill>
                <a:latin typeface="Lato" panose="020F0502020204030203"/>
                <a:cs typeface="Arial"/>
              </a:rPr>
              <a:t>In causal chain for 14% of all deaths</a:t>
            </a:r>
            <a:endParaRPr lang="en-US" sz="2000" b="0" dirty="0">
              <a:solidFill>
                <a:srgbClr val="000000"/>
              </a:solidFill>
              <a:latin typeface="Lato" panose="020F0502020204030203"/>
              <a:ea typeface="Lato"/>
              <a:cs typeface="Arial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rgbClr val="000000"/>
                </a:solidFill>
                <a:latin typeface="Lato" panose="020F0502020204030203"/>
                <a:cs typeface="Arial"/>
              </a:rPr>
              <a:t>84% sepsis;  20% meningitis </a:t>
            </a:r>
            <a:endParaRPr lang="en-US" sz="2000" b="0" dirty="0">
              <a:solidFill>
                <a:srgbClr val="000000"/>
              </a:solidFill>
              <a:latin typeface="Lato" panose="020F0502020204030203"/>
              <a:ea typeface="Lato"/>
              <a:cs typeface="Arial" panose="020B060402020202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0" dirty="0">
                <a:solidFill>
                  <a:srgbClr val="000000"/>
                </a:solidFill>
                <a:latin typeface="Lato" panose="020F0502020204030203"/>
                <a:cs typeface="Arial"/>
              </a:rPr>
              <a:t>Not all healthcare-associated</a:t>
            </a:r>
            <a:endParaRPr lang="en-US" sz="2000" b="0" dirty="0">
              <a:solidFill>
                <a:srgbClr val="000000"/>
              </a:solidFill>
              <a:latin typeface="Lato" panose="020F0502020204030203"/>
              <a:ea typeface="Lato"/>
              <a:cs typeface="Arial"/>
            </a:endParaRPr>
          </a:p>
          <a:p>
            <a:pPr marL="799465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Lato" panose="020F0502020204030203"/>
                <a:cs typeface="Arial"/>
              </a:rPr>
              <a:t>14% of deaths occurring in hospital</a:t>
            </a:r>
            <a:endParaRPr lang="en-US" sz="2000" dirty="0">
              <a:solidFill>
                <a:srgbClr val="000000"/>
              </a:solidFill>
              <a:latin typeface="Lato" panose="020F0502020204030203"/>
              <a:ea typeface="Lato" panose="020F0502020204030203"/>
              <a:cs typeface="Arial"/>
            </a:endParaRPr>
          </a:p>
          <a:p>
            <a:pPr marL="799465" lvl="1" indent="-342900">
              <a:buFont typeface="Arial" panose="020B0604020202020204" pitchFamily="34" charset="0"/>
              <a:buChar char="•"/>
            </a:pPr>
            <a:r>
              <a:rPr lang="en-US" sz="2000" dirty="0">
                <a:solidFill>
                  <a:srgbClr val="000000"/>
                </a:solidFill>
                <a:latin typeface="Lato" panose="020F0502020204030203"/>
                <a:cs typeface="Arial"/>
              </a:rPr>
              <a:t>13% of community death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u="sng" dirty="0">
                <a:solidFill>
                  <a:srgbClr val="000000"/>
                </a:solidFill>
                <a:latin typeface="Lato" panose="020F0502020204030203"/>
                <a:cs typeface="Arial"/>
              </a:rPr>
              <a:t>Unexpected finding… reflection of what routine antibiotics don’t address?</a:t>
            </a:r>
            <a:endParaRPr lang="en-US" sz="2000" u="sng" dirty="0">
              <a:solidFill>
                <a:srgbClr val="000000"/>
              </a:solidFill>
              <a:latin typeface="Lato" panose="020F0502020204030203"/>
              <a:ea typeface="Lato"/>
              <a:cs typeface="Arial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idx="4294967295"/>
          </p:nvPr>
        </p:nvSpPr>
        <p:spPr>
          <a:xfrm>
            <a:off x="185845" y="196849"/>
            <a:ext cx="11029950" cy="1130003"/>
          </a:xfrm>
        </p:spPr>
        <p:txBody>
          <a:bodyPr>
            <a:noAutofit/>
          </a:bodyPr>
          <a:lstStyle/>
          <a:p>
            <a:r>
              <a:rPr lang="en-US">
                <a:latin typeface="Lato" panose="020F0502020204030203"/>
                <a:cs typeface="Arial"/>
              </a:rPr>
              <a:t>Identifying Unrecognized Burden:</a:t>
            </a:r>
            <a:br>
              <a:rPr lang="en-US" i="1">
                <a:latin typeface="Lato" panose="020F0502020204030203"/>
                <a:cs typeface="Arial" panose="020B0604020202020204" pitchFamily="34" charset="0"/>
              </a:rPr>
            </a:br>
            <a:r>
              <a:rPr lang="en-US" sz="3200" i="1">
                <a:solidFill>
                  <a:srgbClr val="4C9C2E"/>
                </a:solidFill>
                <a:latin typeface="Lato" panose="020F0502020204030203"/>
                <a:cs typeface="Arial"/>
              </a:rPr>
              <a:t>Klebsiella pneumoniae </a:t>
            </a:r>
            <a:r>
              <a:rPr lang="en-US" sz="3200">
                <a:solidFill>
                  <a:srgbClr val="4C9C2E"/>
                </a:solidFill>
                <a:latin typeface="Lato" panose="020F0502020204030203"/>
                <a:cs typeface="Arial"/>
              </a:rPr>
              <a:t>– Detections and </a:t>
            </a:r>
            <a:r>
              <a:rPr lang="en-US">
                <a:latin typeface="Lato" panose="020F0502020204030203"/>
                <a:cs typeface="Arial"/>
              </a:rPr>
              <a:t>in</a:t>
            </a:r>
            <a:r>
              <a:rPr lang="en-US" sz="3200">
                <a:solidFill>
                  <a:srgbClr val="4C9C2E"/>
                </a:solidFill>
                <a:latin typeface="Lato" panose="020F0502020204030203"/>
                <a:cs typeface="Arial"/>
              </a:rPr>
              <a:t> Causal chai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C2C7E9D-1609-48E8-8115-44BA13E2EF67}"/>
              </a:ext>
            </a:extLst>
          </p:cNvPr>
          <p:cNvSpPr txBox="1"/>
          <p:nvPr/>
        </p:nvSpPr>
        <p:spPr>
          <a:xfrm>
            <a:off x="175400" y="6675140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9D90A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OURCE: CHAMPS data as of 22 July 202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B346D7C-A0FC-4328-82ED-9B77C68E811B}"/>
              </a:ext>
            </a:extLst>
          </p:cNvPr>
          <p:cNvSpPr txBox="1"/>
          <p:nvPr/>
        </p:nvSpPr>
        <p:spPr>
          <a:xfrm>
            <a:off x="6943785" y="4845829"/>
            <a:ext cx="402001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>
                <a:solidFill>
                  <a:srgbClr val="000000"/>
                </a:solidFill>
                <a:latin typeface="Gill Sans MT"/>
              </a:rPr>
              <a:t>M</a:t>
            </a:r>
            <a:r>
              <a:rPr kumimoji="0" lang="en-US" sz="2000" b="1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eningoencephalitis</a:t>
            </a:r>
            <a:r>
              <a:rPr kumimoji="0" lang="en-US" sz="20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 with positive immunohistochemistry staining of </a:t>
            </a:r>
            <a:r>
              <a:rPr kumimoji="0" lang="en-US" sz="2000" b="1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Klebsiella pneumonia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FD3E566-EA2A-4D77-9237-495063DEDED7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r="25845"/>
          <a:stretch/>
        </p:blipFill>
        <p:spPr>
          <a:xfrm>
            <a:off x="6562165" y="1550399"/>
            <a:ext cx="5056094" cy="30718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335236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C362245-3209-4217-A350-57A307784FC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49138" y="1591608"/>
            <a:ext cx="7946386" cy="4110067"/>
          </a:xfrm>
        </p:spPr>
        <p:txBody>
          <a:bodyPr>
            <a:normAutofit fontScale="92500" lnSpcReduction="10000"/>
          </a:bodyPr>
          <a:lstStyle/>
          <a:p>
            <a:r>
              <a:rPr lang="en-US"/>
              <a:t>1.2%  (11/884) of deaths in 1-59mo children attributed to TB</a:t>
            </a:r>
          </a:p>
          <a:p>
            <a:pPr lvl="1"/>
            <a:r>
              <a:rPr lang="en-US"/>
              <a:t>Mozambique (3), Sierra Leone (2) and South Africa (6) </a:t>
            </a:r>
          </a:p>
          <a:p>
            <a:r>
              <a:rPr lang="en-US"/>
              <a:t>Four (36%) </a:t>
            </a:r>
            <a:r>
              <a:rPr lang="en-US" b="1"/>
              <a:t>only</a:t>
            </a:r>
            <a:r>
              <a:rPr lang="en-US"/>
              <a:t> diagnosed postmortem</a:t>
            </a:r>
          </a:p>
          <a:p>
            <a:r>
              <a:rPr lang="en-US"/>
              <a:t>Reported to local public health per CHAMPS routine for notifiable diseases</a:t>
            </a:r>
          </a:p>
          <a:p>
            <a:r>
              <a:rPr lang="en-US"/>
              <a:t>Follow-up by CHAMPS included: </a:t>
            </a:r>
          </a:p>
          <a:p>
            <a:pPr lvl="1"/>
            <a:r>
              <a:rPr lang="en-US"/>
              <a:t>Strengthening health education for clinicians and communities and </a:t>
            </a:r>
          </a:p>
          <a:p>
            <a:pPr lvl="1"/>
            <a:r>
              <a:rPr lang="en-US"/>
              <a:t>Promoting early investigation and treatment for tuberculosis or referral to the next level of care. </a:t>
            </a:r>
          </a:p>
          <a:p>
            <a:pPr lvl="1"/>
            <a:endParaRPr lang="en-US">
              <a:highlight>
                <a:srgbClr val="FFFF00"/>
              </a:highlight>
            </a:endParaRPr>
          </a:p>
          <a:p>
            <a:pPr marL="457189" lvl="1" indent="0">
              <a:buNone/>
            </a:pP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0DF2A3B-575E-4EA9-8EB4-597F9A730E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95113" y="231691"/>
            <a:ext cx="9300318" cy="1266357"/>
          </a:xfrm>
        </p:spPr>
        <p:txBody>
          <a:bodyPr>
            <a:noAutofit/>
          </a:bodyPr>
          <a:lstStyle/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/>
              <a:t>CHAMPS Detects Sentinel events:   </a:t>
            </a:r>
          </a:p>
          <a:p>
            <a:pPr>
              <a:lnSpc>
                <a:spcPct val="100000"/>
              </a:lnSpc>
              <a:spcBef>
                <a:spcPts val="600"/>
              </a:spcBef>
            </a:pPr>
            <a:r>
              <a:rPr lang="en-US"/>
              <a:t>Tuberculosis in Infants and Children</a:t>
            </a:r>
          </a:p>
        </p:txBody>
      </p:sp>
      <p:sp>
        <p:nvSpPr>
          <p:cNvPr id="4" name="TextBox 13">
            <a:extLst>
              <a:ext uri="{FF2B5EF4-FFF2-40B4-BE49-F238E27FC236}">
                <a16:creationId xmlns:a16="http://schemas.microsoft.com/office/drawing/2014/main" id="{8CBC7D15-5721-4C95-AFA1-07C38A59A4F5}"/>
              </a:ext>
            </a:extLst>
          </p:cNvPr>
          <p:cNvSpPr txBox="1"/>
          <p:nvPr/>
        </p:nvSpPr>
        <p:spPr>
          <a:xfrm>
            <a:off x="244792" y="6508062"/>
            <a:ext cx="4006145" cy="13424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898A8D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itchFamily="34" charset="0"/>
              </a:rPr>
              <a:t>SOURCE: CHAMPS data as of </a:t>
            </a:r>
            <a:r>
              <a:rPr lang="en-US" sz="1000">
                <a:solidFill>
                  <a:srgbClr val="898A8D"/>
                </a:solidFill>
                <a:latin typeface="Lato" panose="020F0502020204030203" pitchFamily="34" charset="77"/>
                <a:cs typeface="Arial" pitchFamily="34" charset="0"/>
              </a:rPr>
              <a:t>22 July 2022</a:t>
            </a: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898A8D"/>
              </a:solidFill>
              <a:effectLst/>
              <a:uLnTx/>
              <a:uFillTx/>
              <a:latin typeface="Lato" panose="020F0502020204030203" pitchFamily="34" charset="77"/>
              <a:ea typeface="+mn-ea"/>
              <a:cs typeface="Arial" pitchFamily="34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6BC317-E8EB-4AB7-96A6-F4357AC7A87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29866"/>
          <a:stretch/>
        </p:blipFill>
        <p:spPr>
          <a:xfrm>
            <a:off x="8354697" y="667807"/>
            <a:ext cx="3267075" cy="2351442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319D799-30C1-4ADE-8F6E-5A63228A532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354697" y="3379304"/>
            <a:ext cx="3108543" cy="2322371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70221A78-E353-4DF8-B421-B88EA250EA1A}"/>
              </a:ext>
            </a:extLst>
          </p:cNvPr>
          <p:cNvSpPr txBox="1"/>
          <p:nvPr/>
        </p:nvSpPr>
        <p:spPr>
          <a:xfrm>
            <a:off x="8280194" y="3019249"/>
            <a:ext cx="24304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ung- necrotizing granuloma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483DA5E-FEEA-4C53-8663-D1B12C51F064}"/>
              </a:ext>
            </a:extLst>
          </p:cNvPr>
          <p:cNvSpPr txBox="1"/>
          <p:nvPr/>
        </p:nvSpPr>
        <p:spPr>
          <a:xfrm>
            <a:off x="8270669" y="5701675"/>
            <a:ext cx="368107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ung- immunohistochemical staining for Mycobacterium</a:t>
            </a:r>
          </a:p>
        </p:txBody>
      </p:sp>
    </p:spTree>
    <p:extLst>
      <p:ext uri="{BB962C8B-B14F-4D97-AF65-F5344CB8AC3E}">
        <p14:creationId xmlns:p14="http://schemas.microsoft.com/office/powerpoint/2010/main" val="197766401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F629489D-2D94-47B0-946F-67AEE7249C13}"/>
              </a:ext>
            </a:extLst>
          </p:cNvPr>
          <p:cNvSpPr>
            <a:spLocks noGrp="1"/>
          </p:cNvSpPr>
          <p:nvPr>
            <p:ph type="body" sz="quarter" idx="4294967295"/>
          </p:nvPr>
        </p:nvSpPr>
        <p:spPr>
          <a:xfrm>
            <a:off x="309283" y="1436443"/>
            <a:ext cx="9890631" cy="922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>
              <a:buNone/>
            </a:pPr>
            <a:r>
              <a:rPr lang="en-US" sz="4800" b="1" dirty="0">
                <a:solidFill>
                  <a:schemeClr val="bg1"/>
                </a:solidFill>
                <a:latin typeface="Lato"/>
                <a:ea typeface="Lato"/>
                <a:cs typeface="Lato"/>
              </a:rPr>
              <a:t>Moving from Data to Action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921F34D-5BE8-4020-951B-DE577010FE6D}"/>
              </a:ext>
            </a:extLst>
          </p:cNvPr>
          <p:cNvSpPr txBox="1">
            <a:spLocks/>
          </p:cNvSpPr>
          <p:nvPr/>
        </p:nvSpPr>
        <p:spPr>
          <a:xfrm>
            <a:off x="822931" y="2358781"/>
            <a:ext cx="5906925" cy="92280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0" indent="0" algn="l" defTabSz="914377" rtl="0" eaLnBrk="1" latinLnBrk="0" hangingPunct="1">
              <a:lnSpc>
                <a:spcPct val="90000"/>
              </a:lnSpc>
              <a:spcBef>
                <a:spcPts val="1000"/>
              </a:spcBef>
              <a:buFontTx/>
              <a:buNone/>
              <a:defRPr sz="2400" b="1" i="0" kern="1200">
                <a:solidFill>
                  <a:srgbClr val="4C9C2E"/>
                </a:solidFill>
                <a:latin typeface="Lato" panose="020F0502020204030203" pitchFamily="34" charset="77"/>
                <a:ea typeface="+mn-ea"/>
                <a:cs typeface="+mn-cs"/>
              </a:defRPr>
            </a:lvl1pPr>
            <a:lvl2pPr marL="457189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4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2pPr>
            <a:lvl3pPr marL="914377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20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3pPr>
            <a:lvl4pPr marL="1371566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4pPr>
            <a:lvl5pPr marL="1828755" indent="0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Tx/>
              <a:buNone/>
              <a:defRPr sz="1800" b="0" i="0" kern="1200">
                <a:solidFill>
                  <a:schemeClr val="tx1"/>
                </a:solidFill>
                <a:latin typeface="Lato" panose="020F0502020204030203" pitchFamily="34" charset="77"/>
                <a:ea typeface="+mn-ea"/>
                <a:cs typeface="+mn-cs"/>
              </a:defRPr>
            </a:lvl5pPr>
            <a:lvl6pPr marL="2514537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726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8914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103" indent="-228594" algn="l" defTabSz="914377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>
              <a:ln>
                <a:noFill/>
              </a:ln>
              <a:solidFill>
                <a:srgbClr val="4C9C2E"/>
              </a:solidFill>
              <a:effectLst/>
              <a:uLnTx/>
              <a:uFillTx/>
              <a:latin typeface="Lato" panose="020F0502020204030203" pitchFamily="34" charset="77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631400315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EA7B8D7-1E1A-3347-B6AC-345D8B583D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11410740" cy="100193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>
                <a:latin typeface="Lato"/>
                <a:ea typeface="Lato"/>
                <a:cs typeface="Lato"/>
              </a:rPr>
              <a:t>Using CHAMPS Data to Improve Lives of Mothers and Babi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EF363BB-3167-1844-BD2B-F6509EEEBD3B}"/>
              </a:ext>
            </a:extLst>
          </p:cNvPr>
          <p:cNvSpPr txBox="1">
            <a:spLocks/>
          </p:cNvSpPr>
          <p:nvPr/>
        </p:nvSpPr>
        <p:spPr>
          <a:xfrm>
            <a:off x="387560" y="-1625208"/>
            <a:ext cx="6541878" cy="10833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4C9C2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DB22E36-C4F9-EF41-09D7-D7CDAB50935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592" y="987448"/>
            <a:ext cx="3530907" cy="2290784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36DC27D2-078D-BC30-4869-42C3B656A7FE}"/>
              </a:ext>
            </a:extLst>
          </p:cNvPr>
          <p:cNvSpPr txBox="1"/>
          <p:nvPr/>
        </p:nvSpPr>
        <p:spPr>
          <a:xfrm>
            <a:off x="127592" y="3424283"/>
            <a:ext cx="4813308" cy="646331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mmunity-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L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ed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I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nterventions for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others and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B</a:t>
            </a:r>
            <a:r>
              <a:rPr kumimoji="0" lang="en-US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abies </a:t>
            </a: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(CLIMB)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51CDE403-8A40-4D98-675D-9BD0048FCBA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592" y="4050155"/>
            <a:ext cx="3991135" cy="245546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6E215948-7852-F75A-C0E5-3F5ECF970F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2958" y="1054115"/>
            <a:ext cx="2170738" cy="2668539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1986B417-DD74-3E46-22B4-33C2C3900D00}"/>
              </a:ext>
            </a:extLst>
          </p:cNvPr>
          <p:cNvSpPr txBox="1"/>
          <p:nvPr/>
        </p:nvSpPr>
        <p:spPr>
          <a:xfrm>
            <a:off x="7303696" y="2466175"/>
            <a:ext cx="3991135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HAMPS households are linked to other essential services – social grants, vital documents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8F7E9E-6099-43AD-774D-1D2A5F46B18E}"/>
              </a:ext>
            </a:extLst>
          </p:cNvPr>
          <p:cNvSpPr txBox="1"/>
          <p:nvPr/>
        </p:nvSpPr>
        <p:spPr>
          <a:xfrm>
            <a:off x="7249759" y="1209697"/>
            <a:ext cx="305679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Grief counselling helps bereaved mums to deal with trauma</a:t>
            </a:r>
            <a:endParaRPr kumimoji="0" lang="en-GB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2AFF0F4-4209-ACE8-A979-D9155EA5D6D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25869" y="3915383"/>
            <a:ext cx="3451402" cy="226706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B496D9F-2B88-FD24-6AE5-B06A7DAC0CF4}"/>
              </a:ext>
            </a:extLst>
          </p:cNvPr>
          <p:cNvSpPr txBox="1"/>
          <p:nvPr/>
        </p:nvSpPr>
        <p:spPr>
          <a:xfrm>
            <a:off x="6218327" y="4851378"/>
            <a:ext cx="2170738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Data for action: guiding policy &amp; interventions</a:t>
            </a:r>
            <a:endParaRPr kumimoji="0" lang="en-US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0864844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52802EA2-F315-6EB3-E66F-AE4E29DDAE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200" y="2766218"/>
            <a:ext cx="10515600" cy="1325563"/>
          </a:xfrm>
        </p:spPr>
        <p:txBody>
          <a:bodyPr/>
          <a:lstStyle/>
          <a:p>
            <a:r>
              <a:rPr lang="en-ZA" dirty="0">
                <a:latin typeface="Lato"/>
                <a:ea typeface="Lato"/>
                <a:cs typeface="Lato"/>
              </a:rPr>
              <a:t>Key Results Areas for Interventions: Using CHAMPS results to direct mortality prevention efforts</a:t>
            </a:r>
            <a:endParaRPr lang="en-GB" dirty="0">
              <a:latin typeface="Lato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381256059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AEA7B8D7-1E1A-3347-B6AC-345D8B583D9A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7560" y="350549"/>
            <a:ext cx="10726754" cy="1001936"/>
          </a:xfrm>
        </p:spPr>
        <p:txBody>
          <a:bodyPr>
            <a:normAutofit/>
          </a:bodyPr>
          <a:lstStyle/>
          <a:p>
            <a:r>
              <a:rPr lang="en-US" sz="40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HAMPS Network – Key Objectives</a:t>
            </a:r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DEF363BB-3167-1844-BD2B-F6509EEEBD3B}"/>
              </a:ext>
            </a:extLst>
          </p:cNvPr>
          <p:cNvSpPr txBox="1">
            <a:spLocks/>
          </p:cNvSpPr>
          <p:nvPr/>
        </p:nvSpPr>
        <p:spPr>
          <a:xfrm>
            <a:off x="387560" y="-1625208"/>
            <a:ext cx="6541878" cy="108330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4C9C2E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DB28041-CEFC-462C-A8A9-203707643775}"/>
              </a:ext>
            </a:extLst>
          </p:cNvPr>
          <p:cNvSpPr txBox="1"/>
          <p:nvPr/>
        </p:nvSpPr>
        <p:spPr>
          <a:xfrm>
            <a:off x="469855" y="1607369"/>
            <a:ext cx="7143057" cy="62478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C9C2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Track definitive causes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of </a:t>
            </a:r>
            <a:r>
              <a:rPr kumimoji="0" lang="en-US" sz="2400" b="0" i="0" u="sng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stillbirths and child deaths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 in high-mortality areas in Africa and South Asia</a:t>
            </a:r>
          </a:p>
          <a:p>
            <a:pPr marL="342900" marR="0" lvl="0" indent="-34290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Using Minimally-Invasive Tissue Sampling (MITS)</a:t>
            </a:r>
          </a:p>
          <a:p>
            <a:pPr marL="342900" marR="0" lvl="0" indent="-34290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i="1" dirty="0">
                <a:solidFill>
                  <a:srgbClr val="000000"/>
                </a:solidFill>
                <a:latin typeface="Lato" panose="020F0502020204030203" pitchFamily="34" charset="0"/>
                <a:cs typeface="Arial" panose="020B0604020202020204" pitchFamily="34" charset="0"/>
              </a:rPr>
              <a:t>Pregnancy surveillance</a:t>
            </a: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srgbClr val="4C9C2E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C9C2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Produce and disseminate high-quality data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to inform policy and public health action </a:t>
            </a:r>
          </a:p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4C9C2E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Enable sites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to leverage CHAMPS investments to prevent mortality </a:t>
            </a:r>
          </a:p>
          <a:p>
            <a:pPr marL="342900" marR="0" lvl="0" indent="-34290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Interventions</a:t>
            </a:r>
          </a:p>
          <a:p>
            <a:pPr marL="342900" marR="0" lvl="0" indent="-34290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i="1" dirty="0">
                <a:solidFill>
                  <a:srgbClr val="000000"/>
                </a:solidFill>
                <a:latin typeface="Lato" panose="020F0502020204030203" pitchFamily="34" charset="0"/>
                <a:cs typeface="Arial" panose="020B0604020202020204" pitchFamily="34" charset="0"/>
              </a:rPr>
              <a:t>Outbreak response</a:t>
            </a:r>
          </a:p>
          <a:p>
            <a:pPr marL="342900" marR="0" lvl="0" indent="-34290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Lato" panose="020F0502020204030203" pitchFamily="34" charset="0"/>
                <a:ea typeface="+mn-ea"/>
                <a:cs typeface="Arial" panose="020B0604020202020204" pitchFamily="34" charset="0"/>
              </a:rPr>
              <a:t>Special studies</a:t>
            </a:r>
          </a:p>
          <a:p>
            <a:pPr marL="800100" lvl="1" indent="-342900" fontAlgn="b">
              <a:buFont typeface="Arial" panose="020B0604020202020204" pitchFamily="34" charset="0"/>
              <a:buChar char="•"/>
              <a:defRPr/>
            </a:pP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1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b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0" name="Picture Placeholder 10">
            <a:extLst>
              <a:ext uri="{FF2B5EF4-FFF2-40B4-BE49-F238E27FC236}">
                <a16:creationId xmlns:a16="http://schemas.microsoft.com/office/drawing/2014/main" id="{DE495E2E-3A52-45E0-B667-B5CC74977512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04036" y="1607369"/>
            <a:ext cx="4517429" cy="3232354"/>
          </a:xfrm>
          <a:prstGeom prst="ellipse">
            <a:avLst/>
          </a:prstGeom>
        </p:spPr>
      </p:pic>
    </p:spTree>
    <p:extLst>
      <p:ext uri="{BB962C8B-B14F-4D97-AF65-F5344CB8AC3E}">
        <p14:creationId xmlns:p14="http://schemas.microsoft.com/office/powerpoint/2010/main" val="2897752035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>
            <a:extLst>
              <a:ext uri="{FF2B5EF4-FFF2-40B4-BE49-F238E27FC236}">
                <a16:creationId xmlns:a16="http://schemas.microsoft.com/office/drawing/2014/main" id="{3DC4677D-1564-4948-B5AF-58180708FB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6657" y="120982"/>
            <a:ext cx="11216640" cy="937441"/>
          </a:xfrm>
        </p:spPr>
        <p:txBody>
          <a:bodyPr/>
          <a:lstStyle/>
          <a:p>
            <a:r>
              <a:rPr lang="en-US">
                <a:solidFill>
                  <a:schemeClr val="accent2"/>
                </a:solidFill>
                <a:latin typeface="Lato"/>
                <a:ea typeface="Lato"/>
                <a:cs typeface="Lato"/>
              </a:rPr>
              <a:t>Most Neonatal Deaths Could Have Been Prevent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18B58A1-01ED-E347-962F-5C402DB52ED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85857" y="1344783"/>
            <a:ext cx="5118463" cy="4734292"/>
          </a:xfrm>
        </p:spPr>
        <p:txBody>
          <a:bodyPr vert="horz" lIns="0" tIns="0" rIns="0" bIns="0" rtlCol="0" anchor="t">
            <a:normAutofit/>
          </a:bodyPr>
          <a:lstStyle/>
          <a:p>
            <a:r>
              <a:rPr lang="en-US" sz="2400" dirty="0">
                <a:latin typeface="Lato"/>
                <a:ea typeface="Lato"/>
                <a:cs typeface="Lato"/>
              </a:rPr>
              <a:t>7 of 10 deaths in CHAMPS determined by </a:t>
            </a:r>
            <a:r>
              <a:rPr lang="en-US" sz="2400" dirty="0" err="1">
                <a:latin typeface="Lato"/>
                <a:ea typeface="Lato"/>
                <a:cs typeface="Lato"/>
              </a:rPr>
              <a:t>DeCoDe</a:t>
            </a:r>
            <a:r>
              <a:rPr lang="en-US" sz="2400" dirty="0">
                <a:latin typeface="Lato"/>
                <a:ea typeface="Lato"/>
                <a:cs typeface="Lato"/>
              </a:rPr>
              <a:t> panels to have been preventable</a:t>
            </a:r>
          </a:p>
          <a:p>
            <a:pPr lvl="1"/>
            <a:r>
              <a:rPr lang="en-US" sz="2000" dirty="0">
                <a:latin typeface="Lato"/>
                <a:ea typeface="Lato"/>
                <a:cs typeface="Lato"/>
              </a:rPr>
              <a:t>1-2 of 10 preventable in certain circumstances</a:t>
            </a:r>
          </a:p>
          <a:p>
            <a:r>
              <a:rPr lang="en-US" sz="2400" dirty="0">
                <a:latin typeface="Lato"/>
                <a:ea typeface="Lato"/>
                <a:cs typeface="Lato"/>
              </a:rPr>
              <a:t>To prevent neonatal deaths, should focus on improving</a:t>
            </a:r>
          </a:p>
          <a:p>
            <a:pPr lvl="1"/>
            <a:r>
              <a:rPr lang="en-US" b="1" dirty="0">
                <a:latin typeface="Lato"/>
                <a:ea typeface="Lato"/>
                <a:cs typeface="Lato"/>
              </a:rPr>
              <a:t>ANC/obstetric care</a:t>
            </a:r>
          </a:p>
          <a:p>
            <a:pPr lvl="1"/>
            <a:r>
              <a:rPr lang="en-US" b="1" dirty="0">
                <a:latin typeface="Lato"/>
                <a:ea typeface="Lato"/>
                <a:cs typeface="Lato"/>
              </a:rPr>
              <a:t>Clinical management</a:t>
            </a:r>
          </a:p>
          <a:p>
            <a:pPr lvl="1"/>
            <a:r>
              <a:rPr lang="en-US" b="1" dirty="0">
                <a:latin typeface="Lato"/>
                <a:ea typeface="Lato"/>
                <a:cs typeface="Lato"/>
              </a:rPr>
              <a:t>Infection prevention</a:t>
            </a:r>
          </a:p>
          <a:p>
            <a:pPr lvl="1"/>
            <a:endParaRPr lang="en-US"/>
          </a:p>
          <a:p>
            <a:pPr lvl="1"/>
            <a:endParaRPr lang="en-US"/>
          </a:p>
          <a:p>
            <a:pPr marL="254000" lvl="1" indent="0">
              <a:buNone/>
            </a:pPr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E4FDE15-5CCE-44DE-B8DE-2E186F6ADF77}"/>
              </a:ext>
            </a:extLst>
          </p:cNvPr>
          <p:cNvSpPr txBox="1"/>
          <p:nvPr/>
        </p:nvSpPr>
        <p:spPr>
          <a:xfrm>
            <a:off x="129901" y="6472304"/>
            <a:ext cx="4238369" cy="18286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defTabSz="914400"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SOURCE: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adewell Z et all JAMA Network Open in pr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pic>
        <p:nvPicPr>
          <p:cNvPr id="5" name="Picture 5" descr="Chart, scatter chart&#10;&#10;Description automatically generated">
            <a:extLst>
              <a:ext uri="{FF2B5EF4-FFF2-40B4-BE49-F238E27FC236}">
                <a16:creationId xmlns:a16="http://schemas.microsoft.com/office/drawing/2014/main" id="{538EA067-6D89-19FD-D566-5FB33189D44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5186" y="1057543"/>
            <a:ext cx="6362699" cy="5028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7334308"/>
      </p:ext>
    </p:extLst>
  </p:cSld>
  <p:clrMapOvr>
    <a:masterClrMapping/>
  </p:clrMapOvr>
  <p:transition>
    <p:fade/>
  </p:transition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1436DA4-D6B1-7158-9344-FBEDBED9B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7147" y="78414"/>
            <a:ext cx="10515600" cy="1072608"/>
          </a:xfrm>
        </p:spPr>
        <p:txBody>
          <a:bodyPr/>
          <a:lstStyle/>
          <a:p>
            <a:r>
              <a:rPr lang="en-ZA" dirty="0">
                <a:latin typeface="Lato"/>
                <a:ea typeface="Lato"/>
                <a:cs typeface="Lato"/>
              </a:rPr>
              <a:t>Data-to-Action: Improving maternal health and reducing child deaths</a:t>
            </a:r>
            <a:endParaRPr lang="en-GB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D0530E0D-B1B2-CEA1-7D97-D440A4292AA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42836" y="1146304"/>
            <a:ext cx="11344364" cy="5434682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227965" indent="-227965"/>
            <a:r>
              <a:rPr lang="en-US" sz="2400" b="1" dirty="0">
                <a:solidFill>
                  <a:schemeClr val="dk1"/>
                </a:solidFill>
                <a:latin typeface="Lato"/>
                <a:ea typeface="Lato"/>
                <a:cs typeface="Lato"/>
              </a:rPr>
              <a:t>Improving demand for, access to and quality of ANC services </a:t>
            </a:r>
            <a:endParaRPr lang="en-US" sz="2400" b="1">
              <a:solidFill>
                <a:schemeClr val="dk1"/>
              </a:solidFill>
            </a:endParaRPr>
          </a:p>
          <a:p>
            <a:pPr marL="685165" lvl="1" indent="-227965">
              <a:buFont typeface="Wingdings" panose="020B0604020202020204" pitchFamily="34" charset="0"/>
              <a:buChar char="ü"/>
            </a:pPr>
            <a:r>
              <a:rPr lang="en-US" sz="2000" b="0" i="0" kern="1200" dirty="0">
                <a:solidFill>
                  <a:schemeClr val="dk1"/>
                </a:solidFill>
                <a:effectLst/>
                <a:latin typeface="Lato"/>
                <a:ea typeface="Lato"/>
                <a:cs typeface="Lato"/>
              </a:rPr>
              <a:t>Kenya Quality Model for Health (KQMH) standards in the delivery of MCH services</a:t>
            </a:r>
          </a:p>
          <a:p>
            <a:pPr marL="685165" lvl="1" indent="-227965">
              <a:buFont typeface="Wingdings" panose="020B0604020202020204" pitchFamily="34" charset="0"/>
              <a:buChar char="ü"/>
            </a:pPr>
            <a:r>
              <a:rPr lang="en-US" sz="2000" dirty="0">
                <a:solidFill>
                  <a:schemeClr val="dk1"/>
                </a:solidFill>
                <a:latin typeface="Lato"/>
                <a:ea typeface="Lato"/>
                <a:cs typeface="Lato"/>
              </a:rPr>
              <a:t>Sierra Leonne</a:t>
            </a:r>
          </a:p>
          <a:p>
            <a:pPr marL="685165" lvl="1" indent="-227965">
              <a:buFont typeface="Wingdings" panose="020B0604020202020204" pitchFamily="34" charset="0"/>
              <a:buChar char="ü"/>
            </a:pPr>
            <a:r>
              <a:rPr lang="en-US" sz="2000" dirty="0">
                <a:solidFill>
                  <a:schemeClr val="dk1"/>
                </a:solidFill>
                <a:latin typeface="Lato"/>
                <a:ea typeface="Lato"/>
                <a:cs typeface="Lato"/>
              </a:rPr>
              <a:t>Ethiopia, Kenya, South Africa, Bangladesh – CHAMPS Pregnancy surveillance</a:t>
            </a:r>
            <a:r>
              <a:rPr lang="en-US" dirty="0">
                <a:solidFill>
                  <a:schemeClr val="dk1"/>
                </a:solidFill>
                <a:latin typeface="Lato"/>
                <a:ea typeface="Lato"/>
                <a:cs typeface="Lato"/>
              </a:rPr>
              <a:t> </a:t>
            </a:r>
            <a:endParaRPr lang="en-US" dirty="0">
              <a:solidFill>
                <a:schemeClr val="dk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456565" lvl="1" indent="0">
              <a:buNone/>
            </a:pPr>
            <a:endParaRPr lang="en-US">
              <a:solidFill>
                <a:schemeClr val="dk1"/>
              </a:solidFill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kern="1200" dirty="0">
                <a:solidFill>
                  <a:schemeClr val="dk1"/>
                </a:solidFill>
                <a:effectLst/>
                <a:latin typeface="Lato"/>
                <a:ea typeface="Lato"/>
                <a:cs typeface="Lato"/>
              </a:rPr>
              <a:t>Community-Led Interventions for Mothers and Babies (CLIMB) – </a:t>
            </a:r>
            <a:r>
              <a:rPr lang="en-US" sz="2000" b="1" kern="1200" dirty="0">
                <a:solidFill>
                  <a:schemeClr val="dk1"/>
                </a:solidFill>
                <a:effectLst/>
                <a:latin typeface="Lato"/>
                <a:ea typeface="Lato"/>
                <a:cs typeface="Lato"/>
              </a:rPr>
              <a:t>cross-network </a:t>
            </a:r>
            <a:r>
              <a:rPr lang="en-US" sz="2000" kern="1200" dirty="0">
                <a:solidFill>
                  <a:schemeClr val="dk1"/>
                </a:solidFill>
                <a:effectLst/>
                <a:latin typeface="Lato"/>
                <a:ea typeface="Lato"/>
                <a:cs typeface="Lato"/>
              </a:rPr>
              <a:t>– collaborating with community and healthcare leaders to reduce preventable perinatal and maternal deaths in Africa and South Asia through high-quality, respectful healthcare</a:t>
            </a: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US" sz="2400" dirty="0">
              <a:solidFill>
                <a:schemeClr val="dk1"/>
              </a:solidFill>
              <a:latin typeface="Lato"/>
              <a:ea typeface="Lato"/>
              <a:cs typeface="Lato"/>
            </a:endParaRPr>
          </a:p>
          <a:p>
            <a:pPr marL="227965" indent="-227965">
              <a:buNone/>
              <a:defRPr/>
            </a:pPr>
            <a:r>
              <a:rPr lang="en-US" sz="2400" b="1" dirty="0">
                <a:latin typeface="Lato"/>
                <a:ea typeface="Lato"/>
                <a:cs typeface="Lato"/>
              </a:rPr>
              <a:t>Neural Tube Defects Surveillance project</a:t>
            </a:r>
            <a:r>
              <a:rPr lang="en-US" sz="2400" dirty="0">
                <a:latin typeface="Lato"/>
                <a:ea typeface="Lato"/>
                <a:cs typeface="Lato"/>
              </a:rPr>
              <a:t>: </a:t>
            </a:r>
            <a:r>
              <a:rPr lang="en-GB" sz="2400" dirty="0">
                <a:solidFill>
                  <a:schemeClr val="dk1"/>
                </a:solidFill>
                <a:latin typeface="Lato"/>
                <a:ea typeface="Lato"/>
                <a:cs typeface="Lato"/>
              </a:rPr>
              <a:t>Spina bifida and Anencephaly</a:t>
            </a:r>
            <a:r>
              <a:rPr lang="en-US" sz="2400" dirty="0">
                <a:solidFill>
                  <a:schemeClr val="dk1"/>
                </a:solidFill>
                <a:latin typeface="Lato"/>
                <a:ea typeface="Lato"/>
                <a:cs typeface="Lato"/>
              </a:rPr>
              <a:t> in Ethiopia, folate for prevention </a:t>
            </a:r>
            <a:r>
              <a:rPr lang="en-US" sz="2400" b="1" dirty="0">
                <a:solidFill>
                  <a:schemeClr val="dk1"/>
                </a:solidFill>
                <a:latin typeface="Lato"/>
                <a:ea typeface="Lato"/>
                <a:cs typeface="Lato"/>
              </a:rPr>
              <a:t>– </a:t>
            </a:r>
            <a:r>
              <a:rPr lang="en-US" sz="2400" b="1" dirty="0">
                <a:latin typeface="Lato"/>
                <a:ea typeface="Lato"/>
                <a:cs typeface="Lato"/>
              </a:rPr>
              <a:t>SALT</a:t>
            </a:r>
            <a:endParaRPr lang="en-US" sz="2400" dirty="0">
              <a:latin typeface="Lato"/>
              <a:ea typeface="Lato"/>
              <a:cs typeface="Lato"/>
            </a:endParaRPr>
          </a:p>
          <a:p>
            <a:pPr marL="970915" lvl="2" indent="-514350">
              <a:buFont typeface="Wingdings" panose="020B0604020202020204" pitchFamily="34" charset="0"/>
              <a:buChar char="ü"/>
              <a:defRPr/>
            </a:pPr>
            <a:r>
              <a:rPr lang="en-GB" dirty="0">
                <a:latin typeface="Lato"/>
                <a:ea typeface="Lato"/>
                <a:cs typeface="Lato"/>
              </a:rPr>
              <a:t>Surveillance of folate deficiency &amp; neural tube defects at population level </a:t>
            </a:r>
          </a:p>
          <a:p>
            <a:pPr marL="970915" lvl="2" indent="-514350">
              <a:buAutoNum type="romanLcPeriod"/>
              <a:defRPr/>
            </a:pPr>
            <a:endParaRPr lang="en-GB" sz="2400" dirty="0">
              <a:latin typeface="Lato"/>
              <a:ea typeface="Lato"/>
              <a:cs typeface="Lato"/>
            </a:endParaRPr>
          </a:p>
          <a:p>
            <a:pPr marL="0" lvl="1" indent="-635">
              <a:buNone/>
              <a:defRPr/>
            </a:pPr>
            <a:r>
              <a:rPr lang="en-US" b="1" dirty="0">
                <a:solidFill>
                  <a:schemeClr val="dk1"/>
                </a:solidFill>
                <a:latin typeface="Lato"/>
                <a:ea typeface="Lato"/>
                <a:cs typeface="Lato"/>
              </a:rPr>
              <a:t>Malnutrition interventions among children under 5yrs – </a:t>
            </a:r>
            <a:r>
              <a:rPr lang="en-US" sz="2000" dirty="0">
                <a:solidFill>
                  <a:schemeClr val="dk1"/>
                </a:solidFill>
                <a:latin typeface="Lato"/>
                <a:ea typeface="Lato"/>
                <a:cs typeface="Lato"/>
              </a:rPr>
              <a:t>South Africa, Mali, Sierra Leonne &amp; Kenya</a:t>
            </a:r>
            <a:endParaRPr lang="en-GB" sz="2000">
              <a:solidFill>
                <a:schemeClr val="dk1"/>
              </a:solidFill>
              <a:ea typeface="Lato"/>
              <a:cs typeface="Lato"/>
            </a:endParaRPr>
          </a:p>
          <a:p>
            <a:pPr marL="456565" lvl="2" indent="0">
              <a:buNone/>
              <a:defRPr/>
            </a:pPr>
            <a:endParaRPr lang="en-GB" sz="2400" dirty="0">
              <a:solidFill>
                <a:schemeClr val="dk1"/>
              </a:solidFill>
              <a:latin typeface="Lato"/>
              <a:ea typeface="Lato"/>
              <a:cs typeface="Lato"/>
            </a:endParaRPr>
          </a:p>
          <a:p>
            <a:pPr marL="0" indent="0">
              <a:lnSpc>
                <a:spcPct val="100000"/>
              </a:lnSpc>
              <a:spcBef>
                <a:spcPts val="0"/>
              </a:spcBef>
              <a:buNone/>
              <a:defRPr/>
            </a:pPr>
            <a:endParaRPr lang="en-US" sz="2400" dirty="0">
              <a:solidFill>
                <a:schemeClr val="dk1"/>
              </a:solidFill>
              <a:latin typeface="Lato"/>
              <a:ea typeface="Lato"/>
              <a:cs typeface="Lato"/>
            </a:endParaRPr>
          </a:p>
        </p:txBody>
      </p:sp>
    </p:spTree>
    <p:extLst>
      <p:ext uri="{BB962C8B-B14F-4D97-AF65-F5344CB8AC3E}">
        <p14:creationId xmlns:p14="http://schemas.microsoft.com/office/powerpoint/2010/main" val="347919542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A5AC5E66-EF58-8675-6B96-F19B6B08C0B8}"/>
              </a:ext>
            </a:extLst>
          </p:cNvPr>
          <p:cNvSpPr txBox="1"/>
          <p:nvPr/>
        </p:nvSpPr>
        <p:spPr>
          <a:xfrm>
            <a:off x="537582" y="811768"/>
            <a:ext cx="1056968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D876B011-482F-BCA7-A9DD-BBF4CC36B32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US" b="1" u="sng" dirty="0"/>
              <a:t>COVID-19 RESPONSE</a:t>
            </a:r>
          </a:p>
          <a:p>
            <a:r>
              <a:rPr lang="en-US" dirty="0"/>
              <a:t>Supported urgent, community-centered responses to COVID-19</a:t>
            </a:r>
          </a:p>
          <a:p>
            <a:pPr lvl="1"/>
            <a:r>
              <a:rPr lang="en-US" dirty="0"/>
              <a:t>Community educational materials</a:t>
            </a:r>
          </a:p>
          <a:p>
            <a:pPr lvl="1"/>
            <a:r>
              <a:rPr lang="en-US" dirty="0"/>
              <a:t>Trainings on PPE</a:t>
            </a:r>
          </a:p>
          <a:p>
            <a:pPr lvl="1"/>
            <a:r>
              <a:rPr lang="en-US" dirty="0"/>
              <a:t>Workshops on containment efforts</a:t>
            </a:r>
          </a:p>
          <a:p>
            <a:r>
              <a:rPr lang="en-US" dirty="0"/>
              <a:t>Provided COVID-19 testing capacity; </a:t>
            </a:r>
            <a:r>
              <a:rPr lang="en-US" b="1" dirty="0"/>
              <a:t>Kenya, Ethiopia and Sierra Leone CHAMPS labs designated as national testing hubs for their districts</a:t>
            </a:r>
          </a:p>
          <a:p>
            <a:r>
              <a:rPr lang="en-US" dirty="0"/>
              <a:t>Launched efforts to look for COVID-19 deaths in adults in two sites; prepared 3 sites for vaccine effectiveness studies</a:t>
            </a:r>
          </a:p>
          <a:p>
            <a:r>
              <a:rPr lang="en-US" dirty="0"/>
              <a:t>Tested CHAMPS deaths for SARS-CoV-2 - 2% (27/2148) positive </a:t>
            </a:r>
          </a:p>
          <a:p>
            <a:endParaRPr lang="en-US" dirty="0"/>
          </a:p>
          <a:p>
            <a:pPr marL="0" indent="0">
              <a:buNone/>
            </a:pPr>
            <a:r>
              <a:rPr lang="en-US" b="1" u="sng" dirty="0"/>
              <a:t>PREGNANCY SURVEILLANCE</a:t>
            </a:r>
          </a:p>
          <a:p>
            <a:endParaRPr lang="en-GB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880359A-BE1E-84DE-A15E-8F75DA2F473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lnSpcReduction="10000"/>
          </a:bodyPr>
          <a:lstStyle/>
          <a:p>
            <a:r>
              <a:rPr lang="en-US" dirty="0"/>
              <a:t>More Than Mortality Surveillance:</a:t>
            </a:r>
          </a:p>
          <a:p>
            <a:r>
              <a:rPr lang="en-US" dirty="0"/>
              <a:t>Using the CHAMPS Platform</a:t>
            </a:r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51196069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F979ECB7-7371-454C-A728-1A9539C583BC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 rotWithShape="1">
          <a:blip r:embed="rId2"/>
          <a:srcRect l="12500" r="12500"/>
          <a:stretch/>
        </p:blipFill>
        <p:spPr>
          <a:xfrm>
            <a:off x="6719752" y="-468626"/>
            <a:ext cx="6057002" cy="6057002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D60A045-7CF2-BD41-A0F7-525FC055D3D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97019" y="2559875"/>
            <a:ext cx="6861725" cy="2362777"/>
          </a:xfrm>
        </p:spPr>
        <p:txBody>
          <a:bodyPr>
            <a:normAutofit/>
          </a:bodyPr>
          <a:lstStyle/>
          <a:p>
            <a:r>
              <a:rPr lang="en-US" sz="3600">
                <a:latin typeface="Lato" panose="020F0502020204030203" pitchFamily="34" charset="0"/>
              </a:rPr>
              <a:t>CHAMPS acknowledges the families and communities that make our work possible  </a:t>
            </a:r>
          </a:p>
        </p:txBody>
      </p:sp>
    </p:spTree>
    <p:extLst>
      <p:ext uri="{BB962C8B-B14F-4D97-AF65-F5344CB8AC3E}">
        <p14:creationId xmlns:p14="http://schemas.microsoft.com/office/powerpoint/2010/main" val="3948883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B28A50A-7C36-F349-866B-0E26FBB9856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9021" y="160360"/>
            <a:ext cx="9229559" cy="100193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4000" b="1" dirty="0">
                <a:latin typeface="Lato" panose="020F0502020204030203" pitchFamily="34" charset="77"/>
                <a:cs typeface="Arial"/>
              </a:rPr>
              <a:t>CHAMPS Surveillance Sites </a:t>
            </a:r>
          </a:p>
          <a:p>
            <a:endParaRPr lang="en-US" sz="4000" dirty="0"/>
          </a:p>
          <a:p>
            <a:endParaRPr lang="en-US" sz="4000" dirty="0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2FAE67C-0BD8-4A7F-9C8F-7426B06F6C8D}"/>
              </a:ext>
            </a:extLst>
          </p:cNvPr>
          <p:cNvGrpSpPr/>
          <p:nvPr/>
        </p:nvGrpSpPr>
        <p:grpSpPr>
          <a:xfrm>
            <a:off x="807173" y="1055914"/>
            <a:ext cx="7315197" cy="6150583"/>
            <a:chOff x="984349" y="1206331"/>
            <a:chExt cx="4663260" cy="4571386"/>
          </a:xfrm>
        </p:grpSpPr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34D113D-7C07-4F5B-A066-E42C372510EB}"/>
                </a:ext>
              </a:extLst>
            </p:cNvPr>
            <p:cNvGrpSpPr/>
            <p:nvPr/>
          </p:nvGrpSpPr>
          <p:grpSpPr>
            <a:xfrm>
              <a:off x="984349" y="1206331"/>
              <a:ext cx="4663260" cy="4571386"/>
              <a:chOff x="3310212" y="4815990"/>
              <a:chExt cx="2345552" cy="2299342"/>
            </a:xfrm>
            <a:solidFill>
              <a:srgbClr val="C0C0C0"/>
            </a:solidFill>
          </p:grpSpPr>
          <p:sp>
            <p:nvSpPr>
              <p:cNvPr id="11" name="Freeform 441">
                <a:extLst>
                  <a:ext uri="{FF2B5EF4-FFF2-40B4-BE49-F238E27FC236}">
                    <a16:creationId xmlns:a16="http://schemas.microsoft.com/office/drawing/2014/main" id="{794DC63D-AEA4-47A8-B583-DE31AA4BAC04}"/>
                  </a:ext>
                </a:extLst>
              </p:cNvPr>
              <p:cNvSpPr>
                <a:spLocks/>
              </p:cNvSpPr>
              <p:nvPr>
                <p:custDataLst>
                  <p:tags r:id="rId1"/>
                </p:custDataLst>
              </p:nvPr>
            </p:nvSpPr>
            <p:spPr bwMode="gray">
              <a:xfrm>
                <a:off x="4242060" y="5695748"/>
                <a:ext cx="240769" cy="197554"/>
              </a:xfrm>
              <a:custGeom>
                <a:avLst/>
                <a:gdLst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1228 w 10000"/>
                  <a:gd name="connsiteY18" fmla="*/ 7161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7588 h 10000"/>
                  <a:gd name="connsiteX54" fmla="*/ 7189 w 10000"/>
                  <a:gd name="connsiteY54" fmla="*/ 7588 h 10000"/>
                  <a:gd name="connsiteX55" fmla="*/ 7390 w 10000"/>
                  <a:gd name="connsiteY55" fmla="*/ 7460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1356 w 10000"/>
                  <a:gd name="connsiteY17" fmla="*/ 7004 h 10000"/>
                  <a:gd name="connsiteX18" fmla="*/ 1228 w 10000"/>
                  <a:gd name="connsiteY18" fmla="*/ 7161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7588 h 10000"/>
                  <a:gd name="connsiteX54" fmla="*/ 7189 w 10000"/>
                  <a:gd name="connsiteY54" fmla="*/ 7588 h 10000"/>
                  <a:gd name="connsiteX55" fmla="*/ 7390 w 10000"/>
                  <a:gd name="connsiteY55" fmla="*/ 7460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1592 w 10000"/>
                  <a:gd name="connsiteY16" fmla="*/ 7011 h 10000"/>
                  <a:gd name="connsiteX17" fmla="*/ 1356 w 10000"/>
                  <a:gd name="connsiteY17" fmla="*/ 7004 h 10000"/>
                  <a:gd name="connsiteX18" fmla="*/ 1228 w 10000"/>
                  <a:gd name="connsiteY18" fmla="*/ 7161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7588 h 10000"/>
                  <a:gd name="connsiteX54" fmla="*/ 7189 w 10000"/>
                  <a:gd name="connsiteY54" fmla="*/ 7588 h 10000"/>
                  <a:gd name="connsiteX55" fmla="*/ 7390 w 10000"/>
                  <a:gd name="connsiteY55" fmla="*/ 7460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1954 w 10000"/>
                  <a:gd name="connsiteY15" fmla="*/ 6927 h 10000"/>
                  <a:gd name="connsiteX16" fmla="*/ 1592 w 10000"/>
                  <a:gd name="connsiteY16" fmla="*/ 7011 h 10000"/>
                  <a:gd name="connsiteX17" fmla="*/ 1356 w 10000"/>
                  <a:gd name="connsiteY17" fmla="*/ 7004 h 10000"/>
                  <a:gd name="connsiteX18" fmla="*/ 1228 w 10000"/>
                  <a:gd name="connsiteY18" fmla="*/ 7161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7588 h 10000"/>
                  <a:gd name="connsiteX54" fmla="*/ 7189 w 10000"/>
                  <a:gd name="connsiteY54" fmla="*/ 7588 h 10000"/>
                  <a:gd name="connsiteX55" fmla="*/ 7390 w 10000"/>
                  <a:gd name="connsiteY55" fmla="*/ 7460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046 w 10000"/>
                  <a:gd name="connsiteY14" fmla="*/ 6729 h 10000"/>
                  <a:gd name="connsiteX15" fmla="*/ 1954 w 10000"/>
                  <a:gd name="connsiteY15" fmla="*/ 6927 h 10000"/>
                  <a:gd name="connsiteX16" fmla="*/ 1592 w 10000"/>
                  <a:gd name="connsiteY16" fmla="*/ 7011 h 10000"/>
                  <a:gd name="connsiteX17" fmla="*/ 1356 w 10000"/>
                  <a:gd name="connsiteY17" fmla="*/ 7004 h 10000"/>
                  <a:gd name="connsiteX18" fmla="*/ 1228 w 10000"/>
                  <a:gd name="connsiteY18" fmla="*/ 7161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7588 h 10000"/>
                  <a:gd name="connsiteX54" fmla="*/ 7189 w 10000"/>
                  <a:gd name="connsiteY54" fmla="*/ 7588 h 10000"/>
                  <a:gd name="connsiteX55" fmla="*/ 7390 w 10000"/>
                  <a:gd name="connsiteY55" fmla="*/ 7460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385 w 10000"/>
                  <a:gd name="connsiteY13" fmla="*/ 6638 h 10000"/>
                  <a:gd name="connsiteX14" fmla="*/ 2046 w 10000"/>
                  <a:gd name="connsiteY14" fmla="*/ 6729 h 10000"/>
                  <a:gd name="connsiteX15" fmla="*/ 1954 w 10000"/>
                  <a:gd name="connsiteY15" fmla="*/ 6927 h 10000"/>
                  <a:gd name="connsiteX16" fmla="*/ 1592 w 10000"/>
                  <a:gd name="connsiteY16" fmla="*/ 7011 h 10000"/>
                  <a:gd name="connsiteX17" fmla="*/ 1356 w 10000"/>
                  <a:gd name="connsiteY17" fmla="*/ 7004 h 10000"/>
                  <a:gd name="connsiteX18" fmla="*/ 1228 w 10000"/>
                  <a:gd name="connsiteY18" fmla="*/ 7161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7588 h 10000"/>
                  <a:gd name="connsiteX54" fmla="*/ 7189 w 10000"/>
                  <a:gd name="connsiteY54" fmla="*/ 7588 h 10000"/>
                  <a:gd name="connsiteX55" fmla="*/ 7390 w 10000"/>
                  <a:gd name="connsiteY55" fmla="*/ 7460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2589 w 10000"/>
                  <a:gd name="connsiteY12" fmla="*/ 6973 h 10000"/>
                  <a:gd name="connsiteX13" fmla="*/ 2385 w 10000"/>
                  <a:gd name="connsiteY13" fmla="*/ 6638 h 10000"/>
                  <a:gd name="connsiteX14" fmla="*/ 2046 w 10000"/>
                  <a:gd name="connsiteY14" fmla="*/ 6729 h 10000"/>
                  <a:gd name="connsiteX15" fmla="*/ 1954 w 10000"/>
                  <a:gd name="connsiteY15" fmla="*/ 6927 h 10000"/>
                  <a:gd name="connsiteX16" fmla="*/ 1592 w 10000"/>
                  <a:gd name="connsiteY16" fmla="*/ 7011 h 10000"/>
                  <a:gd name="connsiteX17" fmla="*/ 1356 w 10000"/>
                  <a:gd name="connsiteY17" fmla="*/ 7004 h 10000"/>
                  <a:gd name="connsiteX18" fmla="*/ 1228 w 10000"/>
                  <a:gd name="connsiteY18" fmla="*/ 7161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7588 h 10000"/>
                  <a:gd name="connsiteX54" fmla="*/ 7189 w 10000"/>
                  <a:gd name="connsiteY54" fmla="*/ 7588 h 10000"/>
                  <a:gd name="connsiteX55" fmla="*/ 7390 w 10000"/>
                  <a:gd name="connsiteY55" fmla="*/ 7460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165 w 9880"/>
                  <a:gd name="connsiteY0" fmla="*/ 1897 h 10000"/>
                  <a:gd name="connsiteX1" fmla="*/ 1165 w 9880"/>
                  <a:gd name="connsiteY1" fmla="*/ 2412 h 10000"/>
                  <a:gd name="connsiteX2" fmla="*/ 1165 w 9880"/>
                  <a:gd name="connsiteY2" fmla="*/ 2894 h 10000"/>
                  <a:gd name="connsiteX3" fmla="*/ 1165 w 9880"/>
                  <a:gd name="connsiteY3" fmla="*/ 3376 h 10000"/>
                  <a:gd name="connsiteX4" fmla="*/ 1165 w 9880"/>
                  <a:gd name="connsiteY4" fmla="*/ 3826 h 10000"/>
                  <a:gd name="connsiteX5" fmla="*/ 523 w 9880"/>
                  <a:gd name="connsiteY5" fmla="*/ 3923 h 10000"/>
                  <a:gd name="connsiteX6" fmla="*/ 402 w 9880"/>
                  <a:gd name="connsiteY6" fmla="*/ 4180 h 10000"/>
                  <a:gd name="connsiteX7" fmla="*/ 121 w 9880"/>
                  <a:gd name="connsiteY7" fmla="*/ 4502 h 10000"/>
                  <a:gd name="connsiteX8" fmla="*/ 121 w 9880"/>
                  <a:gd name="connsiteY8" fmla="*/ 4759 h 10000"/>
                  <a:gd name="connsiteX9" fmla="*/ 0 w 9880"/>
                  <a:gd name="connsiteY9" fmla="*/ 4823 h 10000"/>
                  <a:gd name="connsiteX10" fmla="*/ 0 w 9880"/>
                  <a:gd name="connsiteY10" fmla="*/ 5048 h 10000"/>
                  <a:gd name="connsiteX11" fmla="*/ 2931 w 9880"/>
                  <a:gd name="connsiteY11" fmla="*/ 7195 h 10000"/>
                  <a:gd name="connsiteX12" fmla="*/ 2469 w 9880"/>
                  <a:gd name="connsiteY12" fmla="*/ 6973 h 10000"/>
                  <a:gd name="connsiteX13" fmla="*/ 2265 w 9880"/>
                  <a:gd name="connsiteY13" fmla="*/ 6638 h 10000"/>
                  <a:gd name="connsiteX14" fmla="*/ 1926 w 9880"/>
                  <a:gd name="connsiteY14" fmla="*/ 6729 h 10000"/>
                  <a:gd name="connsiteX15" fmla="*/ 1834 w 9880"/>
                  <a:gd name="connsiteY15" fmla="*/ 6927 h 10000"/>
                  <a:gd name="connsiteX16" fmla="*/ 1472 w 9880"/>
                  <a:gd name="connsiteY16" fmla="*/ 7011 h 10000"/>
                  <a:gd name="connsiteX17" fmla="*/ 1236 w 9880"/>
                  <a:gd name="connsiteY17" fmla="*/ 7004 h 10000"/>
                  <a:gd name="connsiteX18" fmla="*/ 1108 w 9880"/>
                  <a:gd name="connsiteY18" fmla="*/ 7161 h 10000"/>
                  <a:gd name="connsiteX19" fmla="*/ 884 w 9880"/>
                  <a:gd name="connsiteY19" fmla="*/ 6913 h 10000"/>
                  <a:gd name="connsiteX20" fmla="*/ 844 w 9880"/>
                  <a:gd name="connsiteY20" fmla="*/ 7363 h 10000"/>
                  <a:gd name="connsiteX21" fmla="*/ 924 w 9880"/>
                  <a:gd name="connsiteY21" fmla="*/ 7428 h 10000"/>
                  <a:gd name="connsiteX22" fmla="*/ 1245 w 9880"/>
                  <a:gd name="connsiteY22" fmla="*/ 7460 h 10000"/>
                  <a:gd name="connsiteX23" fmla="*/ 1286 w 9880"/>
                  <a:gd name="connsiteY23" fmla="*/ 7588 h 10000"/>
                  <a:gd name="connsiteX24" fmla="*/ 1647 w 9880"/>
                  <a:gd name="connsiteY24" fmla="*/ 7621 h 10000"/>
                  <a:gd name="connsiteX25" fmla="*/ 1848 w 9880"/>
                  <a:gd name="connsiteY25" fmla="*/ 7749 h 10000"/>
                  <a:gd name="connsiteX26" fmla="*/ 1888 w 9880"/>
                  <a:gd name="connsiteY26" fmla="*/ 7974 h 10000"/>
                  <a:gd name="connsiteX27" fmla="*/ 2531 w 9880"/>
                  <a:gd name="connsiteY27" fmla="*/ 8360 h 10000"/>
                  <a:gd name="connsiteX28" fmla="*/ 2691 w 9880"/>
                  <a:gd name="connsiteY28" fmla="*/ 8746 h 10000"/>
                  <a:gd name="connsiteX29" fmla="*/ 3133 w 9880"/>
                  <a:gd name="connsiteY29" fmla="*/ 8939 h 10000"/>
                  <a:gd name="connsiteX30" fmla="*/ 3294 w 9880"/>
                  <a:gd name="connsiteY30" fmla="*/ 9196 h 10000"/>
                  <a:gd name="connsiteX31" fmla="*/ 3615 w 9880"/>
                  <a:gd name="connsiteY31" fmla="*/ 9518 h 10000"/>
                  <a:gd name="connsiteX32" fmla="*/ 3856 w 9880"/>
                  <a:gd name="connsiteY32" fmla="*/ 9614 h 10000"/>
                  <a:gd name="connsiteX33" fmla="*/ 4017 w 9880"/>
                  <a:gd name="connsiteY33" fmla="*/ 9518 h 10000"/>
                  <a:gd name="connsiteX34" fmla="*/ 4418 w 9880"/>
                  <a:gd name="connsiteY34" fmla="*/ 9550 h 10000"/>
                  <a:gd name="connsiteX35" fmla="*/ 4579 w 9880"/>
                  <a:gd name="connsiteY35" fmla="*/ 9486 h 10000"/>
                  <a:gd name="connsiteX36" fmla="*/ 5302 w 9880"/>
                  <a:gd name="connsiteY36" fmla="*/ 9968 h 10000"/>
                  <a:gd name="connsiteX37" fmla="*/ 5342 w 9880"/>
                  <a:gd name="connsiteY37" fmla="*/ 9968 h 10000"/>
                  <a:gd name="connsiteX38" fmla="*/ 5422 w 9880"/>
                  <a:gd name="connsiteY38" fmla="*/ 9904 h 10000"/>
                  <a:gd name="connsiteX39" fmla="*/ 5944 w 9880"/>
                  <a:gd name="connsiteY39" fmla="*/ 9904 h 10000"/>
                  <a:gd name="connsiteX40" fmla="*/ 6025 w 9880"/>
                  <a:gd name="connsiteY40" fmla="*/ 10000 h 10000"/>
                  <a:gd name="connsiteX41" fmla="*/ 6466 w 9880"/>
                  <a:gd name="connsiteY41" fmla="*/ 9871 h 10000"/>
                  <a:gd name="connsiteX42" fmla="*/ 6868 w 9880"/>
                  <a:gd name="connsiteY42" fmla="*/ 9871 h 10000"/>
                  <a:gd name="connsiteX43" fmla="*/ 7149 w 9880"/>
                  <a:gd name="connsiteY43" fmla="*/ 9743 h 10000"/>
                  <a:gd name="connsiteX44" fmla="*/ 7470 w 9880"/>
                  <a:gd name="connsiteY44" fmla="*/ 9486 h 10000"/>
                  <a:gd name="connsiteX45" fmla="*/ 8314 w 9880"/>
                  <a:gd name="connsiteY45" fmla="*/ 9486 h 10000"/>
                  <a:gd name="connsiteX46" fmla="*/ 8314 w 9880"/>
                  <a:gd name="connsiteY46" fmla="*/ 9132 h 10000"/>
                  <a:gd name="connsiteX47" fmla="*/ 7872 w 9880"/>
                  <a:gd name="connsiteY47" fmla="*/ 8971 h 10000"/>
                  <a:gd name="connsiteX48" fmla="*/ 7631 w 9880"/>
                  <a:gd name="connsiteY48" fmla="*/ 8457 h 10000"/>
                  <a:gd name="connsiteX49" fmla="*/ 7310 w 9880"/>
                  <a:gd name="connsiteY49" fmla="*/ 8264 h 10000"/>
                  <a:gd name="connsiteX50" fmla="*/ 7109 w 9880"/>
                  <a:gd name="connsiteY50" fmla="*/ 8006 h 10000"/>
                  <a:gd name="connsiteX51" fmla="*/ 6587 w 9880"/>
                  <a:gd name="connsiteY51" fmla="*/ 7814 h 10000"/>
                  <a:gd name="connsiteX52" fmla="*/ 6707 w 9880"/>
                  <a:gd name="connsiteY52" fmla="*/ 7749 h 10000"/>
                  <a:gd name="connsiteX53" fmla="*/ 6707 w 9880"/>
                  <a:gd name="connsiteY53" fmla="*/ 7588 h 10000"/>
                  <a:gd name="connsiteX54" fmla="*/ 7069 w 9880"/>
                  <a:gd name="connsiteY54" fmla="*/ 7588 h 10000"/>
                  <a:gd name="connsiteX55" fmla="*/ 7270 w 9880"/>
                  <a:gd name="connsiteY55" fmla="*/ 7460 h 10000"/>
                  <a:gd name="connsiteX56" fmla="*/ 7310 w 9880"/>
                  <a:gd name="connsiteY56" fmla="*/ 6527 h 10000"/>
                  <a:gd name="connsiteX57" fmla="*/ 7350 w 9880"/>
                  <a:gd name="connsiteY57" fmla="*/ 6559 h 10000"/>
                  <a:gd name="connsiteX58" fmla="*/ 7470 w 9880"/>
                  <a:gd name="connsiteY58" fmla="*/ 6367 h 10000"/>
                  <a:gd name="connsiteX59" fmla="*/ 7711 w 9880"/>
                  <a:gd name="connsiteY59" fmla="*/ 6270 h 10000"/>
                  <a:gd name="connsiteX60" fmla="*/ 7832 w 9880"/>
                  <a:gd name="connsiteY60" fmla="*/ 5916 h 10000"/>
                  <a:gd name="connsiteX61" fmla="*/ 8193 w 9880"/>
                  <a:gd name="connsiteY61" fmla="*/ 5498 h 10000"/>
                  <a:gd name="connsiteX62" fmla="*/ 8474 w 9880"/>
                  <a:gd name="connsiteY62" fmla="*/ 5305 h 10000"/>
                  <a:gd name="connsiteX63" fmla="*/ 8675 w 9880"/>
                  <a:gd name="connsiteY63" fmla="*/ 4759 h 10000"/>
                  <a:gd name="connsiteX64" fmla="*/ 8675 w 9880"/>
                  <a:gd name="connsiteY64" fmla="*/ 4630 h 10000"/>
                  <a:gd name="connsiteX65" fmla="*/ 8635 w 9880"/>
                  <a:gd name="connsiteY65" fmla="*/ 4309 h 10000"/>
                  <a:gd name="connsiteX66" fmla="*/ 9037 w 9880"/>
                  <a:gd name="connsiteY66" fmla="*/ 3151 h 10000"/>
                  <a:gd name="connsiteX67" fmla="*/ 9157 w 9880"/>
                  <a:gd name="connsiteY67" fmla="*/ 3151 h 10000"/>
                  <a:gd name="connsiteX68" fmla="*/ 9318 w 9880"/>
                  <a:gd name="connsiteY68" fmla="*/ 3055 h 10000"/>
                  <a:gd name="connsiteX69" fmla="*/ 9800 w 9880"/>
                  <a:gd name="connsiteY69" fmla="*/ 2894 h 10000"/>
                  <a:gd name="connsiteX70" fmla="*/ 9880 w 9880"/>
                  <a:gd name="connsiteY70" fmla="*/ 2637 h 10000"/>
                  <a:gd name="connsiteX71" fmla="*/ 9840 w 9880"/>
                  <a:gd name="connsiteY71" fmla="*/ 2572 h 10000"/>
                  <a:gd name="connsiteX72" fmla="*/ 9679 w 9880"/>
                  <a:gd name="connsiteY72" fmla="*/ 2572 h 10000"/>
                  <a:gd name="connsiteX73" fmla="*/ 9559 w 9880"/>
                  <a:gd name="connsiteY73" fmla="*/ 2412 h 10000"/>
                  <a:gd name="connsiteX74" fmla="*/ 9318 w 9880"/>
                  <a:gd name="connsiteY74" fmla="*/ 2347 h 10000"/>
                  <a:gd name="connsiteX75" fmla="*/ 9197 w 9880"/>
                  <a:gd name="connsiteY75" fmla="*/ 2219 h 10000"/>
                  <a:gd name="connsiteX76" fmla="*/ 9117 w 9880"/>
                  <a:gd name="connsiteY76" fmla="*/ 1736 h 10000"/>
                  <a:gd name="connsiteX77" fmla="*/ 9117 w 9880"/>
                  <a:gd name="connsiteY77" fmla="*/ 1061 h 10000"/>
                  <a:gd name="connsiteX78" fmla="*/ 8916 w 9880"/>
                  <a:gd name="connsiteY78" fmla="*/ 836 h 10000"/>
                  <a:gd name="connsiteX79" fmla="*/ 8876 w 9880"/>
                  <a:gd name="connsiteY79" fmla="*/ 611 h 10000"/>
                  <a:gd name="connsiteX80" fmla="*/ 8555 w 9880"/>
                  <a:gd name="connsiteY80" fmla="*/ 289 h 10000"/>
                  <a:gd name="connsiteX81" fmla="*/ 8274 w 9880"/>
                  <a:gd name="connsiteY81" fmla="*/ 161 h 10000"/>
                  <a:gd name="connsiteX82" fmla="*/ 8113 w 9880"/>
                  <a:gd name="connsiteY82" fmla="*/ 0 h 10000"/>
                  <a:gd name="connsiteX83" fmla="*/ 7872 w 9880"/>
                  <a:gd name="connsiteY83" fmla="*/ 161 h 10000"/>
                  <a:gd name="connsiteX84" fmla="*/ 7711 w 9880"/>
                  <a:gd name="connsiteY84" fmla="*/ 129 h 10000"/>
                  <a:gd name="connsiteX85" fmla="*/ 7591 w 9880"/>
                  <a:gd name="connsiteY85" fmla="*/ 418 h 10000"/>
                  <a:gd name="connsiteX86" fmla="*/ 7270 w 9880"/>
                  <a:gd name="connsiteY86" fmla="*/ 482 h 10000"/>
                  <a:gd name="connsiteX87" fmla="*/ 7189 w 9880"/>
                  <a:gd name="connsiteY87" fmla="*/ 707 h 10000"/>
                  <a:gd name="connsiteX88" fmla="*/ 6908 w 9880"/>
                  <a:gd name="connsiteY88" fmla="*/ 707 h 10000"/>
                  <a:gd name="connsiteX89" fmla="*/ 6667 w 9880"/>
                  <a:gd name="connsiteY89" fmla="*/ 611 h 10000"/>
                  <a:gd name="connsiteX90" fmla="*/ 6145 w 9880"/>
                  <a:gd name="connsiteY90" fmla="*/ 611 h 10000"/>
                  <a:gd name="connsiteX91" fmla="*/ 5623 w 9880"/>
                  <a:gd name="connsiteY91" fmla="*/ 611 h 10000"/>
                  <a:gd name="connsiteX92" fmla="*/ 5663 w 9880"/>
                  <a:gd name="connsiteY92" fmla="*/ 482 h 10000"/>
                  <a:gd name="connsiteX93" fmla="*/ 5583 w 9880"/>
                  <a:gd name="connsiteY93" fmla="*/ 482 h 10000"/>
                  <a:gd name="connsiteX94" fmla="*/ 5543 w 9880"/>
                  <a:gd name="connsiteY94" fmla="*/ 611 h 10000"/>
                  <a:gd name="connsiteX95" fmla="*/ 5061 w 9880"/>
                  <a:gd name="connsiteY95" fmla="*/ 611 h 10000"/>
                  <a:gd name="connsiteX96" fmla="*/ 4579 w 9880"/>
                  <a:gd name="connsiteY96" fmla="*/ 611 h 10000"/>
                  <a:gd name="connsiteX97" fmla="*/ 4097 w 9880"/>
                  <a:gd name="connsiteY97" fmla="*/ 611 h 10000"/>
                  <a:gd name="connsiteX98" fmla="*/ 3615 w 9880"/>
                  <a:gd name="connsiteY98" fmla="*/ 611 h 10000"/>
                  <a:gd name="connsiteX99" fmla="*/ 3173 w 9880"/>
                  <a:gd name="connsiteY99" fmla="*/ 611 h 10000"/>
                  <a:gd name="connsiteX100" fmla="*/ 2691 w 9880"/>
                  <a:gd name="connsiteY100" fmla="*/ 611 h 10000"/>
                  <a:gd name="connsiteX101" fmla="*/ 2249 w 9880"/>
                  <a:gd name="connsiteY101" fmla="*/ 611 h 10000"/>
                  <a:gd name="connsiteX102" fmla="*/ 1768 w 9880"/>
                  <a:gd name="connsiteY102" fmla="*/ 611 h 10000"/>
                  <a:gd name="connsiteX103" fmla="*/ 1768 w 9880"/>
                  <a:gd name="connsiteY103" fmla="*/ 1061 h 10000"/>
                  <a:gd name="connsiteX104" fmla="*/ 1768 w 9880"/>
                  <a:gd name="connsiteY104" fmla="*/ 1640 h 10000"/>
                  <a:gd name="connsiteX105" fmla="*/ 1165 w 9880"/>
                  <a:gd name="connsiteY105" fmla="*/ 1640 h 10000"/>
                  <a:gd name="connsiteX106" fmla="*/ 1165 w 9880"/>
                  <a:gd name="connsiteY106" fmla="*/ 1897 h 10000"/>
                  <a:gd name="connsiteX0" fmla="*/ 1179 w 10000"/>
                  <a:gd name="connsiteY0" fmla="*/ 1897 h 10000"/>
                  <a:gd name="connsiteX1" fmla="*/ 1179 w 10000"/>
                  <a:gd name="connsiteY1" fmla="*/ 2412 h 10000"/>
                  <a:gd name="connsiteX2" fmla="*/ 1179 w 10000"/>
                  <a:gd name="connsiteY2" fmla="*/ 2894 h 10000"/>
                  <a:gd name="connsiteX3" fmla="*/ 1179 w 10000"/>
                  <a:gd name="connsiteY3" fmla="*/ 3376 h 10000"/>
                  <a:gd name="connsiteX4" fmla="*/ 1179 w 10000"/>
                  <a:gd name="connsiteY4" fmla="*/ 3826 h 10000"/>
                  <a:gd name="connsiteX5" fmla="*/ 529 w 10000"/>
                  <a:gd name="connsiteY5" fmla="*/ 3923 h 10000"/>
                  <a:gd name="connsiteX6" fmla="*/ 407 w 10000"/>
                  <a:gd name="connsiteY6" fmla="*/ 4180 h 10000"/>
                  <a:gd name="connsiteX7" fmla="*/ 122 w 10000"/>
                  <a:gd name="connsiteY7" fmla="*/ 4502 h 10000"/>
                  <a:gd name="connsiteX8" fmla="*/ 122 w 10000"/>
                  <a:gd name="connsiteY8" fmla="*/ 4759 h 10000"/>
                  <a:gd name="connsiteX9" fmla="*/ 0 w 10000"/>
                  <a:gd name="connsiteY9" fmla="*/ 4823 h 10000"/>
                  <a:gd name="connsiteX10" fmla="*/ 3155 w 10000"/>
                  <a:gd name="connsiteY10" fmla="*/ 7095 h 10000"/>
                  <a:gd name="connsiteX11" fmla="*/ 2967 w 10000"/>
                  <a:gd name="connsiteY11" fmla="*/ 7195 h 10000"/>
                  <a:gd name="connsiteX12" fmla="*/ 2499 w 10000"/>
                  <a:gd name="connsiteY12" fmla="*/ 6973 h 10000"/>
                  <a:gd name="connsiteX13" fmla="*/ 2293 w 10000"/>
                  <a:gd name="connsiteY13" fmla="*/ 6638 h 10000"/>
                  <a:gd name="connsiteX14" fmla="*/ 1949 w 10000"/>
                  <a:gd name="connsiteY14" fmla="*/ 6729 h 10000"/>
                  <a:gd name="connsiteX15" fmla="*/ 1856 w 10000"/>
                  <a:gd name="connsiteY15" fmla="*/ 6927 h 10000"/>
                  <a:gd name="connsiteX16" fmla="*/ 1490 w 10000"/>
                  <a:gd name="connsiteY16" fmla="*/ 7011 h 10000"/>
                  <a:gd name="connsiteX17" fmla="*/ 1251 w 10000"/>
                  <a:gd name="connsiteY17" fmla="*/ 7004 h 10000"/>
                  <a:gd name="connsiteX18" fmla="*/ 1121 w 10000"/>
                  <a:gd name="connsiteY18" fmla="*/ 7161 h 10000"/>
                  <a:gd name="connsiteX19" fmla="*/ 895 w 10000"/>
                  <a:gd name="connsiteY19" fmla="*/ 6913 h 10000"/>
                  <a:gd name="connsiteX20" fmla="*/ 854 w 10000"/>
                  <a:gd name="connsiteY20" fmla="*/ 7363 h 10000"/>
                  <a:gd name="connsiteX21" fmla="*/ 935 w 10000"/>
                  <a:gd name="connsiteY21" fmla="*/ 7428 h 10000"/>
                  <a:gd name="connsiteX22" fmla="*/ 1260 w 10000"/>
                  <a:gd name="connsiteY22" fmla="*/ 7460 h 10000"/>
                  <a:gd name="connsiteX23" fmla="*/ 1302 w 10000"/>
                  <a:gd name="connsiteY23" fmla="*/ 7588 h 10000"/>
                  <a:gd name="connsiteX24" fmla="*/ 1667 w 10000"/>
                  <a:gd name="connsiteY24" fmla="*/ 7621 h 10000"/>
                  <a:gd name="connsiteX25" fmla="*/ 1870 w 10000"/>
                  <a:gd name="connsiteY25" fmla="*/ 7749 h 10000"/>
                  <a:gd name="connsiteX26" fmla="*/ 1911 w 10000"/>
                  <a:gd name="connsiteY26" fmla="*/ 7974 h 10000"/>
                  <a:gd name="connsiteX27" fmla="*/ 2562 w 10000"/>
                  <a:gd name="connsiteY27" fmla="*/ 8360 h 10000"/>
                  <a:gd name="connsiteX28" fmla="*/ 2724 w 10000"/>
                  <a:gd name="connsiteY28" fmla="*/ 8746 h 10000"/>
                  <a:gd name="connsiteX29" fmla="*/ 3171 w 10000"/>
                  <a:gd name="connsiteY29" fmla="*/ 8939 h 10000"/>
                  <a:gd name="connsiteX30" fmla="*/ 3334 w 10000"/>
                  <a:gd name="connsiteY30" fmla="*/ 9196 h 10000"/>
                  <a:gd name="connsiteX31" fmla="*/ 3659 w 10000"/>
                  <a:gd name="connsiteY31" fmla="*/ 9518 h 10000"/>
                  <a:gd name="connsiteX32" fmla="*/ 3903 w 10000"/>
                  <a:gd name="connsiteY32" fmla="*/ 9614 h 10000"/>
                  <a:gd name="connsiteX33" fmla="*/ 4066 w 10000"/>
                  <a:gd name="connsiteY33" fmla="*/ 9518 h 10000"/>
                  <a:gd name="connsiteX34" fmla="*/ 4472 w 10000"/>
                  <a:gd name="connsiteY34" fmla="*/ 9550 h 10000"/>
                  <a:gd name="connsiteX35" fmla="*/ 4635 w 10000"/>
                  <a:gd name="connsiteY35" fmla="*/ 9486 h 10000"/>
                  <a:gd name="connsiteX36" fmla="*/ 5366 w 10000"/>
                  <a:gd name="connsiteY36" fmla="*/ 9968 h 10000"/>
                  <a:gd name="connsiteX37" fmla="*/ 5407 w 10000"/>
                  <a:gd name="connsiteY37" fmla="*/ 9968 h 10000"/>
                  <a:gd name="connsiteX38" fmla="*/ 5488 w 10000"/>
                  <a:gd name="connsiteY38" fmla="*/ 9904 h 10000"/>
                  <a:gd name="connsiteX39" fmla="*/ 6016 w 10000"/>
                  <a:gd name="connsiteY39" fmla="*/ 9904 h 10000"/>
                  <a:gd name="connsiteX40" fmla="*/ 6098 w 10000"/>
                  <a:gd name="connsiteY40" fmla="*/ 10000 h 10000"/>
                  <a:gd name="connsiteX41" fmla="*/ 6545 w 10000"/>
                  <a:gd name="connsiteY41" fmla="*/ 9871 h 10000"/>
                  <a:gd name="connsiteX42" fmla="*/ 6951 w 10000"/>
                  <a:gd name="connsiteY42" fmla="*/ 9871 h 10000"/>
                  <a:gd name="connsiteX43" fmla="*/ 7236 w 10000"/>
                  <a:gd name="connsiteY43" fmla="*/ 9743 h 10000"/>
                  <a:gd name="connsiteX44" fmla="*/ 7561 w 10000"/>
                  <a:gd name="connsiteY44" fmla="*/ 9486 h 10000"/>
                  <a:gd name="connsiteX45" fmla="*/ 8415 w 10000"/>
                  <a:gd name="connsiteY45" fmla="*/ 9486 h 10000"/>
                  <a:gd name="connsiteX46" fmla="*/ 8415 w 10000"/>
                  <a:gd name="connsiteY46" fmla="*/ 9132 h 10000"/>
                  <a:gd name="connsiteX47" fmla="*/ 7968 w 10000"/>
                  <a:gd name="connsiteY47" fmla="*/ 8971 h 10000"/>
                  <a:gd name="connsiteX48" fmla="*/ 7724 w 10000"/>
                  <a:gd name="connsiteY48" fmla="*/ 8457 h 10000"/>
                  <a:gd name="connsiteX49" fmla="*/ 7399 w 10000"/>
                  <a:gd name="connsiteY49" fmla="*/ 8264 h 10000"/>
                  <a:gd name="connsiteX50" fmla="*/ 7195 w 10000"/>
                  <a:gd name="connsiteY50" fmla="*/ 8006 h 10000"/>
                  <a:gd name="connsiteX51" fmla="*/ 6667 w 10000"/>
                  <a:gd name="connsiteY51" fmla="*/ 7814 h 10000"/>
                  <a:gd name="connsiteX52" fmla="*/ 6788 w 10000"/>
                  <a:gd name="connsiteY52" fmla="*/ 7749 h 10000"/>
                  <a:gd name="connsiteX53" fmla="*/ 6788 w 10000"/>
                  <a:gd name="connsiteY53" fmla="*/ 7588 h 10000"/>
                  <a:gd name="connsiteX54" fmla="*/ 7155 w 10000"/>
                  <a:gd name="connsiteY54" fmla="*/ 7588 h 10000"/>
                  <a:gd name="connsiteX55" fmla="*/ 7358 w 10000"/>
                  <a:gd name="connsiteY55" fmla="*/ 7460 h 10000"/>
                  <a:gd name="connsiteX56" fmla="*/ 7399 w 10000"/>
                  <a:gd name="connsiteY56" fmla="*/ 6527 h 10000"/>
                  <a:gd name="connsiteX57" fmla="*/ 7439 w 10000"/>
                  <a:gd name="connsiteY57" fmla="*/ 6559 h 10000"/>
                  <a:gd name="connsiteX58" fmla="*/ 7561 w 10000"/>
                  <a:gd name="connsiteY58" fmla="*/ 6367 h 10000"/>
                  <a:gd name="connsiteX59" fmla="*/ 7805 w 10000"/>
                  <a:gd name="connsiteY59" fmla="*/ 6270 h 10000"/>
                  <a:gd name="connsiteX60" fmla="*/ 7927 w 10000"/>
                  <a:gd name="connsiteY60" fmla="*/ 5916 h 10000"/>
                  <a:gd name="connsiteX61" fmla="*/ 8293 w 10000"/>
                  <a:gd name="connsiteY61" fmla="*/ 5498 h 10000"/>
                  <a:gd name="connsiteX62" fmla="*/ 8577 w 10000"/>
                  <a:gd name="connsiteY62" fmla="*/ 5305 h 10000"/>
                  <a:gd name="connsiteX63" fmla="*/ 8780 w 10000"/>
                  <a:gd name="connsiteY63" fmla="*/ 4759 h 10000"/>
                  <a:gd name="connsiteX64" fmla="*/ 8780 w 10000"/>
                  <a:gd name="connsiteY64" fmla="*/ 4630 h 10000"/>
                  <a:gd name="connsiteX65" fmla="*/ 8740 w 10000"/>
                  <a:gd name="connsiteY65" fmla="*/ 4309 h 10000"/>
                  <a:gd name="connsiteX66" fmla="*/ 9147 w 10000"/>
                  <a:gd name="connsiteY66" fmla="*/ 3151 h 10000"/>
                  <a:gd name="connsiteX67" fmla="*/ 9268 w 10000"/>
                  <a:gd name="connsiteY67" fmla="*/ 3151 h 10000"/>
                  <a:gd name="connsiteX68" fmla="*/ 9431 w 10000"/>
                  <a:gd name="connsiteY68" fmla="*/ 3055 h 10000"/>
                  <a:gd name="connsiteX69" fmla="*/ 9919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7 w 10000"/>
                  <a:gd name="connsiteY72" fmla="*/ 2572 h 10000"/>
                  <a:gd name="connsiteX73" fmla="*/ 9675 w 10000"/>
                  <a:gd name="connsiteY73" fmla="*/ 2412 h 10000"/>
                  <a:gd name="connsiteX74" fmla="*/ 9431 w 10000"/>
                  <a:gd name="connsiteY74" fmla="*/ 2347 h 10000"/>
                  <a:gd name="connsiteX75" fmla="*/ 9309 w 10000"/>
                  <a:gd name="connsiteY75" fmla="*/ 2219 h 10000"/>
                  <a:gd name="connsiteX76" fmla="*/ 9228 w 10000"/>
                  <a:gd name="connsiteY76" fmla="*/ 1736 h 10000"/>
                  <a:gd name="connsiteX77" fmla="*/ 9228 w 10000"/>
                  <a:gd name="connsiteY77" fmla="*/ 1061 h 10000"/>
                  <a:gd name="connsiteX78" fmla="*/ 9024 w 10000"/>
                  <a:gd name="connsiteY78" fmla="*/ 836 h 10000"/>
                  <a:gd name="connsiteX79" fmla="*/ 8984 w 10000"/>
                  <a:gd name="connsiteY79" fmla="*/ 611 h 10000"/>
                  <a:gd name="connsiteX80" fmla="*/ 8659 w 10000"/>
                  <a:gd name="connsiteY80" fmla="*/ 289 h 10000"/>
                  <a:gd name="connsiteX81" fmla="*/ 8374 w 10000"/>
                  <a:gd name="connsiteY81" fmla="*/ 161 h 10000"/>
                  <a:gd name="connsiteX82" fmla="*/ 8212 w 10000"/>
                  <a:gd name="connsiteY82" fmla="*/ 0 h 10000"/>
                  <a:gd name="connsiteX83" fmla="*/ 7968 w 10000"/>
                  <a:gd name="connsiteY83" fmla="*/ 161 h 10000"/>
                  <a:gd name="connsiteX84" fmla="*/ 7805 w 10000"/>
                  <a:gd name="connsiteY84" fmla="*/ 129 h 10000"/>
                  <a:gd name="connsiteX85" fmla="*/ 7683 w 10000"/>
                  <a:gd name="connsiteY85" fmla="*/ 418 h 10000"/>
                  <a:gd name="connsiteX86" fmla="*/ 7358 w 10000"/>
                  <a:gd name="connsiteY86" fmla="*/ 482 h 10000"/>
                  <a:gd name="connsiteX87" fmla="*/ 7276 w 10000"/>
                  <a:gd name="connsiteY87" fmla="*/ 707 h 10000"/>
                  <a:gd name="connsiteX88" fmla="*/ 6992 w 10000"/>
                  <a:gd name="connsiteY88" fmla="*/ 707 h 10000"/>
                  <a:gd name="connsiteX89" fmla="*/ 6748 w 10000"/>
                  <a:gd name="connsiteY89" fmla="*/ 611 h 10000"/>
                  <a:gd name="connsiteX90" fmla="*/ 6220 w 10000"/>
                  <a:gd name="connsiteY90" fmla="*/ 611 h 10000"/>
                  <a:gd name="connsiteX91" fmla="*/ 5691 w 10000"/>
                  <a:gd name="connsiteY91" fmla="*/ 611 h 10000"/>
                  <a:gd name="connsiteX92" fmla="*/ 5732 w 10000"/>
                  <a:gd name="connsiteY92" fmla="*/ 482 h 10000"/>
                  <a:gd name="connsiteX93" fmla="*/ 5651 w 10000"/>
                  <a:gd name="connsiteY93" fmla="*/ 482 h 10000"/>
                  <a:gd name="connsiteX94" fmla="*/ 5610 w 10000"/>
                  <a:gd name="connsiteY94" fmla="*/ 611 h 10000"/>
                  <a:gd name="connsiteX95" fmla="*/ 5122 w 10000"/>
                  <a:gd name="connsiteY95" fmla="*/ 611 h 10000"/>
                  <a:gd name="connsiteX96" fmla="*/ 4635 w 10000"/>
                  <a:gd name="connsiteY96" fmla="*/ 611 h 10000"/>
                  <a:gd name="connsiteX97" fmla="*/ 4147 w 10000"/>
                  <a:gd name="connsiteY97" fmla="*/ 611 h 10000"/>
                  <a:gd name="connsiteX98" fmla="*/ 3659 w 10000"/>
                  <a:gd name="connsiteY98" fmla="*/ 611 h 10000"/>
                  <a:gd name="connsiteX99" fmla="*/ 3212 w 10000"/>
                  <a:gd name="connsiteY99" fmla="*/ 611 h 10000"/>
                  <a:gd name="connsiteX100" fmla="*/ 2724 w 10000"/>
                  <a:gd name="connsiteY100" fmla="*/ 611 h 10000"/>
                  <a:gd name="connsiteX101" fmla="*/ 2276 w 10000"/>
                  <a:gd name="connsiteY101" fmla="*/ 611 h 10000"/>
                  <a:gd name="connsiteX102" fmla="*/ 1789 w 10000"/>
                  <a:gd name="connsiteY102" fmla="*/ 611 h 10000"/>
                  <a:gd name="connsiteX103" fmla="*/ 1789 w 10000"/>
                  <a:gd name="connsiteY103" fmla="*/ 1061 h 10000"/>
                  <a:gd name="connsiteX104" fmla="*/ 1789 w 10000"/>
                  <a:gd name="connsiteY104" fmla="*/ 1640 h 10000"/>
                  <a:gd name="connsiteX105" fmla="*/ 1179 w 10000"/>
                  <a:gd name="connsiteY105" fmla="*/ 1640 h 10000"/>
                  <a:gd name="connsiteX106" fmla="*/ 1179 w 10000"/>
                  <a:gd name="connsiteY106" fmla="*/ 1897 h 10000"/>
                  <a:gd name="connsiteX0" fmla="*/ 1098 w 9919"/>
                  <a:gd name="connsiteY0" fmla="*/ 1897 h 10000"/>
                  <a:gd name="connsiteX1" fmla="*/ 1098 w 9919"/>
                  <a:gd name="connsiteY1" fmla="*/ 2412 h 10000"/>
                  <a:gd name="connsiteX2" fmla="*/ 1098 w 9919"/>
                  <a:gd name="connsiteY2" fmla="*/ 2894 h 10000"/>
                  <a:gd name="connsiteX3" fmla="*/ 1098 w 9919"/>
                  <a:gd name="connsiteY3" fmla="*/ 3376 h 10000"/>
                  <a:gd name="connsiteX4" fmla="*/ 1098 w 9919"/>
                  <a:gd name="connsiteY4" fmla="*/ 3826 h 10000"/>
                  <a:gd name="connsiteX5" fmla="*/ 448 w 9919"/>
                  <a:gd name="connsiteY5" fmla="*/ 3923 h 10000"/>
                  <a:gd name="connsiteX6" fmla="*/ 326 w 9919"/>
                  <a:gd name="connsiteY6" fmla="*/ 4180 h 10000"/>
                  <a:gd name="connsiteX7" fmla="*/ 41 w 9919"/>
                  <a:gd name="connsiteY7" fmla="*/ 4502 h 10000"/>
                  <a:gd name="connsiteX8" fmla="*/ 41 w 9919"/>
                  <a:gd name="connsiteY8" fmla="*/ 4759 h 10000"/>
                  <a:gd name="connsiteX9" fmla="*/ 3775 w 9919"/>
                  <a:gd name="connsiteY9" fmla="*/ 7279 h 10000"/>
                  <a:gd name="connsiteX10" fmla="*/ 3074 w 9919"/>
                  <a:gd name="connsiteY10" fmla="*/ 7095 h 10000"/>
                  <a:gd name="connsiteX11" fmla="*/ 2886 w 9919"/>
                  <a:gd name="connsiteY11" fmla="*/ 7195 h 10000"/>
                  <a:gd name="connsiteX12" fmla="*/ 2418 w 9919"/>
                  <a:gd name="connsiteY12" fmla="*/ 6973 h 10000"/>
                  <a:gd name="connsiteX13" fmla="*/ 2212 w 9919"/>
                  <a:gd name="connsiteY13" fmla="*/ 6638 h 10000"/>
                  <a:gd name="connsiteX14" fmla="*/ 1868 w 9919"/>
                  <a:gd name="connsiteY14" fmla="*/ 6729 h 10000"/>
                  <a:gd name="connsiteX15" fmla="*/ 1775 w 9919"/>
                  <a:gd name="connsiteY15" fmla="*/ 6927 h 10000"/>
                  <a:gd name="connsiteX16" fmla="*/ 1409 w 9919"/>
                  <a:gd name="connsiteY16" fmla="*/ 7011 h 10000"/>
                  <a:gd name="connsiteX17" fmla="*/ 1170 w 9919"/>
                  <a:gd name="connsiteY17" fmla="*/ 7004 h 10000"/>
                  <a:gd name="connsiteX18" fmla="*/ 1040 w 9919"/>
                  <a:gd name="connsiteY18" fmla="*/ 7161 h 10000"/>
                  <a:gd name="connsiteX19" fmla="*/ 814 w 9919"/>
                  <a:gd name="connsiteY19" fmla="*/ 6913 h 10000"/>
                  <a:gd name="connsiteX20" fmla="*/ 773 w 9919"/>
                  <a:gd name="connsiteY20" fmla="*/ 7363 h 10000"/>
                  <a:gd name="connsiteX21" fmla="*/ 854 w 9919"/>
                  <a:gd name="connsiteY21" fmla="*/ 7428 h 10000"/>
                  <a:gd name="connsiteX22" fmla="*/ 1179 w 9919"/>
                  <a:gd name="connsiteY22" fmla="*/ 7460 h 10000"/>
                  <a:gd name="connsiteX23" fmla="*/ 1221 w 9919"/>
                  <a:gd name="connsiteY23" fmla="*/ 7588 h 10000"/>
                  <a:gd name="connsiteX24" fmla="*/ 1586 w 9919"/>
                  <a:gd name="connsiteY24" fmla="*/ 7621 h 10000"/>
                  <a:gd name="connsiteX25" fmla="*/ 1789 w 9919"/>
                  <a:gd name="connsiteY25" fmla="*/ 7749 h 10000"/>
                  <a:gd name="connsiteX26" fmla="*/ 1830 w 9919"/>
                  <a:gd name="connsiteY26" fmla="*/ 7974 h 10000"/>
                  <a:gd name="connsiteX27" fmla="*/ 2481 w 9919"/>
                  <a:gd name="connsiteY27" fmla="*/ 8360 h 10000"/>
                  <a:gd name="connsiteX28" fmla="*/ 2643 w 9919"/>
                  <a:gd name="connsiteY28" fmla="*/ 8746 h 10000"/>
                  <a:gd name="connsiteX29" fmla="*/ 3090 w 9919"/>
                  <a:gd name="connsiteY29" fmla="*/ 8939 h 10000"/>
                  <a:gd name="connsiteX30" fmla="*/ 3253 w 9919"/>
                  <a:gd name="connsiteY30" fmla="*/ 9196 h 10000"/>
                  <a:gd name="connsiteX31" fmla="*/ 3578 w 9919"/>
                  <a:gd name="connsiteY31" fmla="*/ 9518 h 10000"/>
                  <a:gd name="connsiteX32" fmla="*/ 3822 w 9919"/>
                  <a:gd name="connsiteY32" fmla="*/ 9614 h 10000"/>
                  <a:gd name="connsiteX33" fmla="*/ 3985 w 9919"/>
                  <a:gd name="connsiteY33" fmla="*/ 9518 h 10000"/>
                  <a:gd name="connsiteX34" fmla="*/ 4391 w 9919"/>
                  <a:gd name="connsiteY34" fmla="*/ 9550 h 10000"/>
                  <a:gd name="connsiteX35" fmla="*/ 4554 w 9919"/>
                  <a:gd name="connsiteY35" fmla="*/ 9486 h 10000"/>
                  <a:gd name="connsiteX36" fmla="*/ 5285 w 9919"/>
                  <a:gd name="connsiteY36" fmla="*/ 9968 h 10000"/>
                  <a:gd name="connsiteX37" fmla="*/ 5326 w 9919"/>
                  <a:gd name="connsiteY37" fmla="*/ 9968 h 10000"/>
                  <a:gd name="connsiteX38" fmla="*/ 5407 w 9919"/>
                  <a:gd name="connsiteY38" fmla="*/ 9904 h 10000"/>
                  <a:gd name="connsiteX39" fmla="*/ 5935 w 9919"/>
                  <a:gd name="connsiteY39" fmla="*/ 9904 h 10000"/>
                  <a:gd name="connsiteX40" fmla="*/ 6017 w 9919"/>
                  <a:gd name="connsiteY40" fmla="*/ 10000 h 10000"/>
                  <a:gd name="connsiteX41" fmla="*/ 6464 w 9919"/>
                  <a:gd name="connsiteY41" fmla="*/ 9871 h 10000"/>
                  <a:gd name="connsiteX42" fmla="*/ 6870 w 9919"/>
                  <a:gd name="connsiteY42" fmla="*/ 9871 h 10000"/>
                  <a:gd name="connsiteX43" fmla="*/ 7155 w 9919"/>
                  <a:gd name="connsiteY43" fmla="*/ 9743 h 10000"/>
                  <a:gd name="connsiteX44" fmla="*/ 7480 w 9919"/>
                  <a:gd name="connsiteY44" fmla="*/ 9486 h 10000"/>
                  <a:gd name="connsiteX45" fmla="*/ 8334 w 9919"/>
                  <a:gd name="connsiteY45" fmla="*/ 9486 h 10000"/>
                  <a:gd name="connsiteX46" fmla="*/ 8334 w 9919"/>
                  <a:gd name="connsiteY46" fmla="*/ 9132 h 10000"/>
                  <a:gd name="connsiteX47" fmla="*/ 7887 w 9919"/>
                  <a:gd name="connsiteY47" fmla="*/ 8971 h 10000"/>
                  <a:gd name="connsiteX48" fmla="*/ 7643 w 9919"/>
                  <a:gd name="connsiteY48" fmla="*/ 8457 h 10000"/>
                  <a:gd name="connsiteX49" fmla="*/ 7318 w 9919"/>
                  <a:gd name="connsiteY49" fmla="*/ 8264 h 10000"/>
                  <a:gd name="connsiteX50" fmla="*/ 7114 w 9919"/>
                  <a:gd name="connsiteY50" fmla="*/ 8006 h 10000"/>
                  <a:gd name="connsiteX51" fmla="*/ 6586 w 9919"/>
                  <a:gd name="connsiteY51" fmla="*/ 7814 h 10000"/>
                  <a:gd name="connsiteX52" fmla="*/ 6707 w 9919"/>
                  <a:gd name="connsiteY52" fmla="*/ 7749 h 10000"/>
                  <a:gd name="connsiteX53" fmla="*/ 6707 w 9919"/>
                  <a:gd name="connsiteY53" fmla="*/ 7588 h 10000"/>
                  <a:gd name="connsiteX54" fmla="*/ 7074 w 9919"/>
                  <a:gd name="connsiteY54" fmla="*/ 7588 h 10000"/>
                  <a:gd name="connsiteX55" fmla="*/ 7277 w 9919"/>
                  <a:gd name="connsiteY55" fmla="*/ 7460 h 10000"/>
                  <a:gd name="connsiteX56" fmla="*/ 7318 w 9919"/>
                  <a:gd name="connsiteY56" fmla="*/ 6527 h 10000"/>
                  <a:gd name="connsiteX57" fmla="*/ 7358 w 9919"/>
                  <a:gd name="connsiteY57" fmla="*/ 6559 h 10000"/>
                  <a:gd name="connsiteX58" fmla="*/ 7480 w 9919"/>
                  <a:gd name="connsiteY58" fmla="*/ 6367 h 10000"/>
                  <a:gd name="connsiteX59" fmla="*/ 7724 w 9919"/>
                  <a:gd name="connsiteY59" fmla="*/ 6270 h 10000"/>
                  <a:gd name="connsiteX60" fmla="*/ 7846 w 9919"/>
                  <a:gd name="connsiteY60" fmla="*/ 5916 h 10000"/>
                  <a:gd name="connsiteX61" fmla="*/ 8212 w 9919"/>
                  <a:gd name="connsiteY61" fmla="*/ 5498 h 10000"/>
                  <a:gd name="connsiteX62" fmla="*/ 8496 w 9919"/>
                  <a:gd name="connsiteY62" fmla="*/ 5305 h 10000"/>
                  <a:gd name="connsiteX63" fmla="*/ 8699 w 9919"/>
                  <a:gd name="connsiteY63" fmla="*/ 4759 h 10000"/>
                  <a:gd name="connsiteX64" fmla="*/ 8699 w 9919"/>
                  <a:gd name="connsiteY64" fmla="*/ 4630 h 10000"/>
                  <a:gd name="connsiteX65" fmla="*/ 8659 w 9919"/>
                  <a:gd name="connsiteY65" fmla="*/ 4309 h 10000"/>
                  <a:gd name="connsiteX66" fmla="*/ 9066 w 9919"/>
                  <a:gd name="connsiteY66" fmla="*/ 3151 h 10000"/>
                  <a:gd name="connsiteX67" fmla="*/ 9187 w 9919"/>
                  <a:gd name="connsiteY67" fmla="*/ 3151 h 10000"/>
                  <a:gd name="connsiteX68" fmla="*/ 9350 w 9919"/>
                  <a:gd name="connsiteY68" fmla="*/ 3055 h 10000"/>
                  <a:gd name="connsiteX69" fmla="*/ 9838 w 9919"/>
                  <a:gd name="connsiteY69" fmla="*/ 2894 h 10000"/>
                  <a:gd name="connsiteX70" fmla="*/ 9919 w 9919"/>
                  <a:gd name="connsiteY70" fmla="*/ 2637 h 10000"/>
                  <a:gd name="connsiteX71" fmla="*/ 9879 w 9919"/>
                  <a:gd name="connsiteY71" fmla="*/ 2572 h 10000"/>
                  <a:gd name="connsiteX72" fmla="*/ 9716 w 9919"/>
                  <a:gd name="connsiteY72" fmla="*/ 2572 h 10000"/>
                  <a:gd name="connsiteX73" fmla="*/ 9594 w 9919"/>
                  <a:gd name="connsiteY73" fmla="*/ 2412 h 10000"/>
                  <a:gd name="connsiteX74" fmla="*/ 9350 w 9919"/>
                  <a:gd name="connsiteY74" fmla="*/ 2347 h 10000"/>
                  <a:gd name="connsiteX75" fmla="*/ 9228 w 9919"/>
                  <a:gd name="connsiteY75" fmla="*/ 2219 h 10000"/>
                  <a:gd name="connsiteX76" fmla="*/ 9147 w 9919"/>
                  <a:gd name="connsiteY76" fmla="*/ 1736 h 10000"/>
                  <a:gd name="connsiteX77" fmla="*/ 9147 w 9919"/>
                  <a:gd name="connsiteY77" fmla="*/ 1061 h 10000"/>
                  <a:gd name="connsiteX78" fmla="*/ 8943 w 9919"/>
                  <a:gd name="connsiteY78" fmla="*/ 836 h 10000"/>
                  <a:gd name="connsiteX79" fmla="*/ 8903 w 9919"/>
                  <a:gd name="connsiteY79" fmla="*/ 611 h 10000"/>
                  <a:gd name="connsiteX80" fmla="*/ 8578 w 9919"/>
                  <a:gd name="connsiteY80" fmla="*/ 289 h 10000"/>
                  <a:gd name="connsiteX81" fmla="*/ 8293 w 9919"/>
                  <a:gd name="connsiteY81" fmla="*/ 161 h 10000"/>
                  <a:gd name="connsiteX82" fmla="*/ 8131 w 9919"/>
                  <a:gd name="connsiteY82" fmla="*/ 0 h 10000"/>
                  <a:gd name="connsiteX83" fmla="*/ 7887 w 9919"/>
                  <a:gd name="connsiteY83" fmla="*/ 161 h 10000"/>
                  <a:gd name="connsiteX84" fmla="*/ 7724 w 9919"/>
                  <a:gd name="connsiteY84" fmla="*/ 129 h 10000"/>
                  <a:gd name="connsiteX85" fmla="*/ 7602 w 9919"/>
                  <a:gd name="connsiteY85" fmla="*/ 418 h 10000"/>
                  <a:gd name="connsiteX86" fmla="*/ 7277 w 9919"/>
                  <a:gd name="connsiteY86" fmla="*/ 482 h 10000"/>
                  <a:gd name="connsiteX87" fmla="*/ 7195 w 9919"/>
                  <a:gd name="connsiteY87" fmla="*/ 707 h 10000"/>
                  <a:gd name="connsiteX88" fmla="*/ 6911 w 9919"/>
                  <a:gd name="connsiteY88" fmla="*/ 707 h 10000"/>
                  <a:gd name="connsiteX89" fmla="*/ 6667 w 9919"/>
                  <a:gd name="connsiteY89" fmla="*/ 611 h 10000"/>
                  <a:gd name="connsiteX90" fmla="*/ 6139 w 9919"/>
                  <a:gd name="connsiteY90" fmla="*/ 611 h 10000"/>
                  <a:gd name="connsiteX91" fmla="*/ 5610 w 9919"/>
                  <a:gd name="connsiteY91" fmla="*/ 611 h 10000"/>
                  <a:gd name="connsiteX92" fmla="*/ 5651 w 9919"/>
                  <a:gd name="connsiteY92" fmla="*/ 482 h 10000"/>
                  <a:gd name="connsiteX93" fmla="*/ 5570 w 9919"/>
                  <a:gd name="connsiteY93" fmla="*/ 482 h 10000"/>
                  <a:gd name="connsiteX94" fmla="*/ 5529 w 9919"/>
                  <a:gd name="connsiteY94" fmla="*/ 611 h 10000"/>
                  <a:gd name="connsiteX95" fmla="*/ 5041 w 9919"/>
                  <a:gd name="connsiteY95" fmla="*/ 611 h 10000"/>
                  <a:gd name="connsiteX96" fmla="*/ 4554 w 9919"/>
                  <a:gd name="connsiteY96" fmla="*/ 611 h 10000"/>
                  <a:gd name="connsiteX97" fmla="*/ 4066 w 9919"/>
                  <a:gd name="connsiteY97" fmla="*/ 611 h 10000"/>
                  <a:gd name="connsiteX98" fmla="*/ 3578 w 9919"/>
                  <a:gd name="connsiteY98" fmla="*/ 611 h 10000"/>
                  <a:gd name="connsiteX99" fmla="*/ 3131 w 9919"/>
                  <a:gd name="connsiteY99" fmla="*/ 611 h 10000"/>
                  <a:gd name="connsiteX100" fmla="*/ 2643 w 9919"/>
                  <a:gd name="connsiteY100" fmla="*/ 611 h 10000"/>
                  <a:gd name="connsiteX101" fmla="*/ 2195 w 9919"/>
                  <a:gd name="connsiteY101" fmla="*/ 611 h 10000"/>
                  <a:gd name="connsiteX102" fmla="*/ 1708 w 9919"/>
                  <a:gd name="connsiteY102" fmla="*/ 611 h 10000"/>
                  <a:gd name="connsiteX103" fmla="*/ 1708 w 9919"/>
                  <a:gd name="connsiteY103" fmla="*/ 1061 h 10000"/>
                  <a:gd name="connsiteX104" fmla="*/ 1708 w 9919"/>
                  <a:gd name="connsiteY104" fmla="*/ 1640 h 10000"/>
                  <a:gd name="connsiteX105" fmla="*/ 1098 w 9919"/>
                  <a:gd name="connsiteY105" fmla="*/ 1640 h 10000"/>
                  <a:gd name="connsiteX106" fmla="*/ 1098 w 9919"/>
                  <a:gd name="connsiteY106" fmla="*/ 1897 h 10000"/>
                  <a:gd name="connsiteX0" fmla="*/ 1066 w 9959"/>
                  <a:gd name="connsiteY0" fmla="*/ 1897 h 10000"/>
                  <a:gd name="connsiteX1" fmla="*/ 1066 w 9959"/>
                  <a:gd name="connsiteY1" fmla="*/ 2412 h 10000"/>
                  <a:gd name="connsiteX2" fmla="*/ 1066 w 9959"/>
                  <a:gd name="connsiteY2" fmla="*/ 2894 h 10000"/>
                  <a:gd name="connsiteX3" fmla="*/ 1066 w 9959"/>
                  <a:gd name="connsiteY3" fmla="*/ 3376 h 10000"/>
                  <a:gd name="connsiteX4" fmla="*/ 1066 w 9959"/>
                  <a:gd name="connsiteY4" fmla="*/ 3826 h 10000"/>
                  <a:gd name="connsiteX5" fmla="*/ 411 w 9959"/>
                  <a:gd name="connsiteY5" fmla="*/ 3923 h 10000"/>
                  <a:gd name="connsiteX6" fmla="*/ 288 w 9959"/>
                  <a:gd name="connsiteY6" fmla="*/ 4180 h 10000"/>
                  <a:gd name="connsiteX7" fmla="*/ 0 w 9959"/>
                  <a:gd name="connsiteY7" fmla="*/ 4502 h 10000"/>
                  <a:gd name="connsiteX8" fmla="*/ 4089 w 9959"/>
                  <a:gd name="connsiteY8" fmla="*/ 7281 h 10000"/>
                  <a:gd name="connsiteX9" fmla="*/ 3765 w 9959"/>
                  <a:gd name="connsiteY9" fmla="*/ 7279 h 10000"/>
                  <a:gd name="connsiteX10" fmla="*/ 3058 w 9959"/>
                  <a:gd name="connsiteY10" fmla="*/ 7095 h 10000"/>
                  <a:gd name="connsiteX11" fmla="*/ 2869 w 9959"/>
                  <a:gd name="connsiteY11" fmla="*/ 7195 h 10000"/>
                  <a:gd name="connsiteX12" fmla="*/ 2397 w 9959"/>
                  <a:gd name="connsiteY12" fmla="*/ 6973 h 10000"/>
                  <a:gd name="connsiteX13" fmla="*/ 2189 w 9959"/>
                  <a:gd name="connsiteY13" fmla="*/ 6638 h 10000"/>
                  <a:gd name="connsiteX14" fmla="*/ 1842 w 9959"/>
                  <a:gd name="connsiteY14" fmla="*/ 6729 h 10000"/>
                  <a:gd name="connsiteX15" fmla="*/ 1748 w 9959"/>
                  <a:gd name="connsiteY15" fmla="*/ 6927 h 10000"/>
                  <a:gd name="connsiteX16" fmla="*/ 1380 w 9959"/>
                  <a:gd name="connsiteY16" fmla="*/ 7011 h 10000"/>
                  <a:gd name="connsiteX17" fmla="*/ 1139 w 9959"/>
                  <a:gd name="connsiteY17" fmla="*/ 7004 h 10000"/>
                  <a:gd name="connsiteX18" fmla="*/ 1007 w 9959"/>
                  <a:gd name="connsiteY18" fmla="*/ 7161 h 10000"/>
                  <a:gd name="connsiteX19" fmla="*/ 780 w 9959"/>
                  <a:gd name="connsiteY19" fmla="*/ 6913 h 10000"/>
                  <a:gd name="connsiteX20" fmla="*/ 738 w 9959"/>
                  <a:gd name="connsiteY20" fmla="*/ 7363 h 10000"/>
                  <a:gd name="connsiteX21" fmla="*/ 820 w 9959"/>
                  <a:gd name="connsiteY21" fmla="*/ 7428 h 10000"/>
                  <a:gd name="connsiteX22" fmla="*/ 1148 w 9959"/>
                  <a:gd name="connsiteY22" fmla="*/ 7460 h 10000"/>
                  <a:gd name="connsiteX23" fmla="*/ 1190 w 9959"/>
                  <a:gd name="connsiteY23" fmla="*/ 7588 h 10000"/>
                  <a:gd name="connsiteX24" fmla="*/ 1558 w 9959"/>
                  <a:gd name="connsiteY24" fmla="*/ 7621 h 10000"/>
                  <a:gd name="connsiteX25" fmla="*/ 1763 w 9959"/>
                  <a:gd name="connsiteY25" fmla="*/ 7749 h 10000"/>
                  <a:gd name="connsiteX26" fmla="*/ 1804 w 9959"/>
                  <a:gd name="connsiteY26" fmla="*/ 7974 h 10000"/>
                  <a:gd name="connsiteX27" fmla="*/ 2460 w 9959"/>
                  <a:gd name="connsiteY27" fmla="*/ 8360 h 10000"/>
                  <a:gd name="connsiteX28" fmla="*/ 2624 w 9959"/>
                  <a:gd name="connsiteY28" fmla="*/ 8746 h 10000"/>
                  <a:gd name="connsiteX29" fmla="*/ 3074 w 9959"/>
                  <a:gd name="connsiteY29" fmla="*/ 8939 h 10000"/>
                  <a:gd name="connsiteX30" fmla="*/ 3239 w 9959"/>
                  <a:gd name="connsiteY30" fmla="*/ 9196 h 10000"/>
                  <a:gd name="connsiteX31" fmla="*/ 3566 w 9959"/>
                  <a:gd name="connsiteY31" fmla="*/ 9518 h 10000"/>
                  <a:gd name="connsiteX32" fmla="*/ 3812 w 9959"/>
                  <a:gd name="connsiteY32" fmla="*/ 9614 h 10000"/>
                  <a:gd name="connsiteX33" fmla="*/ 3977 w 9959"/>
                  <a:gd name="connsiteY33" fmla="*/ 9518 h 10000"/>
                  <a:gd name="connsiteX34" fmla="*/ 4386 w 9959"/>
                  <a:gd name="connsiteY34" fmla="*/ 9550 h 10000"/>
                  <a:gd name="connsiteX35" fmla="*/ 4550 w 9959"/>
                  <a:gd name="connsiteY35" fmla="*/ 9486 h 10000"/>
                  <a:gd name="connsiteX36" fmla="*/ 5287 w 9959"/>
                  <a:gd name="connsiteY36" fmla="*/ 9968 h 10000"/>
                  <a:gd name="connsiteX37" fmla="*/ 5328 w 9959"/>
                  <a:gd name="connsiteY37" fmla="*/ 9968 h 10000"/>
                  <a:gd name="connsiteX38" fmla="*/ 5410 w 9959"/>
                  <a:gd name="connsiteY38" fmla="*/ 9904 h 10000"/>
                  <a:gd name="connsiteX39" fmla="*/ 5942 w 9959"/>
                  <a:gd name="connsiteY39" fmla="*/ 9904 h 10000"/>
                  <a:gd name="connsiteX40" fmla="*/ 6025 w 9959"/>
                  <a:gd name="connsiteY40" fmla="*/ 10000 h 10000"/>
                  <a:gd name="connsiteX41" fmla="*/ 6476 w 9959"/>
                  <a:gd name="connsiteY41" fmla="*/ 9871 h 10000"/>
                  <a:gd name="connsiteX42" fmla="*/ 6885 w 9959"/>
                  <a:gd name="connsiteY42" fmla="*/ 9871 h 10000"/>
                  <a:gd name="connsiteX43" fmla="*/ 7172 w 9959"/>
                  <a:gd name="connsiteY43" fmla="*/ 9743 h 10000"/>
                  <a:gd name="connsiteX44" fmla="*/ 7500 w 9959"/>
                  <a:gd name="connsiteY44" fmla="*/ 9486 h 10000"/>
                  <a:gd name="connsiteX45" fmla="*/ 8361 w 9959"/>
                  <a:gd name="connsiteY45" fmla="*/ 9486 h 10000"/>
                  <a:gd name="connsiteX46" fmla="*/ 8361 w 9959"/>
                  <a:gd name="connsiteY46" fmla="*/ 9132 h 10000"/>
                  <a:gd name="connsiteX47" fmla="*/ 7910 w 9959"/>
                  <a:gd name="connsiteY47" fmla="*/ 8971 h 10000"/>
                  <a:gd name="connsiteX48" fmla="*/ 7664 w 9959"/>
                  <a:gd name="connsiteY48" fmla="*/ 8457 h 10000"/>
                  <a:gd name="connsiteX49" fmla="*/ 7337 w 9959"/>
                  <a:gd name="connsiteY49" fmla="*/ 8264 h 10000"/>
                  <a:gd name="connsiteX50" fmla="*/ 7131 w 9959"/>
                  <a:gd name="connsiteY50" fmla="*/ 8006 h 10000"/>
                  <a:gd name="connsiteX51" fmla="*/ 6599 w 9959"/>
                  <a:gd name="connsiteY51" fmla="*/ 7814 h 10000"/>
                  <a:gd name="connsiteX52" fmla="*/ 6721 w 9959"/>
                  <a:gd name="connsiteY52" fmla="*/ 7749 h 10000"/>
                  <a:gd name="connsiteX53" fmla="*/ 6721 w 9959"/>
                  <a:gd name="connsiteY53" fmla="*/ 7588 h 10000"/>
                  <a:gd name="connsiteX54" fmla="*/ 7091 w 9959"/>
                  <a:gd name="connsiteY54" fmla="*/ 7588 h 10000"/>
                  <a:gd name="connsiteX55" fmla="*/ 7295 w 9959"/>
                  <a:gd name="connsiteY55" fmla="*/ 7460 h 10000"/>
                  <a:gd name="connsiteX56" fmla="*/ 7337 w 9959"/>
                  <a:gd name="connsiteY56" fmla="*/ 6527 h 10000"/>
                  <a:gd name="connsiteX57" fmla="*/ 7377 w 9959"/>
                  <a:gd name="connsiteY57" fmla="*/ 6559 h 10000"/>
                  <a:gd name="connsiteX58" fmla="*/ 7500 w 9959"/>
                  <a:gd name="connsiteY58" fmla="*/ 6367 h 10000"/>
                  <a:gd name="connsiteX59" fmla="*/ 7746 w 9959"/>
                  <a:gd name="connsiteY59" fmla="*/ 6270 h 10000"/>
                  <a:gd name="connsiteX60" fmla="*/ 7869 w 9959"/>
                  <a:gd name="connsiteY60" fmla="*/ 5916 h 10000"/>
                  <a:gd name="connsiteX61" fmla="*/ 8238 w 9959"/>
                  <a:gd name="connsiteY61" fmla="*/ 5498 h 10000"/>
                  <a:gd name="connsiteX62" fmla="*/ 8524 w 9959"/>
                  <a:gd name="connsiteY62" fmla="*/ 5305 h 10000"/>
                  <a:gd name="connsiteX63" fmla="*/ 8729 w 9959"/>
                  <a:gd name="connsiteY63" fmla="*/ 4759 h 10000"/>
                  <a:gd name="connsiteX64" fmla="*/ 8729 w 9959"/>
                  <a:gd name="connsiteY64" fmla="*/ 4630 h 10000"/>
                  <a:gd name="connsiteX65" fmla="*/ 8689 w 9959"/>
                  <a:gd name="connsiteY65" fmla="*/ 4309 h 10000"/>
                  <a:gd name="connsiteX66" fmla="*/ 9099 w 9959"/>
                  <a:gd name="connsiteY66" fmla="*/ 3151 h 10000"/>
                  <a:gd name="connsiteX67" fmla="*/ 9221 w 9959"/>
                  <a:gd name="connsiteY67" fmla="*/ 3151 h 10000"/>
                  <a:gd name="connsiteX68" fmla="*/ 9385 w 9959"/>
                  <a:gd name="connsiteY68" fmla="*/ 3055 h 10000"/>
                  <a:gd name="connsiteX69" fmla="*/ 9877 w 9959"/>
                  <a:gd name="connsiteY69" fmla="*/ 2894 h 10000"/>
                  <a:gd name="connsiteX70" fmla="*/ 9959 w 9959"/>
                  <a:gd name="connsiteY70" fmla="*/ 2637 h 10000"/>
                  <a:gd name="connsiteX71" fmla="*/ 9919 w 9959"/>
                  <a:gd name="connsiteY71" fmla="*/ 2572 h 10000"/>
                  <a:gd name="connsiteX72" fmla="*/ 9754 w 9959"/>
                  <a:gd name="connsiteY72" fmla="*/ 2572 h 10000"/>
                  <a:gd name="connsiteX73" fmla="*/ 9631 w 9959"/>
                  <a:gd name="connsiteY73" fmla="*/ 2412 h 10000"/>
                  <a:gd name="connsiteX74" fmla="*/ 9385 w 9959"/>
                  <a:gd name="connsiteY74" fmla="*/ 2347 h 10000"/>
                  <a:gd name="connsiteX75" fmla="*/ 9262 w 9959"/>
                  <a:gd name="connsiteY75" fmla="*/ 2219 h 10000"/>
                  <a:gd name="connsiteX76" fmla="*/ 9181 w 9959"/>
                  <a:gd name="connsiteY76" fmla="*/ 1736 h 10000"/>
                  <a:gd name="connsiteX77" fmla="*/ 9181 w 9959"/>
                  <a:gd name="connsiteY77" fmla="*/ 1061 h 10000"/>
                  <a:gd name="connsiteX78" fmla="*/ 8975 w 9959"/>
                  <a:gd name="connsiteY78" fmla="*/ 836 h 10000"/>
                  <a:gd name="connsiteX79" fmla="*/ 8935 w 9959"/>
                  <a:gd name="connsiteY79" fmla="*/ 611 h 10000"/>
                  <a:gd name="connsiteX80" fmla="*/ 8607 w 9959"/>
                  <a:gd name="connsiteY80" fmla="*/ 289 h 10000"/>
                  <a:gd name="connsiteX81" fmla="*/ 8320 w 9959"/>
                  <a:gd name="connsiteY81" fmla="*/ 161 h 10000"/>
                  <a:gd name="connsiteX82" fmla="*/ 8156 w 9959"/>
                  <a:gd name="connsiteY82" fmla="*/ 0 h 10000"/>
                  <a:gd name="connsiteX83" fmla="*/ 7910 w 9959"/>
                  <a:gd name="connsiteY83" fmla="*/ 161 h 10000"/>
                  <a:gd name="connsiteX84" fmla="*/ 7746 w 9959"/>
                  <a:gd name="connsiteY84" fmla="*/ 129 h 10000"/>
                  <a:gd name="connsiteX85" fmla="*/ 7623 w 9959"/>
                  <a:gd name="connsiteY85" fmla="*/ 418 h 10000"/>
                  <a:gd name="connsiteX86" fmla="*/ 7295 w 9959"/>
                  <a:gd name="connsiteY86" fmla="*/ 482 h 10000"/>
                  <a:gd name="connsiteX87" fmla="*/ 7213 w 9959"/>
                  <a:gd name="connsiteY87" fmla="*/ 707 h 10000"/>
                  <a:gd name="connsiteX88" fmla="*/ 6926 w 9959"/>
                  <a:gd name="connsiteY88" fmla="*/ 707 h 10000"/>
                  <a:gd name="connsiteX89" fmla="*/ 6680 w 9959"/>
                  <a:gd name="connsiteY89" fmla="*/ 611 h 10000"/>
                  <a:gd name="connsiteX90" fmla="*/ 6148 w 9959"/>
                  <a:gd name="connsiteY90" fmla="*/ 611 h 10000"/>
                  <a:gd name="connsiteX91" fmla="*/ 5615 w 9959"/>
                  <a:gd name="connsiteY91" fmla="*/ 611 h 10000"/>
                  <a:gd name="connsiteX92" fmla="*/ 5656 w 9959"/>
                  <a:gd name="connsiteY92" fmla="*/ 482 h 10000"/>
                  <a:gd name="connsiteX93" fmla="*/ 5574 w 9959"/>
                  <a:gd name="connsiteY93" fmla="*/ 482 h 10000"/>
                  <a:gd name="connsiteX94" fmla="*/ 5533 w 9959"/>
                  <a:gd name="connsiteY94" fmla="*/ 611 h 10000"/>
                  <a:gd name="connsiteX95" fmla="*/ 5041 w 9959"/>
                  <a:gd name="connsiteY95" fmla="*/ 611 h 10000"/>
                  <a:gd name="connsiteX96" fmla="*/ 4550 w 9959"/>
                  <a:gd name="connsiteY96" fmla="*/ 611 h 10000"/>
                  <a:gd name="connsiteX97" fmla="*/ 4058 w 9959"/>
                  <a:gd name="connsiteY97" fmla="*/ 611 h 10000"/>
                  <a:gd name="connsiteX98" fmla="*/ 3566 w 9959"/>
                  <a:gd name="connsiteY98" fmla="*/ 611 h 10000"/>
                  <a:gd name="connsiteX99" fmla="*/ 3116 w 9959"/>
                  <a:gd name="connsiteY99" fmla="*/ 611 h 10000"/>
                  <a:gd name="connsiteX100" fmla="*/ 2624 w 9959"/>
                  <a:gd name="connsiteY100" fmla="*/ 611 h 10000"/>
                  <a:gd name="connsiteX101" fmla="*/ 2172 w 9959"/>
                  <a:gd name="connsiteY101" fmla="*/ 611 h 10000"/>
                  <a:gd name="connsiteX102" fmla="*/ 1681 w 9959"/>
                  <a:gd name="connsiteY102" fmla="*/ 611 h 10000"/>
                  <a:gd name="connsiteX103" fmla="*/ 1681 w 9959"/>
                  <a:gd name="connsiteY103" fmla="*/ 1061 h 10000"/>
                  <a:gd name="connsiteX104" fmla="*/ 1681 w 9959"/>
                  <a:gd name="connsiteY104" fmla="*/ 1640 h 10000"/>
                  <a:gd name="connsiteX105" fmla="*/ 1066 w 9959"/>
                  <a:gd name="connsiteY105" fmla="*/ 1640 h 10000"/>
                  <a:gd name="connsiteX106" fmla="*/ 1066 w 9959"/>
                  <a:gd name="connsiteY106" fmla="*/ 1897 h 10000"/>
                  <a:gd name="connsiteX0" fmla="*/ 781 w 9711"/>
                  <a:gd name="connsiteY0" fmla="*/ 1897 h 10000"/>
                  <a:gd name="connsiteX1" fmla="*/ 781 w 9711"/>
                  <a:gd name="connsiteY1" fmla="*/ 2412 h 10000"/>
                  <a:gd name="connsiteX2" fmla="*/ 781 w 9711"/>
                  <a:gd name="connsiteY2" fmla="*/ 2894 h 10000"/>
                  <a:gd name="connsiteX3" fmla="*/ 781 w 9711"/>
                  <a:gd name="connsiteY3" fmla="*/ 3376 h 10000"/>
                  <a:gd name="connsiteX4" fmla="*/ 781 w 9711"/>
                  <a:gd name="connsiteY4" fmla="*/ 3826 h 10000"/>
                  <a:gd name="connsiteX5" fmla="*/ 124 w 9711"/>
                  <a:gd name="connsiteY5" fmla="*/ 3923 h 10000"/>
                  <a:gd name="connsiteX6" fmla="*/ 0 w 9711"/>
                  <a:gd name="connsiteY6" fmla="*/ 4180 h 10000"/>
                  <a:gd name="connsiteX7" fmla="*/ 4324 w 9711"/>
                  <a:gd name="connsiteY7" fmla="*/ 7064 h 10000"/>
                  <a:gd name="connsiteX8" fmla="*/ 3817 w 9711"/>
                  <a:gd name="connsiteY8" fmla="*/ 7281 h 10000"/>
                  <a:gd name="connsiteX9" fmla="*/ 3492 w 9711"/>
                  <a:gd name="connsiteY9" fmla="*/ 7279 h 10000"/>
                  <a:gd name="connsiteX10" fmla="*/ 2782 w 9711"/>
                  <a:gd name="connsiteY10" fmla="*/ 7095 h 10000"/>
                  <a:gd name="connsiteX11" fmla="*/ 2592 w 9711"/>
                  <a:gd name="connsiteY11" fmla="*/ 7195 h 10000"/>
                  <a:gd name="connsiteX12" fmla="*/ 2118 w 9711"/>
                  <a:gd name="connsiteY12" fmla="*/ 6973 h 10000"/>
                  <a:gd name="connsiteX13" fmla="*/ 1909 w 9711"/>
                  <a:gd name="connsiteY13" fmla="*/ 6638 h 10000"/>
                  <a:gd name="connsiteX14" fmla="*/ 1561 w 9711"/>
                  <a:gd name="connsiteY14" fmla="*/ 6729 h 10000"/>
                  <a:gd name="connsiteX15" fmla="*/ 1466 w 9711"/>
                  <a:gd name="connsiteY15" fmla="*/ 6927 h 10000"/>
                  <a:gd name="connsiteX16" fmla="*/ 1097 w 9711"/>
                  <a:gd name="connsiteY16" fmla="*/ 7011 h 10000"/>
                  <a:gd name="connsiteX17" fmla="*/ 855 w 9711"/>
                  <a:gd name="connsiteY17" fmla="*/ 7004 h 10000"/>
                  <a:gd name="connsiteX18" fmla="*/ 722 w 9711"/>
                  <a:gd name="connsiteY18" fmla="*/ 7161 h 10000"/>
                  <a:gd name="connsiteX19" fmla="*/ 494 w 9711"/>
                  <a:gd name="connsiteY19" fmla="*/ 6913 h 10000"/>
                  <a:gd name="connsiteX20" fmla="*/ 452 w 9711"/>
                  <a:gd name="connsiteY20" fmla="*/ 7363 h 10000"/>
                  <a:gd name="connsiteX21" fmla="*/ 534 w 9711"/>
                  <a:gd name="connsiteY21" fmla="*/ 7428 h 10000"/>
                  <a:gd name="connsiteX22" fmla="*/ 864 w 9711"/>
                  <a:gd name="connsiteY22" fmla="*/ 7460 h 10000"/>
                  <a:gd name="connsiteX23" fmla="*/ 906 w 9711"/>
                  <a:gd name="connsiteY23" fmla="*/ 7588 h 10000"/>
                  <a:gd name="connsiteX24" fmla="*/ 1275 w 9711"/>
                  <a:gd name="connsiteY24" fmla="*/ 7621 h 10000"/>
                  <a:gd name="connsiteX25" fmla="*/ 1481 w 9711"/>
                  <a:gd name="connsiteY25" fmla="*/ 7749 h 10000"/>
                  <a:gd name="connsiteX26" fmla="*/ 1522 w 9711"/>
                  <a:gd name="connsiteY26" fmla="*/ 7974 h 10000"/>
                  <a:gd name="connsiteX27" fmla="*/ 2181 w 9711"/>
                  <a:gd name="connsiteY27" fmla="*/ 8360 h 10000"/>
                  <a:gd name="connsiteX28" fmla="*/ 2346 w 9711"/>
                  <a:gd name="connsiteY28" fmla="*/ 8746 h 10000"/>
                  <a:gd name="connsiteX29" fmla="*/ 2798 w 9711"/>
                  <a:gd name="connsiteY29" fmla="*/ 8939 h 10000"/>
                  <a:gd name="connsiteX30" fmla="*/ 2963 w 9711"/>
                  <a:gd name="connsiteY30" fmla="*/ 9196 h 10000"/>
                  <a:gd name="connsiteX31" fmla="*/ 3292 w 9711"/>
                  <a:gd name="connsiteY31" fmla="*/ 9518 h 10000"/>
                  <a:gd name="connsiteX32" fmla="*/ 3539 w 9711"/>
                  <a:gd name="connsiteY32" fmla="*/ 9614 h 10000"/>
                  <a:gd name="connsiteX33" fmla="*/ 3704 w 9711"/>
                  <a:gd name="connsiteY33" fmla="*/ 9518 h 10000"/>
                  <a:gd name="connsiteX34" fmla="*/ 4115 w 9711"/>
                  <a:gd name="connsiteY34" fmla="*/ 9550 h 10000"/>
                  <a:gd name="connsiteX35" fmla="*/ 4280 w 9711"/>
                  <a:gd name="connsiteY35" fmla="*/ 9486 h 10000"/>
                  <a:gd name="connsiteX36" fmla="*/ 5020 w 9711"/>
                  <a:gd name="connsiteY36" fmla="*/ 9968 h 10000"/>
                  <a:gd name="connsiteX37" fmla="*/ 5061 w 9711"/>
                  <a:gd name="connsiteY37" fmla="*/ 9968 h 10000"/>
                  <a:gd name="connsiteX38" fmla="*/ 5143 w 9711"/>
                  <a:gd name="connsiteY38" fmla="*/ 9904 h 10000"/>
                  <a:gd name="connsiteX39" fmla="*/ 5677 w 9711"/>
                  <a:gd name="connsiteY39" fmla="*/ 9904 h 10000"/>
                  <a:gd name="connsiteX40" fmla="*/ 5761 w 9711"/>
                  <a:gd name="connsiteY40" fmla="*/ 10000 h 10000"/>
                  <a:gd name="connsiteX41" fmla="*/ 6214 w 9711"/>
                  <a:gd name="connsiteY41" fmla="*/ 9871 h 10000"/>
                  <a:gd name="connsiteX42" fmla="*/ 6624 w 9711"/>
                  <a:gd name="connsiteY42" fmla="*/ 9871 h 10000"/>
                  <a:gd name="connsiteX43" fmla="*/ 6913 w 9711"/>
                  <a:gd name="connsiteY43" fmla="*/ 9743 h 10000"/>
                  <a:gd name="connsiteX44" fmla="*/ 7242 w 9711"/>
                  <a:gd name="connsiteY44" fmla="*/ 9486 h 10000"/>
                  <a:gd name="connsiteX45" fmla="*/ 8106 w 9711"/>
                  <a:gd name="connsiteY45" fmla="*/ 9486 h 10000"/>
                  <a:gd name="connsiteX46" fmla="*/ 8106 w 9711"/>
                  <a:gd name="connsiteY46" fmla="*/ 9132 h 10000"/>
                  <a:gd name="connsiteX47" fmla="*/ 7654 w 9711"/>
                  <a:gd name="connsiteY47" fmla="*/ 8971 h 10000"/>
                  <a:gd name="connsiteX48" fmla="*/ 7407 w 9711"/>
                  <a:gd name="connsiteY48" fmla="*/ 8457 h 10000"/>
                  <a:gd name="connsiteX49" fmla="*/ 7078 w 9711"/>
                  <a:gd name="connsiteY49" fmla="*/ 8264 h 10000"/>
                  <a:gd name="connsiteX50" fmla="*/ 6871 w 9711"/>
                  <a:gd name="connsiteY50" fmla="*/ 8006 h 10000"/>
                  <a:gd name="connsiteX51" fmla="*/ 6337 w 9711"/>
                  <a:gd name="connsiteY51" fmla="*/ 7814 h 10000"/>
                  <a:gd name="connsiteX52" fmla="*/ 6460 w 9711"/>
                  <a:gd name="connsiteY52" fmla="*/ 7749 h 10000"/>
                  <a:gd name="connsiteX53" fmla="*/ 6460 w 9711"/>
                  <a:gd name="connsiteY53" fmla="*/ 7588 h 10000"/>
                  <a:gd name="connsiteX54" fmla="*/ 6831 w 9711"/>
                  <a:gd name="connsiteY54" fmla="*/ 7588 h 10000"/>
                  <a:gd name="connsiteX55" fmla="*/ 7036 w 9711"/>
                  <a:gd name="connsiteY55" fmla="*/ 7460 h 10000"/>
                  <a:gd name="connsiteX56" fmla="*/ 7078 w 9711"/>
                  <a:gd name="connsiteY56" fmla="*/ 6527 h 10000"/>
                  <a:gd name="connsiteX57" fmla="*/ 7118 w 9711"/>
                  <a:gd name="connsiteY57" fmla="*/ 6559 h 10000"/>
                  <a:gd name="connsiteX58" fmla="*/ 7242 w 9711"/>
                  <a:gd name="connsiteY58" fmla="*/ 6367 h 10000"/>
                  <a:gd name="connsiteX59" fmla="*/ 7489 w 9711"/>
                  <a:gd name="connsiteY59" fmla="*/ 6270 h 10000"/>
                  <a:gd name="connsiteX60" fmla="*/ 7612 w 9711"/>
                  <a:gd name="connsiteY60" fmla="*/ 5916 h 10000"/>
                  <a:gd name="connsiteX61" fmla="*/ 7983 w 9711"/>
                  <a:gd name="connsiteY61" fmla="*/ 5498 h 10000"/>
                  <a:gd name="connsiteX62" fmla="*/ 8270 w 9711"/>
                  <a:gd name="connsiteY62" fmla="*/ 5305 h 10000"/>
                  <a:gd name="connsiteX63" fmla="*/ 8476 w 9711"/>
                  <a:gd name="connsiteY63" fmla="*/ 4759 h 10000"/>
                  <a:gd name="connsiteX64" fmla="*/ 8476 w 9711"/>
                  <a:gd name="connsiteY64" fmla="*/ 4630 h 10000"/>
                  <a:gd name="connsiteX65" fmla="*/ 8436 w 9711"/>
                  <a:gd name="connsiteY65" fmla="*/ 4309 h 10000"/>
                  <a:gd name="connsiteX66" fmla="*/ 8847 w 9711"/>
                  <a:gd name="connsiteY66" fmla="*/ 3151 h 10000"/>
                  <a:gd name="connsiteX67" fmla="*/ 8970 w 9711"/>
                  <a:gd name="connsiteY67" fmla="*/ 3151 h 10000"/>
                  <a:gd name="connsiteX68" fmla="*/ 9135 w 9711"/>
                  <a:gd name="connsiteY68" fmla="*/ 3055 h 10000"/>
                  <a:gd name="connsiteX69" fmla="*/ 9629 w 9711"/>
                  <a:gd name="connsiteY69" fmla="*/ 2894 h 10000"/>
                  <a:gd name="connsiteX70" fmla="*/ 9711 w 9711"/>
                  <a:gd name="connsiteY70" fmla="*/ 2637 h 10000"/>
                  <a:gd name="connsiteX71" fmla="*/ 9671 w 9711"/>
                  <a:gd name="connsiteY71" fmla="*/ 2572 h 10000"/>
                  <a:gd name="connsiteX72" fmla="*/ 9505 w 9711"/>
                  <a:gd name="connsiteY72" fmla="*/ 2572 h 10000"/>
                  <a:gd name="connsiteX73" fmla="*/ 9382 w 9711"/>
                  <a:gd name="connsiteY73" fmla="*/ 2412 h 10000"/>
                  <a:gd name="connsiteX74" fmla="*/ 9135 w 9711"/>
                  <a:gd name="connsiteY74" fmla="*/ 2347 h 10000"/>
                  <a:gd name="connsiteX75" fmla="*/ 9011 w 9711"/>
                  <a:gd name="connsiteY75" fmla="*/ 2219 h 10000"/>
                  <a:gd name="connsiteX76" fmla="*/ 8930 w 9711"/>
                  <a:gd name="connsiteY76" fmla="*/ 1736 h 10000"/>
                  <a:gd name="connsiteX77" fmla="*/ 8930 w 9711"/>
                  <a:gd name="connsiteY77" fmla="*/ 1061 h 10000"/>
                  <a:gd name="connsiteX78" fmla="*/ 8723 w 9711"/>
                  <a:gd name="connsiteY78" fmla="*/ 836 h 10000"/>
                  <a:gd name="connsiteX79" fmla="*/ 8683 w 9711"/>
                  <a:gd name="connsiteY79" fmla="*/ 611 h 10000"/>
                  <a:gd name="connsiteX80" fmla="*/ 8353 w 9711"/>
                  <a:gd name="connsiteY80" fmla="*/ 289 h 10000"/>
                  <a:gd name="connsiteX81" fmla="*/ 8065 w 9711"/>
                  <a:gd name="connsiteY81" fmla="*/ 161 h 10000"/>
                  <a:gd name="connsiteX82" fmla="*/ 7901 w 9711"/>
                  <a:gd name="connsiteY82" fmla="*/ 0 h 10000"/>
                  <a:gd name="connsiteX83" fmla="*/ 7654 w 9711"/>
                  <a:gd name="connsiteY83" fmla="*/ 161 h 10000"/>
                  <a:gd name="connsiteX84" fmla="*/ 7489 w 9711"/>
                  <a:gd name="connsiteY84" fmla="*/ 129 h 10000"/>
                  <a:gd name="connsiteX85" fmla="*/ 7365 w 9711"/>
                  <a:gd name="connsiteY85" fmla="*/ 418 h 10000"/>
                  <a:gd name="connsiteX86" fmla="*/ 7036 w 9711"/>
                  <a:gd name="connsiteY86" fmla="*/ 482 h 10000"/>
                  <a:gd name="connsiteX87" fmla="*/ 6954 w 9711"/>
                  <a:gd name="connsiteY87" fmla="*/ 707 h 10000"/>
                  <a:gd name="connsiteX88" fmla="*/ 6666 w 9711"/>
                  <a:gd name="connsiteY88" fmla="*/ 707 h 10000"/>
                  <a:gd name="connsiteX89" fmla="*/ 6419 w 9711"/>
                  <a:gd name="connsiteY89" fmla="*/ 611 h 10000"/>
                  <a:gd name="connsiteX90" fmla="*/ 5884 w 9711"/>
                  <a:gd name="connsiteY90" fmla="*/ 611 h 10000"/>
                  <a:gd name="connsiteX91" fmla="*/ 5349 w 9711"/>
                  <a:gd name="connsiteY91" fmla="*/ 611 h 10000"/>
                  <a:gd name="connsiteX92" fmla="*/ 5390 w 9711"/>
                  <a:gd name="connsiteY92" fmla="*/ 482 h 10000"/>
                  <a:gd name="connsiteX93" fmla="*/ 5308 w 9711"/>
                  <a:gd name="connsiteY93" fmla="*/ 482 h 10000"/>
                  <a:gd name="connsiteX94" fmla="*/ 5267 w 9711"/>
                  <a:gd name="connsiteY94" fmla="*/ 611 h 10000"/>
                  <a:gd name="connsiteX95" fmla="*/ 4773 w 9711"/>
                  <a:gd name="connsiteY95" fmla="*/ 611 h 10000"/>
                  <a:gd name="connsiteX96" fmla="*/ 4280 w 9711"/>
                  <a:gd name="connsiteY96" fmla="*/ 611 h 10000"/>
                  <a:gd name="connsiteX97" fmla="*/ 3786 w 9711"/>
                  <a:gd name="connsiteY97" fmla="*/ 611 h 10000"/>
                  <a:gd name="connsiteX98" fmla="*/ 3292 w 9711"/>
                  <a:gd name="connsiteY98" fmla="*/ 611 h 10000"/>
                  <a:gd name="connsiteX99" fmla="*/ 2840 w 9711"/>
                  <a:gd name="connsiteY99" fmla="*/ 611 h 10000"/>
                  <a:gd name="connsiteX100" fmla="*/ 2346 w 9711"/>
                  <a:gd name="connsiteY100" fmla="*/ 611 h 10000"/>
                  <a:gd name="connsiteX101" fmla="*/ 1892 w 9711"/>
                  <a:gd name="connsiteY101" fmla="*/ 611 h 10000"/>
                  <a:gd name="connsiteX102" fmla="*/ 1399 w 9711"/>
                  <a:gd name="connsiteY102" fmla="*/ 611 h 10000"/>
                  <a:gd name="connsiteX103" fmla="*/ 1399 w 9711"/>
                  <a:gd name="connsiteY103" fmla="*/ 1061 h 10000"/>
                  <a:gd name="connsiteX104" fmla="*/ 1399 w 9711"/>
                  <a:gd name="connsiteY104" fmla="*/ 1640 h 10000"/>
                  <a:gd name="connsiteX105" fmla="*/ 781 w 9711"/>
                  <a:gd name="connsiteY105" fmla="*/ 1640 h 10000"/>
                  <a:gd name="connsiteX106" fmla="*/ 781 w 9711"/>
                  <a:gd name="connsiteY106" fmla="*/ 1897 h 10000"/>
                  <a:gd name="connsiteX0" fmla="*/ 719 w 9915"/>
                  <a:gd name="connsiteY0" fmla="*/ 1897 h 10000"/>
                  <a:gd name="connsiteX1" fmla="*/ 719 w 9915"/>
                  <a:gd name="connsiteY1" fmla="*/ 2412 h 10000"/>
                  <a:gd name="connsiteX2" fmla="*/ 719 w 9915"/>
                  <a:gd name="connsiteY2" fmla="*/ 2894 h 10000"/>
                  <a:gd name="connsiteX3" fmla="*/ 719 w 9915"/>
                  <a:gd name="connsiteY3" fmla="*/ 3376 h 10000"/>
                  <a:gd name="connsiteX4" fmla="*/ 719 w 9915"/>
                  <a:gd name="connsiteY4" fmla="*/ 3826 h 10000"/>
                  <a:gd name="connsiteX5" fmla="*/ 43 w 9915"/>
                  <a:gd name="connsiteY5" fmla="*/ 3923 h 10000"/>
                  <a:gd name="connsiteX6" fmla="*/ 4578 w 9915"/>
                  <a:gd name="connsiteY6" fmla="*/ 6781 h 10000"/>
                  <a:gd name="connsiteX7" fmla="*/ 4368 w 9915"/>
                  <a:gd name="connsiteY7" fmla="*/ 7064 h 10000"/>
                  <a:gd name="connsiteX8" fmla="*/ 3846 w 9915"/>
                  <a:gd name="connsiteY8" fmla="*/ 7281 h 10000"/>
                  <a:gd name="connsiteX9" fmla="*/ 3511 w 9915"/>
                  <a:gd name="connsiteY9" fmla="*/ 7279 h 10000"/>
                  <a:gd name="connsiteX10" fmla="*/ 2780 w 9915"/>
                  <a:gd name="connsiteY10" fmla="*/ 7095 h 10000"/>
                  <a:gd name="connsiteX11" fmla="*/ 2584 w 9915"/>
                  <a:gd name="connsiteY11" fmla="*/ 7195 h 10000"/>
                  <a:gd name="connsiteX12" fmla="*/ 2096 w 9915"/>
                  <a:gd name="connsiteY12" fmla="*/ 6973 h 10000"/>
                  <a:gd name="connsiteX13" fmla="*/ 1881 w 9915"/>
                  <a:gd name="connsiteY13" fmla="*/ 6638 h 10000"/>
                  <a:gd name="connsiteX14" fmla="*/ 1522 w 9915"/>
                  <a:gd name="connsiteY14" fmla="*/ 6729 h 10000"/>
                  <a:gd name="connsiteX15" fmla="*/ 1425 w 9915"/>
                  <a:gd name="connsiteY15" fmla="*/ 6927 h 10000"/>
                  <a:gd name="connsiteX16" fmla="*/ 1045 w 9915"/>
                  <a:gd name="connsiteY16" fmla="*/ 7011 h 10000"/>
                  <a:gd name="connsiteX17" fmla="*/ 795 w 9915"/>
                  <a:gd name="connsiteY17" fmla="*/ 7004 h 10000"/>
                  <a:gd name="connsiteX18" fmla="*/ 658 w 9915"/>
                  <a:gd name="connsiteY18" fmla="*/ 7161 h 10000"/>
                  <a:gd name="connsiteX19" fmla="*/ 424 w 9915"/>
                  <a:gd name="connsiteY19" fmla="*/ 6913 h 10000"/>
                  <a:gd name="connsiteX20" fmla="*/ 380 w 9915"/>
                  <a:gd name="connsiteY20" fmla="*/ 7363 h 10000"/>
                  <a:gd name="connsiteX21" fmla="*/ 465 w 9915"/>
                  <a:gd name="connsiteY21" fmla="*/ 7428 h 10000"/>
                  <a:gd name="connsiteX22" fmla="*/ 805 w 9915"/>
                  <a:gd name="connsiteY22" fmla="*/ 7460 h 10000"/>
                  <a:gd name="connsiteX23" fmla="*/ 848 w 9915"/>
                  <a:gd name="connsiteY23" fmla="*/ 7588 h 10000"/>
                  <a:gd name="connsiteX24" fmla="*/ 1228 w 9915"/>
                  <a:gd name="connsiteY24" fmla="*/ 7621 h 10000"/>
                  <a:gd name="connsiteX25" fmla="*/ 1440 w 9915"/>
                  <a:gd name="connsiteY25" fmla="*/ 7749 h 10000"/>
                  <a:gd name="connsiteX26" fmla="*/ 1482 w 9915"/>
                  <a:gd name="connsiteY26" fmla="*/ 7974 h 10000"/>
                  <a:gd name="connsiteX27" fmla="*/ 2161 w 9915"/>
                  <a:gd name="connsiteY27" fmla="*/ 8360 h 10000"/>
                  <a:gd name="connsiteX28" fmla="*/ 2331 w 9915"/>
                  <a:gd name="connsiteY28" fmla="*/ 8746 h 10000"/>
                  <a:gd name="connsiteX29" fmla="*/ 2796 w 9915"/>
                  <a:gd name="connsiteY29" fmla="*/ 8939 h 10000"/>
                  <a:gd name="connsiteX30" fmla="*/ 2966 w 9915"/>
                  <a:gd name="connsiteY30" fmla="*/ 9196 h 10000"/>
                  <a:gd name="connsiteX31" fmla="*/ 3305 w 9915"/>
                  <a:gd name="connsiteY31" fmla="*/ 9518 h 10000"/>
                  <a:gd name="connsiteX32" fmla="*/ 3559 w 9915"/>
                  <a:gd name="connsiteY32" fmla="*/ 9614 h 10000"/>
                  <a:gd name="connsiteX33" fmla="*/ 3729 w 9915"/>
                  <a:gd name="connsiteY33" fmla="*/ 9518 h 10000"/>
                  <a:gd name="connsiteX34" fmla="*/ 4152 w 9915"/>
                  <a:gd name="connsiteY34" fmla="*/ 9550 h 10000"/>
                  <a:gd name="connsiteX35" fmla="*/ 4322 w 9915"/>
                  <a:gd name="connsiteY35" fmla="*/ 9486 h 10000"/>
                  <a:gd name="connsiteX36" fmla="*/ 5084 w 9915"/>
                  <a:gd name="connsiteY36" fmla="*/ 9968 h 10000"/>
                  <a:gd name="connsiteX37" fmla="*/ 5127 w 9915"/>
                  <a:gd name="connsiteY37" fmla="*/ 9968 h 10000"/>
                  <a:gd name="connsiteX38" fmla="*/ 5211 w 9915"/>
                  <a:gd name="connsiteY38" fmla="*/ 9904 h 10000"/>
                  <a:gd name="connsiteX39" fmla="*/ 5761 w 9915"/>
                  <a:gd name="connsiteY39" fmla="*/ 9904 h 10000"/>
                  <a:gd name="connsiteX40" fmla="*/ 5847 w 9915"/>
                  <a:gd name="connsiteY40" fmla="*/ 10000 h 10000"/>
                  <a:gd name="connsiteX41" fmla="*/ 6314 w 9915"/>
                  <a:gd name="connsiteY41" fmla="*/ 9871 h 10000"/>
                  <a:gd name="connsiteX42" fmla="*/ 6736 w 9915"/>
                  <a:gd name="connsiteY42" fmla="*/ 9871 h 10000"/>
                  <a:gd name="connsiteX43" fmla="*/ 7034 w 9915"/>
                  <a:gd name="connsiteY43" fmla="*/ 9743 h 10000"/>
                  <a:gd name="connsiteX44" fmla="*/ 7373 w 9915"/>
                  <a:gd name="connsiteY44" fmla="*/ 9486 h 10000"/>
                  <a:gd name="connsiteX45" fmla="*/ 8262 w 9915"/>
                  <a:gd name="connsiteY45" fmla="*/ 9486 h 10000"/>
                  <a:gd name="connsiteX46" fmla="*/ 8262 w 9915"/>
                  <a:gd name="connsiteY46" fmla="*/ 9132 h 10000"/>
                  <a:gd name="connsiteX47" fmla="*/ 7797 w 9915"/>
                  <a:gd name="connsiteY47" fmla="*/ 8971 h 10000"/>
                  <a:gd name="connsiteX48" fmla="*/ 7542 w 9915"/>
                  <a:gd name="connsiteY48" fmla="*/ 8457 h 10000"/>
                  <a:gd name="connsiteX49" fmla="*/ 7204 w 9915"/>
                  <a:gd name="connsiteY49" fmla="*/ 8264 h 10000"/>
                  <a:gd name="connsiteX50" fmla="*/ 6990 w 9915"/>
                  <a:gd name="connsiteY50" fmla="*/ 8006 h 10000"/>
                  <a:gd name="connsiteX51" fmla="*/ 6441 w 9915"/>
                  <a:gd name="connsiteY51" fmla="*/ 7814 h 10000"/>
                  <a:gd name="connsiteX52" fmla="*/ 6567 w 9915"/>
                  <a:gd name="connsiteY52" fmla="*/ 7749 h 10000"/>
                  <a:gd name="connsiteX53" fmla="*/ 6567 w 9915"/>
                  <a:gd name="connsiteY53" fmla="*/ 7588 h 10000"/>
                  <a:gd name="connsiteX54" fmla="*/ 6949 w 9915"/>
                  <a:gd name="connsiteY54" fmla="*/ 7588 h 10000"/>
                  <a:gd name="connsiteX55" fmla="*/ 7160 w 9915"/>
                  <a:gd name="connsiteY55" fmla="*/ 7460 h 10000"/>
                  <a:gd name="connsiteX56" fmla="*/ 7204 w 9915"/>
                  <a:gd name="connsiteY56" fmla="*/ 6527 h 10000"/>
                  <a:gd name="connsiteX57" fmla="*/ 7245 w 9915"/>
                  <a:gd name="connsiteY57" fmla="*/ 6559 h 10000"/>
                  <a:gd name="connsiteX58" fmla="*/ 7373 w 9915"/>
                  <a:gd name="connsiteY58" fmla="*/ 6367 h 10000"/>
                  <a:gd name="connsiteX59" fmla="*/ 7627 w 9915"/>
                  <a:gd name="connsiteY59" fmla="*/ 6270 h 10000"/>
                  <a:gd name="connsiteX60" fmla="*/ 7754 w 9915"/>
                  <a:gd name="connsiteY60" fmla="*/ 5916 h 10000"/>
                  <a:gd name="connsiteX61" fmla="*/ 8136 w 9915"/>
                  <a:gd name="connsiteY61" fmla="*/ 5498 h 10000"/>
                  <a:gd name="connsiteX62" fmla="*/ 8431 w 9915"/>
                  <a:gd name="connsiteY62" fmla="*/ 5305 h 10000"/>
                  <a:gd name="connsiteX63" fmla="*/ 8643 w 9915"/>
                  <a:gd name="connsiteY63" fmla="*/ 4759 h 10000"/>
                  <a:gd name="connsiteX64" fmla="*/ 8643 w 9915"/>
                  <a:gd name="connsiteY64" fmla="*/ 4630 h 10000"/>
                  <a:gd name="connsiteX65" fmla="*/ 8602 w 9915"/>
                  <a:gd name="connsiteY65" fmla="*/ 4309 h 10000"/>
                  <a:gd name="connsiteX66" fmla="*/ 9025 w 9915"/>
                  <a:gd name="connsiteY66" fmla="*/ 3151 h 10000"/>
                  <a:gd name="connsiteX67" fmla="*/ 9152 w 9915"/>
                  <a:gd name="connsiteY67" fmla="*/ 3151 h 10000"/>
                  <a:gd name="connsiteX68" fmla="*/ 9322 w 9915"/>
                  <a:gd name="connsiteY68" fmla="*/ 3055 h 10000"/>
                  <a:gd name="connsiteX69" fmla="*/ 9831 w 9915"/>
                  <a:gd name="connsiteY69" fmla="*/ 2894 h 10000"/>
                  <a:gd name="connsiteX70" fmla="*/ 9915 w 9915"/>
                  <a:gd name="connsiteY70" fmla="*/ 2637 h 10000"/>
                  <a:gd name="connsiteX71" fmla="*/ 9874 w 9915"/>
                  <a:gd name="connsiteY71" fmla="*/ 2572 h 10000"/>
                  <a:gd name="connsiteX72" fmla="*/ 9703 w 9915"/>
                  <a:gd name="connsiteY72" fmla="*/ 2572 h 10000"/>
                  <a:gd name="connsiteX73" fmla="*/ 9576 w 9915"/>
                  <a:gd name="connsiteY73" fmla="*/ 2412 h 10000"/>
                  <a:gd name="connsiteX74" fmla="*/ 9322 w 9915"/>
                  <a:gd name="connsiteY74" fmla="*/ 2347 h 10000"/>
                  <a:gd name="connsiteX75" fmla="*/ 9194 w 9915"/>
                  <a:gd name="connsiteY75" fmla="*/ 2219 h 10000"/>
                  <a:gd name="connsiteX76" fmla="*/ 9111 w 9915"/>
                  <a:gd name="connsiteY76" fmla="*/ 1736 h 10000"/>
                  <a:gd name="connsiteX77" fmla="*/ 9111 w 9915"/>
                  <a:gd name="connsiteY77" fmla="*/ 1061 h 10000"/>
                  <a:gd name="connsiteX78" fmla="*/ 8898 w 9915"/>
                  <a:gd name="connsiteY78" fmla="*/ 836 h 10000"/>
                  <a:gd name="connsiteX79" fmla="*/ 8856 w 9915"/>
                  <a:gd name="connsiteY79" fmla="*/ 611 h 10000"/>
                  <a:gd name="connsiteX80" fmla="*/ 8517 w 9915"/>
                  <a:gd name="connsiteY80" fmla="*/ 289 h 10000"/>
                  <a:gd name="connsiteX81" fmla="*/ 8220 w 9915"/>
                  <a:gd name="connsiteY81" fmla="*/ 161 h 10000"/>
                  <a:gd name="connsiteX82" fmla="*/ 8051 w 9915"/>
                  <a:gd name="connsiteY82" fmla="*/ 0 h 10000"/>
                  <a:gd name="connsiteX83" fmla="*/ 7797 w 9915"/>
                  <a:gd name="connsiteY83" fmla="*/ 161 h 10000"/>
                  <a:gd name="connsiteX84" fmla="*/ 7627 w 9915"/>
                  <a:gd name="connsiteY84" fmla="*/ 129 h 10000"/>
                  <a:gd name="connsiteX85" fmla="*/ 7499 w 9915"/>
                  <a:gd name="connsiteY85" fmla="*/ 418 h 10000"/>
                  <a:gd name="connsiteX86" fmla="*/ 7160 w 9915"/>
                  <a:gd name="connsiteY86" fmla="*/ 482 h 10000"/>
                  <a:gd name="connsiteX87" fmla="*/ 7076 w 9915"/>
                  <a:gd name="connsiteY87" fmla="*/ 707 h 10000"/>
                  <a:gd name="connsiteX88" fmla="*/ 6779 w 9915"/>
                  <a:gd name="connsiteY88" fmla="*/ 707 h 10000"/>
                  <a:gd name="connsiteX89" fmla="*/ 6525 w 9915"/>
                  <a:gd name="connsiteY89" fmla="*/ 611 h 10000"/>
                  <a:gd name="connsiteX90" fmla="*/ 5974 w 9915"/>
                  <a:gd name="connsiteY90" fmla="*/ 611 h 10000"/>
                  <a:gd name="connsiteX91" fmla="*/ 5423 w 9915"/>
                  <a:gd name="connsiteY91" fmla="*/ 611 h 10000"/>
                  <a:gd name="connsiteX92" fmla="*/ 5465 w 9915"/>
                  <a:gd name="connsiteY92" fmla="*/ 482 h 10000"/>
                  <a:gd name="connsiteX93" fmla="*/ 5381 w 9915"/>
                  <a:gd name="connsiteY93" fmla="*/ 482 h 10000"/>
                  <a:gd name="connsiteX94" fmla="*/ 5339 w 9915"/>
                  <a:gd name="connsiteY94" fmla="*/ 611 h 10000"/>
                  <a:gd name="connsiteX95" fmla="*/ 4830 w 9915"/>
                  <a:gd name="connsiteY95" fmla="*/ 611 h 10000"/>
                  <a:gd name="connsiteX96" fmla="*/ 4322 w 9915"/>
                  <a:gd name="connsiteY96" fmla="*/ 611 h 10000"/>
                  <a:gd name="connsiteX97" fmla="*/ 3814 w 9915"/>
                  <a:gd name="connsiteY97" fmla="*/ 611 h 10000"/>
                  <a:gd name="connsiteX98" fmla="*/ 3305 w 9915"/>
                  <a:gd name="connsiteY98" fmla="*/ 611 h 10000"/>
                  <a:gd name="connsiteX99" fmla="*/ 2840 w 9915"/>
                  <a:gd name="connsiteY99" fmla="*/ 611 h 10000"/>
                  <a:gd name="connsiteX100" fmla="*/ 2331 w 9915"/>
                  <a:gd name="connsiteY100" fmla="*/ 611 h 10000"/>
                  <a:gd name="connsiteX101" fmla="*/ 1863 w 9915"/>
                  <a:gd name="connsiteY101" fmla="*/ 611 h 10000"/>
                  <a:gd name="connsiteX102" fmla="*/ 1356 w 9915"/>
                  <a:gd name="connsiteY102" fmla="*/ 611 h 10000"/>
                  <a:gd name="connsiteX103" fmla="*/ 1356 w 9915"/>
                  <a:gd name="connsiteY103" fmla="*/ 1061 h 10000"/>
                  <a:gd name="connsiteX104" fmla="*/ 1356 w 9915"/>
                  <a:gd name="connsiteY104" fmla="*/ 1640 h 10000"/>
                  <a:gd name="connsiteX105" fmla="*/ 719 w 9915"/>
                  <a:gd name="connsiteY105" fmla="*/ 1640 h 10000"/>
                  <a:gd name="connsiteX106" fmla="*/ 719 w 9915"/>
                  <a:gd name="connsiteY106" fmla="*/ 1897 h 10000"/>
                  <a:gd name="connsiteX0" fmla="*/ 342 w 9617"/>
                  <a:gd name="connsiteY0" fmla="*/ 1897 h 10000"/>
                  <a:gd name="connsiteX1" fmla="*/ 342 w 9617"/>
                  <a:gd name="connsiteY1" fmla="*/ 2412 h 10000"/>
                  <a:gd name="connsiteX2" fmla="*/ 342 w 9617"/>
                  <a:gd name="connsiteY2" fmla="*/ 2894 h 10000"/>
                  <a:gd name="connsiteX3" fmla="*/ 342 w 9617"/>
                  <a:gd name="connsiteY3" fmla="*/ 3376 h 10000"/>
                  <a:gd name="connsiteX4" fmla="*/ 342 w 9617"/>
                  <a:gd name="connsiteY4" fmla="*/ 3826 h 10000"/>
                  <a:gd name="connsiteX5" fmla="*/ 4662 w 9617"/>
                  <a:gd name="connsiteY5" fmla="*/ 6907 h 10000"/>
                  <a:gd name="connsiteX6" fmla="*/ 4234 w 9617"/>
                  <a:gd name="connsiteY6" fmla="*/ 6781 h 10000"/>
                  <a:gd name="connsiteX7" fmla="*/ 4022 w 9617"/>
                  <a:gd name="connsiteY7" fmla="*/ 7064 h 10000"/>
                  <a:gd name="connsiteX8" fmla="*/ 3496 w 9617"/>
                  <a:gd name="connsiteY8" fmla="*/ 7281 h 10000"/>
                  <a:gd name="connsiteX9" fmla="*/ 3158 w 9617"/>
                  <a:gd name="connsiteY9" fmla="*/ 7279 h 10000"/>
                  <a:gd name="connsiteX10" fmla="*/ 2421 w 9617"/>
                  <a:gd name="connsiteY10" fmla="*/ 7095 h 10000"/>
                  <a:gd name="connsiteX11" fmla="*/ 2223 w 9617"/>
                  <a:gd name="connsiteY11" fmla="*/ 7195 h 10000"/>
                  <a:gd name="connsiteX12" fmla="*/ 1731 w 9617"/>
                  <a:gd name="connsiteY12" fmla="*/ 6973 h 10000"/>
                  <a:gd name="connsiteX13" fmla="*/ 1514 w 9617"/>
                  <a:gd name="connsiteY13" fmla="*/ 6638 h 10000"/>
                  <a:gd name="connsiteX14" fmla="*/ 1152 w 9617"/>
                  <a:gd name="connsiteY14" fmla="*/ 6729 h 10000"/>
                  <a:gd name="connsiteX15" fmla="*/ 1054 w 9617"/>
                  <a:gd name="connsiteY15" fmla="*/ 6927 h 10000"/>
                  <a:gd name="connsiteX16" fmla="*/ 671 w 9617"/>
                  <a:gd name="connsiteY16" fmla="*/ 7011 h 10000"/>
                  <a:gd name="connsiteX17" fmla="*/ 419 w 9617"/>
                  <a:gd name="connsiteY17" fmla="*/ 7004 h 10000"/>
                  <a:gd name="connsiteX18" fmla="*/ 281 w 9617"/>
                  <a:gd name="connsiteY18" fmla="*/ 7161 h 10000"/>
                  <a:gd name="connsiteX19" fmla="*/ 45 w 9617"/>
                  <a:gd name="connsiteY19" fmla="*/ 6913 h 10000"/>
                  <a:gd name="connsiteX20" fmla="*/ 0 w 9617"/>
                  <a:gd name="connsiteY20" fmla="*/ 7363 h 10000"/>
                  <a:gd name="connsiteX21" fmla="*/ 86 w 9617"/>
                  <a:gd name="connsiteY21" fmla="*/ 7428 h 10000"/>
                  <a:gd name="connsiteX22" fmla="*/ 429 w 9617"/>
                  <a:gd name="connsiteY22" fmla="*/ 7460 h 10000"/>
                  <a:gd name="connsiteX23" fmla="*/ 472 w 9617"/>
                  <a:gd name="connsiteY23" fmla="*/ 7588 h 10000"/>
                  <a:gd name="connsiteX24" fmla="*/ 856 w 9617"/>
                  <a:gd name="connsiteY24" fmla="*/ 7621 h 10000"/>
                  <a:gd name="connsiteX25" fmla="*/ 1069 w 9617"/>
                  <a:gd name="connsiteY25" fmla="*/ 7749 h 10000"/>
                  <a:gd name="connsiteX26" fmla="*/ 1112 w 9617"/>
                  <a:gd name="connsiteY26" fmla="*/ 7974 h 10000"/>
                  <a:gd name="connsiteX27" fmla="*/ 1797 w 9617"/>
                  <a:gd name="connsiteY27" fmla="*/ 8360 h 10000"/>
                  <a:gd name="connsiteX28" fmla="*/ 1968 w 9617"/>
                  <a:gd name="connsiteY28" fmla="*/ 8746 h 10000"/>
                  <a:gd name="connsiteX29" fmla="*/ 2437 w 9617"/>
                  <a:gd name="connsiteY29" fmla="*/ 8939 h 10000"/>
                  <a:gd name="connsiteX30" fmla="*/ 2608 w 9617"/>
                  <a:gd name="connsiteY30" fmla="*/ 9196 h 10000"/>
                  <a:gd name="connsiteX31" fmla="*/ 2950 w 9617"/>
                  <a:gd name="connsiteY31" fmla="*/ 9518 h 10000"/>
                  <a:gd name="connsiteX32" fmla="*/ 3207 w 9617"/>
                  <a:gd name="connsiteY32" fmla="*/ 9614 h 10000"/>
                  <a:gd name="connsiteX33" fmla="*/ 3378 w 9617"/>
                  <a:gd name="connsiteY33" fmla="*/ 9518 h 10000"/>
                  <a:gd name="connsiteX34" fmla="*/ 3805 w 9617"/>
                  <a:gd name="connsiteY34" fmla="*/ 9550 h 10000"/>
                  <a:gd name="connsiteX35" fmla="*/ 3976 w 9617"/>
                  <a:gd name="connsiteY35" fmla="*/ 9486 h 10000"/>
                  <a:gd name="connsiteX36" fmla="*/ 4745 w 9617"/>
                  <a:gd name="connsiteY36" fmla="*/ 9968 h 10000"/>
                  <a:gd name="connsiteX37" fmla="*/ 4788 w 9617"/>
                  <a:gd name="connsiteY37" fmla="*/ 9968 h 10000"/>
                  <a:gd name="connsiteX38" fmla="*/ 4873 w 9617"/>
                  <a:gd name="connsiteY38" fmla="*/ 9904 h 10000"/>
                  <a:gd name="connsiteX39" fmla="*/ 5427 w 9617"/>
                  <a:gd name="connsiteY39" fmla="*/ 9904 h 10000"/>
                  <a:gd name="connsiteX40" fmla="*/ 5514 w 9617"/>
                  <a:gd name="connsiteY40" fmla="*/ 10000 h 10000"/>
                  <a:gd name="connsiteX41" fmla="*/ 5985 w 9617"/>
                  <a:gd name="connsiteY41" fmla="*/ 9871 h 10000"/>
                  <a:gd name="connsiteX42" fmla="*/ 6411 w 9617"/>
                  <a:gd name="connsiteY42" fmla="*/ 9871 h 10000"/>
                  <a:gd name="connsiteX43" fmla="*/ 6711 w 9617"/>
                  <a:gd name="connsiteY43" fmla="*/ 9743 h 10000"/>
                  <a:gd name="connsiteX44" fmla="*/ 7053 w 9617"/>
                  <a:gd name="connsiteY44" fmla="*/ 9486 h 10000"/>
                  <a:gd name="connsiteX45" fmla="*/ 7950 w 9617"/>
                  <a:gd name="connsiteY45" fmla="*/ 9486 h 10000"/>
                  <a:gd name="connsiteX46" fmla="*/ 7950 w 9617"/>
                  <a:gd name="connsiteY46" fmla="*/ 9132 h 10000"/>
                  <a:gd name="connsiteX47" fmla="*/ 7481 w 9617"/>
                  <a:gd name="connsiteY47" fmla="*/ 8971 h 10000"/>
                  <a:gd name="connsiteX48" fmla="*/ 7224 w 9617"/>
                  <a:gd name="connsiteY48" fmla="*/ 8457 h 10000"/>
                  <a:gd name="connsiteX49" fmla="*/ 6883 w 9617"/>
                  <a:gd name="connsiteY49" fmla="*/ 8264 h 10000"/>
                  <a:gd name="connsiteX50" fmla="*/ 6667 w 9617"/>
                  <a:gd name="connsiteY50" fmla="*/ 8006 h 10000"/>
                  <a:gd name="connsiteX51" fmla="*/ 6113 w 9617"/>
                  <a:gd name="connsiteY51" fmla="*/ 7814 h 10000"/>
                  <a:gd name="connsiteX52" fmla="*/ 6240 w 9617"/>
                  <a:gd name="connsiteY52" fmla="*/ 7749 h 10000"/>
                  <a:gd name="connsiteX53" fmla="*/ 6240 w 9617"/>
                  <a:gd name="connsiteY53" fmla="*/ 7588 h 10000"/>
                  <a:gd name="connsiteX54" fmla="*/ 6626 w 9617"/>
                  <a:gd name="connsiteY54" fmla="*/ 7588 h 10000"/>
                  <a:gd name="connsiteX55" fmla="*/ 6838 w 9617"/>
                  <a:gd name="connsiteY55" fmla="*/ 7460 h 10000"/>
                  <a:gd name="connsiteX56" fmla="*/ 6883 w 9617"/>
                  <a:gd name="connsiteY56" fmla="*/ 6527 h 10000"/>
                  <a:gd name="connsiteX57" fmla="*/ 6924 w 9617"/>
                  <a:gd name="connsiteY57" fmla="*/ 6559 h 10000"/>
                  <a:gd name="connsiteX58" fmla="*/ 7053 w 9617"/>
                  <a:gd name="connsiteY58" fmla="*/ 6367 h 10000"/>
                  <a:gd name="connsiteX59" fmla="*/ 7309 w 9617"/>
                  <a:gd name="connsiteY59" fmla="*/ 6270 h 10000"/>
                  <a:gd name="connsiteX60" fmla="*/ 7437 w 9617"/>
                  <a:gd name="connsiteY60" fmla="*/ 5916 h 10000"/>
                  <a:gd name="connsiteX61" fmla="*/ 7823 w 9617"/>
                  <a:gd name="connsiteY61" fmla="*/ 5498 h 10000"/>
                  <a:gd name="connsiteX62" fmla="*/ 8120 w 9617"/>
                  <a:gd name="connsiteY62" fmla="*/ 5305 h 10000"/>
                  <a:gd name="connsiteX63" fmla="*/ 8334 w 9617"/>
                  <a:gd name="connsiteY63" fmla="*/ 4759 h 10000"/>
                  <a:gd name="connsiteX64" fmla="*/ 8334 w 9617"/>
                  <a:gd name="connsiteY64" fmla="*/ 4630 h 10000"/>
                  <a:gd name="connsiteX65" fmla="*/ 8293 w 9617"/>
                  <a:gd name="connsiteY65" fmla="*/ 4309 h 10000"/>
                  <a:gd name="connsiteX66" fmla="*/ 8719 w 9617"/>
                  <a:gd name="connsiteY66" fmla="*/ 3151 h 10000"/>
                  <a:gd name="connsiteX67" fmla="*/ 8847 w 9617"/>
                  <a:gd name="connsiteY67" fmla="*/ 3151 h 10000"/>
                  <a:gd name="connsiteX68" fmla="*/ 9019 w 9617"/>
                  <a:gd name="connsiteY68" fmla="*/ 3055 h 10000"/>
                  <a:gd name="connsiteX69" fmla="*/ 9532 w 9617"/>
                  <a:gd name="connsiteY69" fmla="*/ 2894 h 10000"/>
                  <a:gd name="connsiteX70" fmla="*/ 9617 w 9617"/>
                  <a:gd name="connsiteY70" fmla="*/ 2637 h 10000"/>
                  <a:gd name="connsiteX71" fmla="*/ 9576 w 9617"/>
                  <a:gd name="connsiteY71" fmla="*/ 2572 h 10000"/>
                  <a:gd name="connsiteX72" fmla="*/ 9403 w 9617"/>
                  <a:gd name="connsiteY72" fmla="*/ 2572 h 10000"/>
                  <a:gd name="connsiteX73" fmla="*/ 9275 w 9617"/>
                  <a:gd name="connsiteY73" fmla="*/ 2412 h 10000"/>
                  <a:gd name="connsiteX74" fmla="*/ 9019 w 9617"/>
                  <a:gd name="connsiteY74" fmla="*/ 2347 h 10000"/>
                  <a:gd name="connsiteX75" fmla="*/ 8890 w 9617"/>
                  <a:gd name="connsiteY75" fmla="*/ 2219 h 10000"/>
                  <a:gd name="connsiteX76" fmla="*/ 8806 w 9617"/>
                  <a:gd name="connsiteY76" fmla="*/ 1736 h 10000"/>
                  <a:gd name="connsiteX77" fmla="*/ 8806 w 9617"/>
                  <a:gd name="connsiteY77" fmla="*/ 1061 h 10000"/>
                  <a:gd name="connsiteX78" fmla="*/ 8591 w 9617"/>
                  <a:gd name="connsiteY78" fmla="*/ 836 h 10000"/>
                  <a:gd name="connsiteX79" fmla="*/ 8549 w 9617"/>
                  <a:gd name="connsiteY79" fmla="*/ 611 h 10000"/>
                  <a:gd name="connsiteX80" fmla="*/ 8207 w 9617"/>
                  <a:gd name="connsiteY80" fmla="*/ 289 h 10000"/>
                  <a:gd name="connsiteX81" fmla="*/ 7907 w 9617"/>
                  <a:gd name="connsiteY81" fmla="*/ 161 h 10000"/>
                  <a:gd name="connsiteX82" fmla="*/ 7737 w 9617"/>
                  <a:gd name="connsiteY82" fmla="*/ 0 h 10000"/>
                  <a:gd name="connsiteX83" fmla="*/ 7481 w 9617"/>
                  <a:gd name="connsiteY83" fmla="*/ 161 h 10000"/>
                  <a:gd name="connsiteX84" fmla="*/ 7309 w 9617"/>
                  <a:gd name="connsiteY84" fmla="*/ 129 h 10000"/>
                  <a:gd name="connsiteX85" fmla="*/ 7180 w 9617"/>
                  <a:gd name="connsiteY85" fmla="*/ 418 h 10000"/>
                  <a:gd name="connsiteX86" fmla="*/ 6838 w 9617"/>
                  <a:gd name="connsiteY86" fmla="*/ 482 h 10000"/>
                  <a:gd name="connsiteX87" fmla="*/ 6754 w 9617"/>
                  <a:gd name="connsiteY87" fmla="*/ 707 h 10000"/>
                  <a:gd name="connsiteX88" fmla="*/ 6454 w 9617"/>
                  <a:gd name="connsiteY88" fmla="*/ 707 h 10000"/>
                  <a:gd name="connsiteX89" fmla="*/ 6198 w 9617"/>
                  <a:gd name="connsiteY89" fmla="*/ 611 h 10000"/>
                  <a:gd name="connsiteX90" fmla="*/ 5642 w 9617"/>
                  <a:gd name="connsiteY90" fmla="*/ 611 h 10000"/>
                  <a:gd name="connsiteX91" fmla="*/ 5086 w 9617"/>
                  <a:gd name="connsiteY91" fmla="*/ 611 h 10000"/>
                  <a:gd name="connsiteX92" fmla="*/ 5129 w 9617"/>
                  <a:gd name="connsiteY92" fmla="*/ 482 h 10000"/>
                  <a:gd name="connsiteX93" fmla="*/ 5044 w 9617"/>
                  <a:gd name="connsiteY93" fmla="*/ 482 h 10000"/>
                  <a:gd name="connsiteX94" fmla="*/ 5002 w 9617"/>
                  <a:gd name="connsiteY94" fmla="*/ 611 h 10000"/>
                  <a:gd name="connsiteX95" fmla="*/ 4488 w 9617"/>
                  <a:gd name="connsiteY95" fmla="*/ 611 h 10000"/>
                  <a:gd name="connsiteX96" fmla="*/ 3976 w 9617"/>
                  <a:gd name="connsiteY96" fmla="*/ 611 h 10000"/>
                  <a:gd name="connsiteX97" fmla="*/ 3464 w 9617"/>
                  <a:gd name="connsiteY97" fmla="*/ 611 h 10000"/>
                  <a:gd name="connsiteX98" fmla="*/ 2950 w 9617"/>
                  <a:gd name="connsiteY98" fmla="*/ 611 h 10000"/>
                  <a:gd name="connsiteX99" fmla="*/ 2481 w 9617"/>
                  <a:gd name="connsiteY99" fmla="*/ 611 h 10000"/>
                  <a:gd name="connsiteX100" fmla="*/ 1968 w 9617"/>
                  <a:gd name="connsiteY100" fmla="*/ 611 h 10000"/>
                  <a:gd name="connsiteX101" fmla="*/ 1496 w 9617"/>
                  <a:gd name="connsiteY101" fmla="*/ 611 h 10000"/>
                  <a:gd name="connsiteX102" fmla="*/ 985 w 9617"/>
                  <a:gd name="connsiteY102" fmla="*/ 611 h 10000"/>
                  <a:gd name="connsiteX103" fmla="*/ 985 w 9617"/>
                  <a:gd name="connsiteY103" fmla="*/ 1061 h 10000"/>
                  <a:gd name="connsiteX104" fmla="*/ 985 w 9617"/>
                  <a:gd name="connsiteY104" fmla="*/ 1640 h 10000"/>
                  <a:gd name="connsiteX105" fmla="*/ 342 w 9617"/>
                  <a:gd name="connsiteY105" fmla="*/ 1640 h 10000"/>
                  <a:gd name="connsiteX106" fmla="*/ 342 w 9617"/>
                  <a:gd name="connsiteY106" fmla="*/ 1897 h 10000"/>
                  <a:gd name="connsiteX0" fmla="*/ 356 w 10000"/>
                  <a:gd name="connsiteY0" fmla="*/ 1897 h 10000"/>
                  <a:gd name="connsiteX1" fmla="*/ 356 w 10000"/>
                  <a:gd name="connsiteY1" fmla="*/ 2412 h 10000"/>
                  <a:gd name="connsiteX2" fmla="*/ 356 w 10000"/>
                  <a:gd name="connsiteY2" fmla="*/ 2894 h 10000"/>
                  <a:gd name="connsiteX3" fmla="*/ 356 w 10000"/>
                  <a:gd name="connsiteY3" fmla="*/ 3376 h 10000"/>
                  <a:gd name="connsiteX4" fmla="*/ 5155 w 10000"/>
                  <a:gd name="connsiteY4" fmla="*/ 7114 h 10000"/>
                  <a:gd name="connsiteX5" fmla="*/ 4848 w 10000"/>
                  <a:gd name="connsiteY5" fmla="*/ 6907 h 10000"/>
                  <a:gd name="connsiteX6" fmla="*/ 4403 w 10000"/>
                  <a:gd name="connsiteY6" fmla="*/ 6781 h 10000"/>
                  <a:gd name="connsiteX7" fmla="*/ 4182 w 10000"/>
                  <a:gd name="connsiteY7" fmla="*/ 7064 h 10000"/>
                  <a:gd name="connsiteX8" fmla="*/ 3635 w 10000"/>
                  <a:gd name="connsiteY8" fmla="*/ 7281 h 10000"/>
                  <a:gd name="connsiteX9" fmla="*/ 3284 w 10000"/>
                  <a:gd name="connsiteY9" fmla="*/ 7279 h 10000"/>
                  <a:gd name="connsiteX10" fmla="*/ 2517 w 10000"/>
                  <a:gd name="connsiteY10" fmla="*/ 7095 h 10000"/>
                  <a:gd name="connsiteX11" fmla="*/ 2312 w 10000"/>
                  <a:gd name="connsiteY11" fmla="*/ 7195 h 10000"/>
                  <a:gd name="connsiteX12" fmla="*/ 1800 w 10000"/>
                  <a:gd name="connsiteY12" fmla="*/ 6973 h 10000"/>
                  <a:gd name="connsiteX13" fmla="*/ 1574 w 10000"/>
                  <a:gd name="connsiteY13" fmla="*/ 6638 h 10000"/>
                  <a:gd name="connsiteX14" fmla="*/ 1198 w 10000"/>
                  <a:gd name="connsiteY14" fmla="*/ 6729 h 10000"/>
                  <a:gd name="connsiteX15" fmla="*/ 1096 w 10000"/>
                  <a:gd name="connsiteY15" fmla="*/ 6927 h 10000"/>
                  <a:gd name="connsiteX16" fmla="*/ 698 w 10000"/>
                  <a:gd name="connsiteY16" fmla="*/ 7011 h 10000"/>
                  <a:gd name="connsiteX17" fmla="*/ 436 w 10000"/>
                  <a:gd name="connsiteY17" fmla="*/ 7004 h 10000"/>
                  <a:gd name="connsiteX18" fmla="*/ 292 w 10000"/>
                  <a:gd name="connsiteY18" fmla="*/ 7161 h 10000"/>
                  <a:gd name="connsiteX19" fmla="*/ 47 w 10000"/>
                  <a:gd name="connsiteY19" fmla="*/ 6913 h 10000"/>
                  <a:gd name="connsiteX20" fmla="*/ 0 w 10000"/>
                  <a:gd name="connsiteY20" fmla="*/ 7363 h 10000"/>
                  <a:gd name="connsiteX21" fmla="*/ 89 w 10000"/>
                  <a:gd name="connsiteY21" fmla="*/ 7428 h 10000"/>
                  <a:gd name="connsiteX22" fmla="*/ 446 w 10000"/>
                  <a:gd name="connsiteY22" fmla="*/ 7460 h 10000"/>
                  <a:gd name="connsiteX23" fmla="*/ 491 w 10000"/>
                  <a:gd name="connsiteY23" fmla="*/ 7588 h 10000"/>
                  <a:gd name="connsiteX24" fmla="*/ 890 w 10000"/>
                  <a:gd name="connsiteY24" fmla="*/ 7621 h 10000"/>
                  <a:gd name="connsiteX25" fmla="*/ 1112 w 10000"/>
                  <a:gd name="connsiteY25" fmla="*/ 7749 h 10000"/>
                  <a:gd name="connsiteX26" fmla="*/ 1156 w 10000"/>
                  <a:gd name="connsiteY26" fmla="*/ 7974 h 10000"/>
                  <a:gd name="connsiteX27" fmla="*/ 1869 w 10000"/>
                  <a:gd name="connsiteY27" fmla="*/ 8360 h 10000"/>
                  <a:gd name="connsiteX28" fmla="*/ 2046 w 10000"/>
                  <a:gd name="connsiteY28" fmla="*/ 8746 h 10000"/>
                  <a:gd name="connsiteX29" fmla="*/ 2534 w 10000"/>
                  <a:gd name="connsiteY29" fmla="*/ 8939 h 10000"/>
                  <a:gd name="connsiteX30" fmla="*/ 2712 w 10000"/>
                  <a:gd name="connsiteY30" fmla="*/ 9196 h 10000"/>
                  <a:gd name="connsiteX31" fmla="*/ 3067 w 10000"/>
                  <a:gd name="connsiteY31" fmla="*/ 9518 h 10000"/>
                  <a:gd name="connsiteX32" fmla="*/ 3335 w 10000"/>
                  <a:gd name="connsiteY32" fmla="*/ 9614 h 10000"/>
                  <a:gd name="connsiteX33" fmla="*/ 3513 w 10000"/>
                  <a:gd name="connsiteY33" fmla="*/ 9518 h 10000"/>
                  <a:gd name="connsiteX34" fmla="*/ 3957 w 10000"/>
                  <a:gd name="connsiteY34" fmla="*/ 9550 h 10000"/>
                  <a:gd name="connsiteX35" fmla="*/ 4134 w 10000"/>
                  <a:gd name="connsiteY35" fmla="*/ 9486 h 10000"/>
                  <a:gd name="connsiteX36" fmla="*/ 4934 w 10000"/>
                  <a:gd name="connsiteY36" fmla="*/ 9968 h 10000"/>
                  <a:gd name="connsiteX37" fmla="*/ 4979 w 10000"/>
                  <a:gd name="connsiteY37" fmla="*/ 9968 h 10000"/>
                  <a:gd name="connsiteX38" fmla="*/ 5067 w 10000"/>
                  <a:gd name="connsiteY38" fmla="*/ 9904 h 10000"/>
                  <a:gd name="connsiteX39" fmla="*/ 5643 w 10000"/>
                  <a:gd name="connsiteY39" fmla="*/ 9904 h 10000"/>
                  <a:gd name="connsiteX40" fmla="*/ 5734 w 10000"/>
                  <a:gd name="connsiteY40" fmla="*/ 10000 h 10000"/>
                  <a:gd name="connsiteX41" fmla="*/ 6223 w 10000"/>
                  <a:gd name="connsiteY41" fmla="*/ 9871 h 10000"/>
                  <a:gd name="connsiteX42" fmla="*/ 6666 w 10000"/>
                  <a:gd name="connsiteY42" fmla="*/ 9871 h 10000"/>
                  <a:gd name="connsiteX43" fmla="*/ 6978 w 10000"/>
                  <a:gd name="connsiteY43" fmla="*/ 9743 h 10000"/>
                  <a:gd name="connsiteX44" fmla="*/ 7334 w 10000"/>
                  <a:gd name="connsiteY44" fmla="*/ 9486 h 10000"/>
                  <a:gd name="connsiteX45" fmla="*/ 8267 w 10000"/>
                  <a:gd name="connsiteY45" fmla="*/ 9486 h 10000"/>
                  <a:gd name="connsiteX46" fmla="*/ 8267 w 10000"/>
                  <a:gd name="connsiteY46" fmla="*/ 9132 h 10000"/>
                  <a:gd name="connsiteX47" fmla="*/ 7779 w 10000"/>
                  <a:gd name="connsiteY47" fmla="*/ 8971 h 10000"/>
                  <a:gd name="connsiteX48" fmla="*/ 7512 w 10000"/>
                  <a:gd name="connsiteY48" fmla="*/ 8457 h 10000"/>
                  <a:gd name="connsiteX49" fmla="*/ 7157 w 10000"/>
                  <a:gd name="connsiteY49" fmla="*/ 8264 h 10000"/>
                  <a:gd name="connsiteX50" fmla="*/ 6933 w 10000"/>
                  <a:gd name="connsiteY50" fmla="*/ 8006 h 10000"/>
                  <a:gd name="connsiteX51" fmla="*/ 6356 w 10000"/>
                  <a:gd name="connsiteY51" fmla="*/ 7814 h 10000"/>
                  <a:gd name="connsiteX52" fmla="*/ 6489 w 10000"/>
                  <a:gd name="connsiteY52" fmla="*/ 7749 h 10000"/>
                  <a:gd name="connsiteX53" fmla="*/ 6489 w 10000"/>
                  <a:gd name="connsiteY53" fmla="*/ 7588 h 10000"/>
                  <a:gd name="connsiteX54" fmla="*/ 6890 w 10000"/>
                  <a:gd name="connsiteY54" fmla="*/ 7588 h 10000"/>
                  <a:gd name="connsiteX55" fmla="*/ 7110 w 10000"/>
                  <a:gd name="connsiteY55" fmla="*/ 7460 h 10000"/>
                  <a:gd name="connsiteX56" fmla="*/ 7157 w 10000"/>
                  <a:gd name="connsiteY56" fmla="*/ 6527 h 10000"/>
                  <a:gd name="connsiteX57" fmla="*/ 7200 w 10000"/>
                  <a:gd name="connsiteY57" fmla="*/ 6559 h 10000"/>
                  <a:gd name="connsiteX58" fmla="*/ 7334 w 10000"/>
                  <a:gd name="connsiteY58" fmla="*/ 6367 h 10000"/>
                  <a:gd name="connsiteX59" fmla="*/ 7600 w 10000"/>
                  <a:gd name="connsiteY59" fmla="*/ 6270 h 10000"/>
                  <a:gd name="connsiteX60" fmla="*/ 7733 w 10000"/>
                  <a:gd name="connsiteY60" fmla="*/ 5916 h 10000"/>
                  <a:gd name="connsiteX61" fmla="*/ 8135 w 10000"/>
                  <a:gd name="connsiteY61" fmla="*/ 5498 h 10000"/>
                  <a:gd name="connsiteX62" fmla="*/ 8443 w 10000"/>
                  <a:gd name="connsiteY62" fmla="*/ 5305 h 10000"/>
                  <a:gd name="connsiteX63" fmla="*/ 8666 w 10000"/>
                  <a:gd name="connsiteY63" fmla="*/ 4759 h 10000"/>
                  <a:gd name="connsiteX64" fmla="*/ 8666 w 10000"/>
                  <a:gd name="connsiteY64" fmla="*/ 4630 h 10000"/>
                  <a:gd name="connsiteX65" fmla="*/ 8623 w 10000"/>
                  <a:gd name="connsiteY65" fmla="*/ 4309 h 10000"/>
                  <a:gd name="connsiteX66" fmla="*/ 9066 w 10000"/>
                  <a:gd name="connsiteY66" fmla="*/ 3151 h 10000"/>
                  <a:gd name="connsiteX67" fmla="*/ 9199 w 10000"/>
                  <a:gd name="connsiteY67" fmla="*/ 3151 h 10000"/>
                  <a:gd name="connsiteX68" fmla="*/ 9378 w 10000"/>
                  <a:gd name="connsiteY68" fmla="*/ 3055 h 10000"/>
                  <a:gd name="connsiteX69" fmla="*/ 9912 w 10000"/>
                  <a:gd name="connsiteY69" fmla="*/ 2894 h 10000"/>
                  <a:gd name="connsiteX70" fmla="*/ 10000 w 10000"/>
                  <a:gd name="connsiteY70" fmla="*/ 2637 h 10000"/>
                  <a:gd name="connsiteX71" fmla="*/ 9957 w 10000"/>
                  <a:gd name="connsiteY71" fmla="*/ 2572 h 10000"/>
                  <a:gd name="connsiteX72" fmla="*/ 9777 w 10000"/>
                  <a:gd name="connsiteY72" fmla="*/ 2572 h 10000"/>
                  <a:gd name="connsiteX73" fmla="*/ 9644 w 10000"/>
                  <a:gd name="connsiteY73" fmla="*/ 2412 h 10000"/>
                  <a:gd name="connsiteX74" fmla="*/ 9378 w 10000"/>
                  <a:gd name="connsiteY74" fmla="*/ 2347 h 10000"/>
                  <a:gd name="connsiteX75" fmla="*/ 9244 w 10000"/>
                  <a:gd name="connsiteY75" fmla="*/ 2219 h 10000"/>
                  <a:gd name="connsiteX76" fmla="*/ 9157 w 10000"/>
                  <a:gd name="connsiteY76" fmla="*/ 1736 h 10000"/>
                  <a:gd name="connsiteX77" fmla="*/ 9157 w 10000"/>
                  <a:gd name="connsiteY77" fmla="*/ 1061 h 10000"/>
                  <a:gd name="connsiteX78" fmla="*/ 8933 w 10000"/>
                  <a:gd name="connsiteY78" fmla="*/ 836 h 10000"/>
                  <a:gd name="connsiteX79" fmla="*/ 8889 w 10000"/>
                  <a:gd name="connsiteY79" fmla="*/ 611 h 10000"/>
                  <a:gd name="connsiteX80" fmla="*/ 8534 w 10000"/>
                  <a:gd name="connsiteY80" fmla="*/ 289 h 10000"/>
                  <a:gd name="connsiteX81" fmla="*/ 8222 w 10000"/>
                  <a:gd name="connsiteY81" fmla="*/ 161 h 10000"/>
                  <a:gd name="connsiteX82" fmla="*/ 8045 w 10000"/>
                  <a:gd name="connsiteY82" fmla="*/ 0 h 10000"/>
                  <a:gd name="connsiteX83" fmla="*/ 7779 w 10000"/>
                  <a:gd name="connsiteY83" fmla="*/ 161 h 10000"/>
                  <a:gd name="connsiteX84" fmla="*/ 7600 w 10000"/>
                  <a:gd name="connsiteY84" fmla="*/ 129 h 10000"/>
                  <a:gd name="connsiteX85" fmla="*/ 7466 w 10000"/>
                  <a:gd name="connsiteY85" fmla="*/ 418 h 10000"/>
                  <a:gd name="connsiteX86" fmla="*/ 7110 w 10000"/>
                  <a:gd name="connsiteY86" fmla="*/ 482 h 10000"/>
                  <a:gd name="connsiteX87" fmla="*/ 7023 w 10000"/>
                  <a:gd name="connsiteY87" fmla="*/ 707 h 10000"/>
                  <a:gd name="connsiteX88" fmla="*/ 6711 w 10000"/>
                  <a:gd name="connsiteY88" fmla="*/ 707 h 10000"/>
                  <a:gd name="connsiteX89" fmla="*/ 6445 w 10000"/>
                  <a:gd name="connsiteY89" fmla="*/ 611 h 10000"/>
                  <a:gd name="connsiteX90" fmla="*/ 5867 w 10000"/>
                  <a:gd name="connsiteY90" fmla="*/ 611 h 10000"/>
                  <a:gd name="connsiteX91" fmla="*/ 5289 w 10000"/>
                  <a:gd name="connsiteY91" fmla="*/ 611 h 10000"/>
                  <a:gd name="connsiteX92" fmla="*/ 5333 w 10000"/>
                  <a:gd name="connsiteY92" fmla="*/ 482 h 10000"/>
                  <a:gd name="connsiteX93" fmla="*/ 5245 w 10000"/>
                  <a:gd name="connsiteY93" fmla="*/ 482 h 10000"/>
                  <a:gd name="connsiteX94" fmla="*/ 5201 w 10000"/>
                  <a:gd name="connsiteY94" fmla="*/ 611 h 10000"/>
                  <a:gd name="connsiteX95" fmla="*/ 4667 w 10000"/>
                  <a:gd name="connsiteY95" fmla="*/ 611 h 10000"/>
                  <a:gd name="connsiteX96" fmla="*/ 4134 w 10000"/>
                  <a:gd name="connsiteY96" fmla="*/ 611 h 10000"/>
                  <a:gd name="connsiteX97" fmla="*/ 3602 w 10000"/>
                  <a:gd name="connsiteY97" fmla="*/ 611 h 10000"/>
                  <a:gd name="connsiteX98" fmla="*/ 3067 w 10000"/>
                  <a:gd name="connsiteY98" fmla="*/ 611 h 10000"/>
                  <a:gd name="connsiteX99" fmla="*/ 2580 w 10000"/>
                  <a:gd name="connsiteY99" fmla="*/ 611 h 10000"/>
                  <a:gd name="connsiteX100" fmla="*/ 2046 w 10000"/>
                  <a:gd name="connsiteY100" fmla="*/ 611 h 10000"/>
                  <a:gd name="connsiteX101" fmla="*/ 1556 w 10000"/>
                  <a:gd name="connsiteY101" fmla="*/ 611 h 10000"/>
                  <a:gd name="connsiteX102" fmla="*/ 1024 w 10000"/>
                  <a:gd name="connsiteY102" fmla="*/ 611 h 10000"/>
                  <a:gd name="connsiteX103" fmla="*/ 1024 w 10000"/>
                  <a:gd name="connsiteY103" fmla="*/ 1061 h 10000"/>
                  <a:gd name="connsiteX104" fmla="*/ 1024 w 10000"/>
                  <a:gd name="connsiteY104" fmla="*/ 1640 h 10000"/>
                  <a:gd name="connsiteX105" fmla="*/ 356 w 10000"/>
                  <a:gd name="connsiteY105" fmla="*/ 1640 h 10000"/>
                  <a:gd name="connsiteX106" fmla="*/ 356 w 10000"/>
                  <a:gd name="connsiteY106" fmla="*/ 1897 h 10000"/>
                  <a:gd name="connsiteX0" fmla="*/ 861 w 10505"/>
                  <a:gd name="connsiteY0" fmla="*/ 1897 h 10000"/>
                  <a:gd name="connsiteX1" fmla="*/ 861 w 10505"/>
                  <a:gd name="connsiteY1" fmla="*/ 2412 h 10000"/>
                  <a:gd name="connsiteX2" fmla="*/ 861 w 10505"/>
                  <a:gd name="connsiteY2" fmla="*/ 2894 h 10000"/>
                  <a:gd name="connsiteX3" fmla="*/ 6025 w 10505"/>
                  <a:gd name="connsiteY3" fmla="*/ 6915 h 10000"/>
                  <a:gd name="connsiteX4" fmla="*/ 5660 w 10505"/>
                  <a:gd name="connsiteY4" fmla="*/ 7114 h 10000"/>
                  <a:gd name="connsiteX5" fmla="*/ 5353 w 10505"/>
                  <a:gd name="connsiteY5" fmla="*/ 6907 h 10000"/>
                  <a:gd name="connsiteX6" fmla="*/ 4908 w 10505"/>
                  <a:gd name="connsiteY6" fmla="*/ 6781 h 10000"/>
                  <a:gd name="connsiteX7" fmla="*/ 4687 w 10505"/>
                  <a:gd name="connsiteY7" fmla="*/ 7064 h 10000"/>
                  <a:gd name="connsiteX8" fmla="*/ 4140 w 10505"/>
                  <a:gd name="connsiteY8" fmla="*/ 7281 h 10000"/>
                  <a:gd name="connsiteX9" fmla="*/ 3789 w 10505"/>
                  <a:gd name="connsiteY9" fmla="*/ 7279 h 10000"/>
                  <a:gd name="connsiteX10" fmla="*/ 3022 w 10505"/>
                  <a:gd name="connsiteY10" fmla="*/ 7095 h 10000"/>
                  <a:gd name="connsiteX11" fmla="*/ 2817 w 10505"/>
                  <a:gd name="connsiteY11" fmla="*/ 7195 h 10000"/>
                  <a:gd name="connsiteX12" fmla="*/ 2305 w 10505"/>
                  <a:gd name="connsiteY12" fmla="*/ 6973 h 10000"/>
                  <a:gd name="connsiteX13" fmla="*/ 2079 w 10505"/>
                  <a:gd name="connsiteY13" fmla="*/ 6638 h 10000"/>
                  <a:gd name="connsiteX14" fmla="*/ 1703 w 10505"/>
                  <a:gd name="connsiteY14" fmla="*/ 6729 h 10000"/>
                  <a:gd name="connsiteX15" fmla="*/ 1601 w 10505"/>
                  <a:gd name="connsiteY15" fmla="*/ 6927 h 10000"/>
                  <a:gd name="connsiteX16" fmla="*/ 1203 w 10505"/>
                  <a:gd name="connsiteY16" fmla="*/ 7011 h 10000"/>
                  <a:gd name="connsiteX17" fmla="*/ 941 w 10505"/>
                  <a:gd name="connsiteY17" fmla="*/ 7004 h 10000"/>
                  <a:gd name="connsiteX18" fmla="*/ 797 w 10505"/>
                  <a:gd name="connsiteY18" fmla="*/ 7161 h 10000"/>
                  <a:gd name="connsiteX19" fmla="*/ 552 w 10505"/>
                  <a:gd name="connsiteY19" fmla="*/ 6913 h 10000"/>
                  <a:gd name="connsiteX20" fmla="*/ 505 w 10505"/>
                  <a:gd name="connsiteY20" fmla="*/ 7363 h 10000"/>
                  <a:gd name="connsiteX21" fmla="*/ 594 w 10505"/>
                  <a:gd name="connsiteY21" fmla="*/ 7428 h 10000"/>
                  <a:gd name="connsiteX22" fmla="*/ 951 w 10505"/>
                  <a:gd name="connsiteY22" fmla="*/ 7460 h 10000"/>
                  <a:gd name="connsiteX23" fmla="*/ 996 w 10505"/>
                  <a:gd name="connsiteY23" fmla="*/ 7588 h 10000"/>
                  <a:gd name="connsiteX24" fmla="*/ 1395 w 10505"/>
                  <a:gd name="connsiteY24" fmla="*/ 7621 h 10000"/>
                  <a:gd name="connsiteX25" fmla="*/ 1617 w 10505"/>
                  <a:gd name="connsiteY25" fmla="*/ 7749 h 10000"/>
                  <a:gd name="connsiteX26" fmla="*/ 1661 w 10505"/>
                  <a:gd name="connsiteY26" fmla="*/ 7974 h 10000"/>
                  <a:gd name="connsiteX27" fmla="*/ 2374 w 10505"/>
                  <a:gd name="connsiteY27" fmla="*/ 8360 h 10000"/>
                  <a:gd name="connsiteX28" fmla="*/ 2551 w 10505"/>
                  <a:gd name="connsiteY28" fmla="*/ 8746 h 10000"/>
                  <a:gd name="connsiteX29" fmla="*/ 3039 w 10505"/>
                  <a:gd name="connsiteY29" fmla="*/ 8939 h 10000"/>
                  <a:gd name="connsiteX30" fmla="*/ 3217 w 10505"/>
                  <a:gd name="connsiteY30" fmla="*/ 9196 h 10000"/>
                  <a:gd name="connsiteX31" fmla="*/ 3572 w 10505"/>
                  <a:gd name="connsiteY31" fmla="*/ 9518 h 10000"/>
                  <a:gd name="connsiteX32" fmla="*/ 3840 w 10505"/>
                  <a:gd name="connsiteY32" fmla="*/ 9614 h 10000"/>
                  <a:gd name="connsiteX33" fmla="*/ 4018 w 10505"/>
                  <a:gd name="connsiteY33" fmla="*/ 9518 h 10000"/>
                  <a:gd name="connsiteX34" fmla="*/ 4462 w 10505"/>
                  <a:gd name="connsiteY34" fmla="*/ 9550 h 10000"/>
                  <a:gd name="connsiteX35" fmla="*/ 4639 w 10505"/>
                  <a:gd name="connsiteY35" fmla="*/ 9486 h 10000"/>
                  <a:gd name="connsiteX36" fmla="*/ 5439 w 10505"/>
                  <a:gd name="connsiteY36" fmla="*/ 9968 h 10000"/>
                  <a:gd name="connsiteX37" fmla="*/ 5484 w 10505"/>
                  <a:gd name="connsiteY37" fmla="*/ 9968 h 10000"/>
                  <a:gd name="connsiteX38" fmla="*/ 5572 w 10505"/>
                  <a:gd name="connsiteY38" fmla="*/ 9904 h 10000"/>
                  <a:gd name="connsiteX39" fmla="*/ 6148 w 10505"/>
                  <a:gd name="connsiteY39" fmla="*/ 9904 h 10000"/>
                  <a:gd name="connsiteX40" fmla="*/ 6239 w 10505"/>
                  <a:gd name="connsiteY40" fmla="*/ 10000 h 10000"/>
                  <a:gd name="connsiteX41" fmla="*/ 6728 w 10505"/>
                  <a:gd name="connsiteY41" fmla="*/ 9871 h 10000"/>
                  <a:gd name="connsiteX42" fmla="*/ 7171 w 10505"/>
                  <a:gd name="connsiteY42" fmla="*/ 9871 h 10000"/>
                  <a:gd name="connsiteX43" fmla="*/ 7483 w 10505"/>
                  <a:gd name="connsiteY43" fmla="*/ 9743 h 10000"/>
                  <a:gd name="connsiteX44" fmla="*/ 7839 w 10505"/>
                  <a:gd name="connsiteY44" fmla="*/ 9486 h 10000"/>
                  <a:gd name="connsiteX45" fmla="*/ 8772 w 10505"/>
                  <a:gd name="connsiteY45" fmla="*/ 9486 h 10000"/>
                  <a:gd name="connsiteX46" fmla="*/ 8772 w 10505"/>
                  <a:gd name="connsiteY46" fmla="*/ 9132 h 10000"/>
                  <a:gd name="connsiteX47" fmla="*/ 8284 w 10505"/>
                  <a:gd name="connsiteY47" fmla="*/ 8971 h 10000"/>
                  <a:gd name="connsiteX48" fmla="*/ 8017 w 10505"/>
                  <a:gd name="connsiteY48" fmla="*/ 8457 h 10000"/>
                  <a:gd name="connsiteX49" fmla="*/ 7662 w 10505"/>
                  <a:gd name="connsiteY49" fmla="*/ 8264 h 10000"/>
                  <a:gd name="connsiteX50" fmla="*/ 7438 w 10505"/>
                  <a:gd name="connsiteY50" fmla="*/ 8006 h 10000"/>
                  <a:gd name="connsiteX51" fmla="*/ 6861 w 10505"/>
                  <a:gd name="connsiteY51" fmla="*/ 7814 h 10000"/>
                  <a:gd name="connsiteX52" fmla="*/ 6994 w 10505"/>
                  <a:gd name="connsiteY52" fmla="*/ 7749 h 10000"/>
                  <a:gd name="connsiteX53" fmla="*/ 6994 w 10505"/>
                  <a:gd name="connsiteY53" fmla="*/ 7588 h 10000"/>
                  <a:gd name="connsiteX54" fmla="*/ 7395 w 10505"/>
                  <a:gd name="connsiteY54" fmla="*/ 7588 h 10000"/>
                  <a:gd name="connsiteX55" fmla="*/ 7615 w 10505"/>
                  <a:gd name="connsiteY55" fmla="*/ 7460 h 10000"/>
                  <a:gd name="connsiteX56" fmla="*/ 7662 w 10505"/>
                  <a:gd name="connsiteY56" fmla="*/ 6527 h 10000"/>
                  <a:gd name="connsiteX57" fmla="*/ 7705 w 10505"/>
                  <a:gd name="connsiteY57" fmla="*/ 6559 h 10000"/>
                  <a:gd name="connsiteX58" fmla="*/ 7839 w 10505"/>
                  <a:gd name="connsiteY58" fmla="*/ 6367 h 10000"/>
                  <a:gd name="connsiteX59" fmla="*/ 8105 w 10505"/>
                  <a:gd name="connsiteY59" fmla="*/ 6270 h 10000"/>
                  <a:gd name="connsiteX60" fmla="*/ 8238 w 10505"/>
                  <a:gd name="connsiteY60" fmla="*/ 5916 h 10000"/>
                  <a:gd name="connsiteX61" fmla="*/ 8640 w 10505"/>
                  <a:gd name="connsiteY61" fmla="*/ 5498 h 10000"/>
                  <a:gd name="connsiteX62" fmla="*/ 8948 w 10505"/>
                  <a:gd name="connsiteY62" fmla="*/ 5305 h 10000"/>
                  <a:gd name="connsiteX63" fmla="*/ 9171 w 10505"/>
                  <a:gd name="connsiteY63" fmla="*/ 4759 h 10000"/>
                  <a:gd name="connsiteX64" fmla="*/ 9171 w 10505"/>
                  <a:gd name="connsiteY64" fmla="*/ 4630 h 10000"/>
                  <a:gd name="connsiteX65" fmla="*/ 9128 w 10505"/>
                  <a:gd name="connsiteY65" fmla="*/ 4309 h 10000"/>
                  <a:gd name="connsiteX66" fmla="*/ 9571 w 10505"/>
                  <a:gd name="connsiteY66" fmla="*/ 3151 h 10000"/>
                  <a:gd name="connsiteX67" fmla="*/ 9704 w 10505"/>
                  <a:gd name="connsiteY67" fmla="*/ 3151 h 10000"/>
                  <a:gd name="connsiteX68" fmla="*/ 9883 w 10505"/>
                  <a:gd name="connsiteY68" fmla="*/ 3055 h 10000"/>
                  <a:gd name="connsiteX69" fmla="*/ 10417 w 10505"/>
                  <a:gd name="connsiteY69" fmla="*/ 2894 h 10000"/>
                  <a:gd name="connsiteX70" fmla="*/ 10505 w 10505"/>
                  <a:gd name="connsiteY70" fmla="*/ 2637 h 10000"/>
                  <a:gd name="connsiteX71" fmla="*/ 10462 w 10505"/>
                  <a:gd name="connsiteY71" fmla="*/ 2572 h 10000"/>
                  <a:gd name="connsiteX72" fmla="*/ 10282 w 10505"/>
                  <a:gd name="connsiteY72" fmla="*/ 2572 h 10000"/>
                  <a:gd name="connsiteX73" fmla="*/ 10149 w 10505"/>
                  <a:gd name="connsiteY73" fmla="*/ 2412 h 10000"/>
                  <a:gd name="connsiteX74" fmla="*/ 9883 w 10505"/>
                  <a:gd name="connsiteY74" fmla="*/ 2347 h 10000"/>
                  <a:gd name="connsiteX75" fmla="*/ 9749 w 10505"/>
                  <a:gd name="connsiteY75" fmla="*/ 2219 h 10000"/>
                  <a:gd name="connsiteX76" fmla="*/ 9662 w 10505"/>
                  <a:gd name="connsiteY76" fmla="*/ 1736 h 10000"/>
                  <a:gd name="connsiteX77" fmla="*/ 9662 w 10505"/>
                  <a:gd name="connsiteY77" fmla="*/ 1061 h 10000"/>
                  <a:gd name="connsiteX78" fmla="*/ 9438 w 10505"/>
                  <a:gd name="connsiteY78" fmla="*/ 836 h 10000"/>
                  <a:gd name="connsiteX79" fmla="*/ 9394 w 10505"/>
                  <a:gd name="connsiteY79" fmla="*/ 611 h 10000"/>
                  <a:gd name="connsiteX80" fmla="*/ 9039 w 10505"/>
                  <a:gd name="connsiteY80" fmla="*/ 289 h 10000"/>
                  <a:gd name="connsiteX81" fmla="*/ 8727 w 10505"/>
                  <a:gd name="connsiteY81" fmla="*/ 161 h 10000"/>
                  <a:gd name="connsiteX82" fmla="*/ 8550 w 10505"/>
                  <a:gd name="connsiteY82" fmla="*/ 0 h 10000"/>
                  <a:gd name="connsiteX83" fmla="*/ 8284 w 10505"/>
                  <a:gd name="connsiteY83" fmla="*/ 161 h 10000"/>
                  <a:gd name="connsiteX84" fmla="*/ 8105 w 10505"/>
                  <a:gd name="connsiteY84" fmla="*/ 129 h 10000"/>
                  <a:gd name="connsiteX85" fmla="*/ 7971 w 10505"/>
                  <a:gd name="connsiteY85" fmla="*/ 418 h 10000"/>
                  <a:gd name="connsiteX86" fmla="*/ 7615 w 10505"/>
                  <a:gd name="connsiteY86" fmla="*/ 482 h 10000"/>
                  <a:gd name="connsiteX87" fmla="*/ 7528 w 10505"/>
                  <a:gd name="connsiteY87" fmla="*/ 707 h 10000"/>
                  <a:gd name="connsiteX88" fmla="*/ 7216 w 10505"/>
                  <a:gd name="connsiteY88" fmla="*/ 707 h 10000"/>
                  <a:gd name="connsiteX89" fmla="*/ 6950 w 10505"/>
                  <a:gd name="connsiteY89" fmla="*/ 611 h 10000"/>
                  <a:gd name="connsiteX90" fmla="*/ 6372 w 10505"/>
                  <a:gd name="connsiteY90" fmla="*/ 611 h 10000"/>
                  <a:gd name="connsiteX91" fmla="*/ 5794 w 10505"/>
                  <a:gd name="connsiteY91" fmla="*/ 611 h 10000"/>
                  <a:gd name="connsiteX92" fmla="*/ 5838 w 10505"/>
                  <a:gd name="connsiteY92" fmla="*/ 482 h 10000"/>
                  <a:gd name="connsiteX93" fmla="*/ 5750 w 10505"/>
                  <a:gd name="connsiteY93" fmla="*/ 482 h 10000"/>
                  <a:gd name="connsiteX94" fmla="*/ 5706 w 10505"/>
                  <a:gd name="connsiteY94" fmla="*/ 611 h 10000"/>
                  <a:gd name="connsiteX95" fmla="*/ 5172 w 10505"/>
                  <a:gd name="connsiteY95" fmla="*/ 611 h 10000"/>
                  <a:gd name="connsiteX96" fmla="*/ 4639 w 10505"/>
                  <a:gd name="connsiteY96" fmla="*/ 611 h 10000"/>
                  <a:gd name="connsiteX97" fmla="*/ 4107 w 10505"/>
                  <a:gd name="connsiteY97" fmla="*/ 611 h 10000"/>
                  <a:gd name="connsiteX98" fmla="*/ 3572 w 10505"/>
                  <a:gd name="connsiteY98" fmla="*/ 611 h 10000"/>
                  <a:gd name="connsiteX99" fmla="*/ 3085 w 10505"/>
                  <a:gd name="connsiteY99" fmla="*/ 611 h 10000"/>
                  <a:gd name="connsiteX100" fmla="*/ 2551 w 10505"/>
                  <a:gd name="connsiteY100" fmla="*/ 611 h 10000"/>
                  <a:gd name="connsiteX101" fmla="*/ 2061 w 10505"/>
                  <a:gd name="connsiteY101" fmla="*/ 611 h 10000"/>
                  <a:gd name="connsiteX102" fmla="*/ 1529 w 10505"/>
                  <a:gd name="connsiteY102" fmla="*/ 611 h 10000"/>
                  <a:gd name="connsiteX103" fmla="*/ 1529 w 10505"/>
                  <a:gd name="connsiteY103" fmla="*/ 1061 h 10000"/>
                  <a:gd name="connsiteX104" fmla="*/ 1529 w 10505"/>
                  <a:gd name="connsiteY104" fmla="*/ 1640 h 10000"/>
                  <a:gd name="connsiteX105" fmla="*/ 861 w 10505"/>
                  <a:gd name="connsiteY105" fmla="*/ 1640 h 10000"/>
                  <a:gd name="connsiteX106" fmla="*/ 861 w 10505"/>
                  <a:gd name="connsiteY106" fmla="*/ 1897 h 10000"/>
                  <a:gd name="connsiteX0" fmla="*/ 356 w 10000"/>
                  <a:gd name="connsiteY0" fmla="*/ 1897 h 10000"/>
                  <a:gd name="connsiteX1" fmla="*/ 356 w 10000"/>
                  <a:gd name="connsiteY1" fmla="*/ 2412 h 10000"/>
                  <a:gd name="connsiteX2" fmla="*/ 4973 w 10000"/>
                  <a:gd name="connsiteY2" fmla="*/ 5205 h 10000"/>
                  <a:gd name="connsiteX3" fmla="*/ 5520 w 10000"/>
                  <a:gd name="connsiteY3" fmla="*/ 6915 h 10000"/>
                  <a:gd name="connsiteX4" fmla="*/ 5155 w 10000"/>
                  <a:gd name="connsiteY4" fmla="*/ 7114 h 10000"/>
                  <a:gd name="connsiteX5" fmla="*/ 4848 w 10000"/>
                  <a:gd name="connsiteY5" fmla="*/ 6907 h 10000"/>
                  <a:gd name="connsiteX6" fmla="*/ 4403 w 10000"/>
                  <a:gd name="connsiteY6" fmla="*/ 6781 h 10000"/>
                  <a:gd name="connsiteX7" fmla="*/ 4182 w 10000"/>
                  <a:gd name="connsiteY7" fmla="*/ 7064 h 10000"/>
                  <a:gd name="connsiteX8" fmla="*/ 3635 w 10000"/>
                  <a:gd name="connsiteY8" fmla="*/ 7281 h 10000"/>
                  <a:gd name="connsiteX9" fmla="*/ 3284 w 10000"/>
                  <a:gd name="connsiteY9" fmla="*/ 7279 h 10000"/>
                  <a:gd name="connsiteX10" fmla="*/ 2517 w 10000"/>
                  <a:gd name="connsiteY10" fmla="*/ 7095 h 10000"/>
                  <a:gd name="connsiteX11" fmla="*/ 2312 w 10000"/>
                  <a:gd name="connsiteY11" fmla="*/ 7195 h 10000"/>
                  <a:gd name="connsiteX12" fmla="*/ 1800 w 10000"/>
                  <a:gd name="connsiteY12" fmla="*/ 6973 h 10000"/>
                  <a:gd name="connsiteX13" fmla="*/ 1574 w 10000"/>
                  <a:gd name="connsiteY13" fmla="*/ 6638 h 10000"/>
                  <a:gd name="connsiteX14" fmla="*/ 1198 w 10000"/>
                  <a:gd name="connsiteY14" fmla="*/ 6729 h 10000"/>
                  <a:gd name="connsiteX15" fmla="*/ 1096 w 10000"/>
                  <a:gd name="connsiteY15" fmla="*/ 6927 h 10000"/>
                  <a:gd name="connsiteX16" fmla="*/ 698 w 10000"/>
                  <a:gd name="connsiteY16" fmla="*/ 7011 h 10000"/>
                  <a:gd name="connsiteX17" fmla="*/ 436 w 10000"/>
                  <a:gd name="connsiteY17" fmla="*/ 7004 h 10000"/>
                  <a:gd name="connsiteX18" fmla="*/ 292 w 10000"/>
                  <a:gd name="connsiteY18" fmla="*/ 7161 h 10000"/>
                  <a:gd name="connsiteX19" fmla="*/ 47 w 10000"/>
                  <a:gd name="connsiteY19" fmla="*/ 6913 h 10000"/>
                  <a:gd name="connsiteX20" fmla="*/ 0 w 10000"/>
                  <a:gd name="connsiteY20" fmla="*/ 7363 h 10000"/>
                  <a:gd name="connsiteX21" fmla="*/ 89 w 10000"/>
                  <a:gd name="connsiteY21" fmla="*/ 7428 h 10000"/>
                  <a:gd name="connsiteX22" fmla="*/ 446 w 10000"/>
                  <a:gd name="connsiteY22" fmla="*/ 7460 h 10000"/>
                  <a:gd name="connsiteX23" fmla="*/ 491 w 10000"/>
                  <a:gd name="connsiteY23" fmla="*/ 7588 h 10000"/>
                  <a:gd name="connsiteX24" fmla="*/ 890 w 10000"/>
                  <a:gd name="connsiteY24" fmla="*/ 7621 h 10000"/>
                  <a:gd name="connsiteX25" fmla="*/ 1112 w 10000"/>
                  <a:gd name="connsiteY25" fmla="*/ 7749 h 10000"/>
                  <a:gd name="connsiteX26" fmla="*/ 1156 w 10000"/>
                  <a:gd name="connsiteY26" fmla="*/ 7974 h 10000"/>
                  <a:gd name="connsiteX27" fmla="*/ 1869 w 10000"/>
                  <a:gd name="connsiteY27" fmla="*/ 8360 h 10000"/>
                  <a:gd name="connsiteX28" fmla="*/ 2046 w 10000"/>
                  <a:gd name="connsiteY28" fmla="*/ 8746 h 10000"/>
                  <a:gd name="connsiteX29" fmla="*/ 2534 w 10000"/>
                  <a:gd name="connsiteY29" fmla="*/ 8939 h 10000"/>
                  <a:gd name="connsiteX30" fmla="*/ 2712 w 10000"/>
                  <a:gd name="connsiteY30" fmla="*/ 9196 h 10000"/>
                  <a:gd name="connsiteX31" fmla="*/ 3067 w 10000"/>
                  <a:gd name="connsiteY31" fmla="*/ 9518 h 10000"/>
                  <a:gd name="connsiteX32" fmla="*/ 3335 w 10000"/>
                  <a:gd name="connsiteY32" fmla="*/ 9614 h 10000"/>
                  <a:gd name="connsiteX33" fmla="*/ 3513 w 10000"/>
                  <a:gd name="connsiteY33" fmla="*/ 9518 h 10000"/>
                  <a:gd name="connsiteX34" fmla="*/ 3957 w 10000"/>
                  <a:gd name="connsiteY34" fmla="*/ 9550 h 10000"/>
                  <a:gd name="connsiteX35" fmla="*/ 4134 w 10000"/>
                  <a:gd name="connsiteY35" fmla="*/ 9486 h 10000"/>
                  <a:gd name="connsiteX36" fmla="*/ 4934 w 10000"/>
                  <a:gd name="connsiteY36" fmla="*/ 9968 h 10000"/>
                  <a:gd name="connsiteX37" fmla="*/ 4979 w 10000"/>
                  <a:gd name="connsiteY37" fmla="*/ 9968 h 10000"/>
                  <a:gd name="connsiteX38" fmla="*/ 5067 w 10000"/>
                  <a:gd name="connsiteY38" fmla="*/ 9904 h 10000"/>
                  <a:gd name="connsiteX39" fmla="*/ 5643 w 10000"/>
                  <a:gd name="connsiteY39" fmla="*/ 9904 h 10000"/>
                  <a:gd name="connsiteX40" fmla="*/ 5734 w 10000"/>
                  <a:gd name="connsiteY40" fmla="*/ 10000 h 10000"/>
                  <a:gd name="connsiteX41" fmla="*/ 6223 w 10000"/>
                  <a:gd name="connsiteY41" fmla="*/ 9871 h 10000"/>
                  <a:gd name="connsiteX42" fmla="*/ 6666 w 10000"/>
                  <a:gd name="connsiteY42" fmla="*/ 9871 h 10000"/>
                  <a:gd name="connsiteX43" fmla="*/ 6978 w 10000"/>
                  <a:gd name="connsiteY43" fmla="*/ 9743 h 10000"/>
                  <a:gd name="connsiteX44" fmla="*/ 7334 w 10000"/>
                  <a:gd name="connsiteY44" fmla="*/ 9486 h 10000"/>
                  <a:gd name="connsiteX45" fmla="*/ 8267 w 10000"/>
                  <a:gd name="connsiteY45" fmla="*/ 9486 h 10000"/>
                  <a:gd name="connsiteX46" fmla="*/ 8267 w 10000"/>
                  <a:gd name="connsiteY46" fmla="*/ 9132 h 10000"/>
                  <a:gd name="connsiteX47" fmla="*/ 7779 w 10000"/>
                  <a:gd name="connsiteY47" fmla="*/ 8971 h 10000"/>
                  <a:gd name="connsiteX48" fmla="*/ 7512 w 10000"/>
                  <a:gd name="connsiteY48" fmla="*/ 8457 h 10000"/>
                  <a:gd name="connsiteX49" fmla="*/ 7157 w 10000"/>
                  <a:gd name="connsiteY49" fmla="*/ 8264 h 10000"/>
                  <a:gd name="connsiteX50" fmla="*/ 6933 w 10000"/>
                  <a:gd name="connsiteY50" fmla="*/ 8006 h 10000"/>
                  <a:gd name="connsiteX51" fmla="*/ 6356 w 10000"/>
                  <a:gd name="connsiteY51" fmla="*/ 7814 h 10000"/>
                  <a:gd name="connsiteX52" fmla="*/ 6489 w 10000"/>
                  <a:gd name="connsiteY52" fmla="*/ 7749 h 10000"/>
                  <a:gd name="connsiteX53" fmla="*/ 6489 w 10000"/>
                  <a:gd name="connsiteY53" fmla="*/ 7588 h 10000"/>
                  <a:gd name="connsiteX54" fmla="*/ 6890 w 10000"/>
                  <a:gd name="connsiteY54" fmla="*/ 7588 h 10000"/>
                  <a:gd name="connsiteX55" fmla="*/ 7110 w 10000"/>
                  <a:gd name="connsiteY55" fmla="*/ 7460 h 10000"/>
                  <a:gd name="connsiteX56" fmla="*/ 7157 w 10000"/>
                  <a:gd name="connsiteY56" fmla="*/ 6527 h 10000"/>
                  <a:gd name="connsiteX57" fmla="*/ 7200 w 10000"/>
                  <a:gd name="connsiteY57" fmla="*/ 6559 h 10000"/>
                  <a:gd name="connsiteX58" fmla="*/ 7334 w 10000"/>
                  <a:gd name="connsiteY58" fmla="*/ 6367 h 10000"/>
                  <a:gd name="connsiteX59" fmla="*/ 7600 w 10000"/>
                  <a:gd name="connsiteY59" fmla="*/ 6270 h 10000"/>
                  <a:gd name="connsiteX60" fmla="*/ 7733 w 10000"/>
                  <a:gd name="connsiteY60" fmla="*/ 5916 h 10000"/>
                  <a:gd name="connsiteX61" fmla="*/ 8135 w 10000"/>
                  <a:gd name="connsiteY61" fmla="*/ 5498 h 10000"/>
                  <a:gd name="connsiteX62" fmla="*/ 8443 w 10000"/>
                  <a:gd name="connsiteY62" fmla="*/ 5305 h 10000"/>
                  <a:gd name="connsiteX63" fmla="*/ 8666 w 10000"/>
                  <a:gd name="connsiteY63" fmla="*/ 4759 h 10000"/>
                  <a:gd name="connsiteX64" fmla="*/ 8666 w 10000"/>
                  <a:gd name="connsiteY64" fmla="*/ 4630 h 10000"/>
                  <a:gd name="connsiteX65" fmla="*/ 8623 w 10000"/>
                  <a:gd name="connsiteY65" fmla="*/ 4309 h 10000"/>
                  <a:gd name="connsiteX66" fmla="*/ 9066 w 10000"/>
                  <a:gd name="connsiteY66" fmla="*/ 3151 h 10000"/>
                  <a:gd name="connsiteX67" fmla="*/ 9199 w 10000"/>
                  <a:gd name="connsiteY67" fmla="*/ 3151 h 10000"/>
                  <a:gd name="connsiteX68" fmla="*/ 9378 w 10000"/>
                  <a:gd name="connsiteY68" fmla="*/ 3055 h 10000"/>
                  <a:gd name="connsiteX69" fmla="*/ 9912 w 10000"/>
                  <a:gd name="connsiteY69" fmla="*/ 2894 h 10000"/>
                  <a:gd name="connsiteX70" fmla="*/ 10000 w 10000"/>
                  <a:gd name="connsiteY70" fmla="*/ 2637 h 10000"/>
                  <a:gd name="connsiteX71" fmla="*/ 9957 w 10000"/>
                  <a:gd name="connsiteY71" fmla="*/ 2572 h 10000"/>
                  <a:gd name="connsiteX72" fmla="*/ 9777 w 10000"/>
                  <a:gd name="connsiteY72" fmla="*/ 2572 h 10000"/>
                  <a:gd name="connsiteX73" fmla="*/ 9644 w 10000"/>
                  <a:gd name="connsiteY73" fmla="*/ 2412 h 10000"/>
                  <a:gd name="connsiteX74" fmla="*/ 9378 w 10000"/>
                  <a:gd name="connsiteY74" fmla="*/ 2347 h 10000"/>
                  <a:gd name="connsiteX75" fmla="*/ 9244 w 10000"/>
                  <a:gd name="connsiteY75" fmla="*/ 2219 h 10000"/>
                  <a:gd name="connsiteX76" fmla="*/ 9157 w 10000"/>
                  <a:gd name="connsiteY76" fmla="*/ 1736 h 10000"/>
                  <a:gd name="connsiteX77" fmla="*/ 9157 w 10000"/>
                  <a:gd name="connsiteY77" fmla="*/ 1061 h 10000"/>
                  <a:gd name="connsiteX78" fmla="*/ 8933 w 10000"/>
                  <a:gd name="connsiteY78" fmla="*/ 836 h 10000"/>
                  <a:gd name="connsiteX79" fmla="*/ 8889 w 10000"/>
                  <a:gd name="connsiteY79" fmla="*/ 611 h 10000"/>
                  <a:gd name="connsiteX80" fmla="*/ 8534 w 10000"/>
                  <a:gd name="connsiteY80" fmla="*/ 289 h 10000"/>
                  <a:gd name="connsiteX81" fmla="*/ 8222 w 10000"/>
                  <a:gd name="connsiteY81" fmla="*/ 161 h 10000"/>
                  <a:gd name="connsiteX82" fmla="*/ 8045 w 10000"/>
                  <a:gd name="connsiteY82" fmla="*/ 0 h 10000"/>
                  <a:gd name="connsiteX83" fmla="*/ 7779 w 10000"/>
                  <a:gd name="connsiteY83" fmla="*/ 161 h 10000"/>
                  <a:gd name="connsiteX84" fmla="*/ 7600 w 10000"/>
                  <a:gd name="connsiteY84" fmla="*/ 129 h 10000"/>
                  <a:gd name="connsiteX85" fmla="*/ 7466 w 10000"/>
                  <a:gd name="connsiteY85" fmla="*/ 418 h 10000"/>
                  <a:gd name="connsiteX86" fmla="*/ 7110 w 10000"/>
                  <a:gd name="connsiteY86" fmla="*/ 482 h 10000"/>
                  <a:gd name="connsiteX87" fmla="*/ 7023 w 10000"/>
                  <a:gd name="connsiteY87" fmla="*/ 707 h 10000"/>
                  <a:gd name="connsiteX88" fmla="*/ 6711 w 10000"/>
                  <a:gd name="connsiteY88" fmla="*/ 707 h 10000"/>
                  <a:gd name="connsiteX89" fmla="*/ 6445 w 10000"/>
                  <a:gd name="connsiteY89" fmla="*/ 611 h 10000"/>
                  <a:gd name="connsiteX90" fmla="*/ 5867 w 10000"/>
                  <a:gd name="connsiteY90" fmla="*/ 611 h 10000"/>
                  <a:gd name="connsiteX91" fmla="*/ 5289 w 10000"/>
                  <a:gd name="connsiteY91" fmla="*/ 611 h 10000"/>
                  <a:gd name="connsiteX92" fmla="*/ 5333 w 10000"/>
                  <a:gd name="connsiteY92" fmla="*/ 482 h 10000"/>
                  <a:gd name="connsiteX93" fmla="*/ 5245 w 10000"/>
                  <a:gd name="connsiteY93" fmla="*/ 482 h 10000"/>
                  <a:gd name="connsiteX94" fmla="*/ 5201 w 10000"/>
                  <a:gd name="connsiteY94" fmla="*/ 611 h 10000"/>
                  <a:gd name="connsiteX95" fmla="*/ 4667 w 10000"/>
                  <a:gd name="connsiteY95" fmla="*/ 611 h 10000"/>
                  <a:gd name="connsiteX96" fmla="*/ 4134 w 10000"/>
                  <a:gd name="connsiteY96" fmla="*/ 611 h 10000"/>
                  <a:gd name="connsiteX97" fmla="*/ 3602 w 10000"/>
                  <a:gd name="connsiteY97" fmla="*/ 611 h 10000"/>
                  <a:gd name="connsiteX98" fmla="*/ 3067 w 10000"/>
                  <a:gd name="connsiteY98" fmla="*/ 611 h 10000"/>
                  <a:gd name="connsiteX99" fmla="*/ 2580 w 10000"/>
                  <a:gd name="connsiteY99" fmla="*/ 611 h 10000"/>
                  <a:gd name="connsiteX100" fmla="*/ 2046 w 10000"/>
                  <a:gd name="connsiteY100" fmla="*/ 611 h 10000"/>
                  <a:gd name="connsiteX101" fmla="*/ 1556 w 10000"/>
                  <a:gd name="connsiteY101" fmla="*/ 611 h 10000"/>
                  <a:gd name="connsiteX102" fmla="*/ 1024 w 10000"/>
                  <a:gd name="connsiteY102" fmla="*/ 611 h 10000"/>
                  <a:gd name="connsiteX103" fmla="*/ 1024 w 10000"/>
                  <a:gd name="connsiteY103" fmla="*/ 1061 h 10000"/>
                  <a:gd name="connsiteX104" fmla="*/ 1024 w 10000"/>
                  <a:gd name="connsiteY104" fmla="*/ 1640 h 10000"/>
                  <a:gd name="connsiteX105" fmla="*/ 356 w 10000"/>
                  <a:gd name="connsiteY105" fmla="*/ 1640 h 10000"/>
                  <a:gd name="connsiteX106" fmla="*/ 356 w 10000"/>
                  <a:gd name="connsiteY106" fmla="*/ 1897 h 10000"/>
                  <a:gd name="connsiteX0" fmla="*/ 356 w 10000"/>
                  <a:gd name="connsiteY0" fmla="*/ 1897 h 10000"/>
                  <a:gd name="connsiteX1" fmla="*/ 356 w 10000"/>
                  <a:gd name="connsiteY1" fmla="*/ 2412 h 10000"/>
                  <a:gd name="connsiteX2" fmla="*/ 5520 w 10000"/>
                  <a:gd name="connsiteY2" fmla="*/ 6915 h 10000"/>
                  <a:gd name="connsiteX3" fmla="*/ 5155 w 10000"/>
                  <a:gd name="connsiteY3" fmla="*/ 7114 h 10000"/>
                  <a:gd name="connsiteX4" fmla="*/ 4848 w 10000"/>
                  <a:gd name="connsiteY4" fmla="*/ 6907 h 10000"/>
                  <a:gd name="connsiteX5" fmla="*/ 4403 w 10000"/>
                  <a:gd name="connsiteY5" fmla="*/ 6781 h 10000"/>
                  <a:gd name="connsiteX6" fmla="*/ 4182 w 10000"/>
                  <a:gd name="connsiteY6" fmla="*/ 7064 h 10000"/>
                  <a:gd name="connsiteX7" fmla="*/ 3635 w 10000"/>
                  <a:gd name="connsiteY7" fmla="*/ 7281 h 10000"/>
                  <a:gd name="connsiteX8" fmla="*/ 3284 w 10000"/>
                  <a:gd name="connsiteY8" fmla="*/ 7279 h 10000"/>
                  <a:gd name="connsiteX9" fmla="*/ 2517 w 10000"/>
                  <a:gd name="connsiteY9" fmla="*/ 7095 h 10000"/>
                  <a:gd name="connsiteX10" fmla="*/ 2312 w 10000"/>
                  <a:gd name="connsiteY10" fmla="*/ 7195 h 10000"/>
                  <a:gd name="connsiteX11" fmla="*/ 1800 w 10000"/>
                  <a:gd name="connsiteY11" fmla="*/ 6973 h 10000"/>
                  <a:gd name="connsiteX12" fmla="*/ 1574 w 10000"/>
                  <a:gd name="connsiteY12" fmla="*/ 6638 h 10000"/>
                  <a:gd name="connsiteX13" fmla="*/ 1198 w 10000"/>
                  <a:gd name="connsiteY13" fmla="*/ 6729 h 10000"/>
                  <a:gd name="connsiteX14" fmla="*/ 1096 w 10000"/>
                  <a:gd name="connsiteY14" fmla="*/ 6927 h 10000"/>
                  <a:gd name="connsiteX15" fmla="*/ 698 w 10000"/>
                  <a:gd name="connsiteY15" fmla="*/ 7011 h 10000"/>
                  <a:gd name="connsiteX16" fmla="*/ 436 w 10000"/>
                  <a:gd name="connsiteY16" fmla="*/ 7004 h 10000"/>
                  <a:gd name="connsiteX17" fmla="*/ 292 w 10000"/>
                  <a:gd name="connsiteY17" fmla="*/ 7161 h 10000"/>
                  <a:gd name="connsiteX18" fmla="*/ 47 w 10000"/>
                  <a:gd name="connsiteY18" fmla="*/ 6913 h 10000"/>
                  <a:gd name="connsiteX19" fmla="*/ 0 w 10000"/>
                  <a:gd name="connsiteY19" fmla="*/ 7363 h 10000"/>
                  <a:gd name="connsiteX20" fmla="*/ 89 w 10000"/>
                  <a:gd name="connsiteY20" fmla="*/ 7428 h 10000"/>
                  <a:gd name="connsiteX21" fmla="*/ 446 w 10000"/>
                  <a:gd name="connsiteY21" fmla="*/ 7460 h 10000"/>
                  <a:gd name="connsiteX22" fmla="*/ 491 w 10000"/>
                  <a:gd name="connsiteY22" fmla="*/ 7588 h 10000"/>
                  <a:gd name="connsiteX23" fmla="*/ 890 w 10000"/>
                  <a:gd name="connsiteY23" fmla="*/ 7621 h 10000"/>
                  <a:gd name="connsiteX24" fmla="*/ 1112 w 10000"/>
                  <a:gd name="connsiteY24" fmla="*/ 7749 h 10000"/>
                  <a:gd name="connsiteX25" fmla="*/ 1156 w 10000"/>
                  <a:gd name="connsiteY25" fmla="*/ 7974 h 10000"/>
                  <a:gd name="connsiteX26" fmla="*/ 1869 w 10000"/>
                  <a:gd name="connsiteY26" fmla="*/ 8360 h 10000"/>
                  <a:gd name="connsiteX27" fmla="*/ 2046 w 10000"/>
                  <a:gd name="connsiteY27" fmla="*/ 8746 h 10000"/>
                  <a:gd name="connsiteX28" fmla="*/ 2534 w 10000"/>
                  <a:gd name="connsiteY28" fmla="*/ 8939 h 10000"/>
                  <a:gd name="connsiteX29" fmla="*/ 2712 w 10000"/>
                  <a:gd name="connsiteY29" fmla="*/ 9196 h 10000"/>
                  <a:gd name="connsiteX30" fmla="*/ 3067 w 10000"/>
                  <a:gd name="connsiteY30" fmla="*/ 9518 h 10000"/>
                  <a:gd name="connsiteX31" fmla="*/ 3335 w 10000"/>
                  <a:gd name="connsiteY31" fmla="*/ 9614 h 10000"/>
                  <a:gd name="connsiteX32" fmla="*/ 3513 w 10000"/>
                  <a:gd name="connsiteY32" fmla="*/ 9518 h 10000"/>
                  <a:gd name="connsiteX33" fmla="*/ 3957 w 10000"/>
                  <a:gd name="connsiteY33" fmla="*/ 9550 h 10000"/>
                  <a:gd name="connsiteX34" fmla="*/ 4134 w 10000"/>
                  <a:gd name="connsiteY34" fmla="*/ 9486 h 10000"/>
                  <a:gd name="connsiteX35" fmla="*/ 4934 w 10000"/>
                  <a:gd name="connsiteY35" fmla="*/ 9968 h 10000"/>
                  <a:gd name="connsiteX36" fmla="*/ 4979 w 10000"/>
                  <a:gd name="connsiteY36" fmla="*/ 9968 h 10000"/>
                  <a:gd name="connsiteX37" fmla="*/ 5067 w 10000"/>
                  <a:gd name="connsiteY37" fmla="*/ 9904 h 10000"/>
                  <a:gd name="connsiteX38" fmla="*/ 5643 w 10000"/>
                  <a:gd name="connsiteY38" fmla="*/ 9904 h 10000"/>
                  <a:gd name="connsiteX39" fmla="*/ 5734 w 10000"/>
                  <a:gd name="connsiteY39" fmla="*/ 10000 h 10000"/>
                  <a:gd name="connsiteX40" fmla="*/ 6223 w 10000"/>
                  <a:gd name="connsiteY40" fmla="*/ 9871 h 10000"/>
                  <a:gd name="connsiteX41" fmla="*/ 6666 w 10000"/>
                  <a:gd name="connsiteY41" fmla="*/ 9871 h 10000"/>
                  <a:gd name="connsiteX42" fmla="*/ 6978 w 10000"/>
                  <a:gd name="connsiteY42" fmla="*/ 9743 h 10000"/>
                  <a:gd name="connsiteX43" fmla="*/ 7334 w 10000"/>
                  <a:gd name="connsiteY43" fmla="*/ 9486 h 10000"/>
                  <a:gd name="connsiteX44" fmla="*/ 8267 w 10000"/>
                  <a:gd name="connsiteY44" fmla="*/ 9486 h 10000"/>
                  <a:gd name="connsiteX45" fmla="*/ 8267 w 10000"/>
                  <a:gd name="connsiteY45" fmla="*/ 9132 h 10000"/>
                  <a:gd name="connsiteX46" fmla="*/ 7779 w 10000"/>
                  <a:gd name="connsiteY46" fmla="*/ 8971 h 10000"/>
                  <a:gd name="connsiteX47" fmla="*/ 7512 w 10000"/>
                  <a:gd name="connsiteY47" fmla="*/ 8457 h 10000"/>
                  <a:gd name="connsiteX48" fmla="*/ 7157 w 10000"/>
                  <a:gd name="connsiteY48" fmla="*/ 8264 h 10000"/>
                  <a:gd name="connsiteX49" fmla="*/ 6933 w 10000"/>
                  <a:gd name="connsiteY49" fmla="*/ 8006 h 10000"/>
                  <a:gd name="connsiteX50" fmla="*/ 6356 w 10000"/>
                  <a:gd name="connsiteY50" fmla="*/ 7814 h 10000"/>
                  <a:gd name="connsiteX51" fmla="*/ 6489 w 10000"/>
                  <a:gd name="connsiteY51" fmla="*/ 7749 h 10000"/>
                  <a:gd name="connsiteX52" fmla="*/ 6489 w 10000"/>
                  <a:gd name="connsiteY52" fmla="*/ 7588 h 10000"/>
                  <a:gd name="connsiteX53" fmla="*/ 6890 w 10000"/>
                  <a:gd name="connsiteY53" fmla="*/ 7588 h 10000"/>
                  <a:gd name="connsiteX54" fmla="*/ 7110 w 10000"/>
                  <a:gd name="connsiteY54" fmla="*/ 7460 h 10000"/>
                  <a:gd name="connsiteX55" fmla="*/ 7157 w 10000"/>
                  <a:gd name="connsiteY55" fmla="*/ 6527 h 10000"/>
                  <a:gd name="connsiteX56" fmla="*/ 7200 w 10000"/>
                  <a:gd name="connsiteY56" fmla="*/ 6559 h 10000"/>
                  <a:gd name="connsiteX57" fmla="*/ 7334 w 10000"/>
                  <a:gd name="connsiteY57" fmla="*/ 6367 h 10000"/>
                  <a:gd name="connsiteX58" fmla="*/ 7600 w 10000"/>
                  <a:gd name="connsiteY58" fmla="*/ 6270 h 10000"/>
                  <a:gd name="connsiteX59" fmla="*/ 7733 w 10000"/>
                  <a:gd name="connsiteY59" fmla="*/ 5916 h 10000"/>
                  <a:gd name="connsiteX60" fmla="*/ 8135 w 10000"/>
                  <a:gd name="connsiteY60" fmla="*/ 5498 h 10000"/>
                  <a:gd name="connsiteX61" fmla="*/ 8443 w 10000"/>
                  <a:gd name="connsiteY61" fmla="*/ 5305 h 10000"/>
                  <a:gd name="connsiteX62" fmla="*/ 8666 w 10000"/>
                  <a:gd name="connsiteY62" fmla="*/ 4759 h 10000"/>
                  <a:gd name="connsiteX63" fmla="*/ 8666 w 10000"/>
                  <a:gd name="connsiteY63" fmla="*/ 4630 h 10000"/>
                  <a:gd name="connsiteX64" fmla="*/ 8623 w 10000"/>
                  <a:gd name="connsiteY64" fmla="*/ 4309 h 10000"/>
                  <a:gd name="connsiteX65" fmla="*/ 9066 w 10000"/>
                  <a:gd name="connsiteY65" fmla="*/ 3151 h 10000"/>
                  <a:gd name="connsiteX66" fmla="*/ 9199 w 10000"/>
                  <a:gd name="connsiteY66" fmla="*/ 3151 h 10000"/>
                  <a:gd name="connsiteX67" fmla="*/ 9378 w 10000"/>
                  <a:gd name="connsiteY67" fmla="*/ 3055 h 10000"/>
                  <a:gd name="connsiteX68" fmla="*/ 9912 w 10000"/>
                  <a:gd name="connsiteY68" fmla="*/ 2894 h 10000"/>
                  <a:gd name="connsiteX69" fmla="*/ 10000 w 10000"/>
                  <a:gd name="connsiteY69" fmla="*/ 2637 h 10000"/>
                  <a:gd name="connsiteX70" fmla="*/ 9957 w 10000"/>
                  <a:gd name="connsiteY70" fmla="*/ 2572 h 10000"/>
                  <a:gd name="connsiteX71" fmla="*/ 9777 w 10000"/>
                  <a:gd name="connsiteY71" fmla="*/ 2572 h 10000"/>
                  <a:gd name="connsiteX72" fmla="*/ 9644 w 10000"/>
                  <a:gd name="connsiteY72" fmla="*/ 2412 h 10000"/>
                  <a:gd name="connsiteX73" fmla="*/ 9378 w 10000"/>
                  <a:gd name="connsiteY73" fmla="*/ 2347 h 10000"/>
                  <a:gd name="connsiteX74" fmla="*/ 9244 w 10000"/>
                  <a:gd name="connsiteY74" fmla="*/ 2219 h 10000"/>
                  <a:gd name="connsiteX75" fmla="*/ 9157 w 10000"/>
                  <a:gd name="connsiteY75" fmla="*/ 1736 h 10000"/>
                  <a:gd name="connsiteX76" fmla="*/ 9157 w 10000"/>
                  <a:gd name="connsiteY76" fmla="*/ 1061 h 10000"/>
                  <a:gd name="connsiteX77" fmla="*/ 8933 w 10000"/>
                  <a:gd name="connsiteY77" fmla="*/ 836 h 10000"/>
                  <a:gd name="connsiteX78" fmla="*/ 8889 w 10000"/>
                  <a:gd name="connsiteY78" fmla="*/ 611 h 10000"/>
                  <a:gd name="connsiteX79" fmla="*/ 8534 w 10000"/>
                  <a:gd name="connsiteY79" fmla="*/ 289 h 10000"/>
                  <a:gd name="connsiteX80" fmla="*/ 8222 w 10000"/>
                  <a:gd name="connsiteY80" fmla="*/ 161 h 10000"/>
                  <a:gd name="connsiteX81" fmla="*/ 8045 w 10000"/>
                  <a:gd name="connsiteY81" fmla="*/ 0 h 10000"/>
                  <a:gd name="connsiteX82" fmla="*/ 7779 w 10000"/>
                  <a:gd name="connsiteY82" fmla="*/ 161 h 10000"/>
                  <a:gd name="connsiteX83" fmla="*/ 7600 w 10000"/>
                  <a:gd name="connsiteY83" fmla="*/ 129 h 10000"/>
                  <a:gd name="connsiteX84" fmla="*/ 7466 w 10000"/>
                  <a:gd name="connsiteY84" fmla="*/ 418 h 10000"/>
                  <a:gd name="connsiteX85" fmla="*/ 7110 w 10000"/>
                  <a:gd name="connsiteY85" fmla="*/ 482 h 10000"/>
                  <a:gd name="connsiteX86" fmla="*/ 7023 w 10000"/>
                  <a:gd name="connsiteY86" fmla="*/ 707 h 10000"/>
                  <a:gd name="connsiteX87" fmla="*/ 6711 w 10000"/>
                  <a:gd name="connsiteY87" fmla="*/ 707 h 10000"/>
                  <a:gd name="connsiteX88" fmla="*/ 6445 w 10000"/>
                  <a:gd name="connsiteY88" fmla="*/ 611 h 10000"/>
                  <a:gd name="connsiteX89" fmla="*/ 5867 w 10000"/>
                  <a:gd name="connsiteY89" fmla="*/ 611 h 10000"/>
                  <a:gd name="connsiteX90" fmla="*/ 5289 w 10000"/>
                  <a:gd name="connsiteY90" fmla="*/ 611 h 10000"/>
                  <a:gd name="connsiteX91" fmla="*/ 5333 w 10000"/>
                  <a:gd name="connsiteY91" fmla="*/ 482 h 10000"/>
                  <a:gd name="connsiteX92" fmla="*/ 5245 w 10000"/>
                  <a:gd name="connsiteY92" fmla="*/ 482 h 10000"/>
                  <a:gd name="connsiteX93" fmla="*/ 5201 w 10000"/>
                  <a:gd name="connsiteY93" fmla="*/ 611 h 10000"/>
                  <a:gd name="connsiteX94" fmla="*/ 4667 w 10000"/>
                  <a:gd name="connsiteY94" fmla="*/ 611 h 10000"/>
                  <a:gd name="connsiteX95" fmla="*/ 4134 w 10000"/>
                  <a:gd name="connsiteY95" fmla="*/ 611 h 10000"/>
                  <a:gd name="connsiteX96" fmla="*/ 3602 w 10000"/>
                  <a:gd name="connsiteY96" fmla="*/ 611 h 10000"/>
                  <a:gd name="connsiteX97" fmla="*/ 3067 w 10000"/>
                  <a:gd name="connsiteY97" fmla="*/ 611 h 10000"/>
                  <a:gd name="connsiteX98" fmla="*/ 2580 w 10000"/>
                  <a:gd name="connsiteY98" fmla="*/ 611 h 10000"/>
                  <a:gd name="connsiteX99" fmla="*/ 2046 w 10000"/>
                  <a:gd name="connsiteY99" fmla="*/ 611 h 10000"/>
                  <a:gd name="connsiteX100" fmla="*/ 1556 w 10000"/>
                  <a:gd name="connsiteY100" fmla="*/ 611 h 10000"/>
                  <a:gd name="connsiteX101" fmla="*/ 1024 w 10000"/>
                  <a:gd name="connsiteY101" fmla="*/ 611 h 10000"/>
                  <a:gd name="connsiteX102" fmla="*/ 1024 w 10000"/>
                  <a:gd name="connsiteY102" fmla="*/ 1061 h 10000"/>
                  <a:gd name="connsiteX103" fmla="*/ 1024 w 10000"/>
                  <a:gd name="connsiteY103" fmla="*/ 1640 h 10000"/>
                  <a:gd name="connsiteX104" fmla="*/ 356 w 10000"/>
                  <a:gd name="connsiteY104" fmla="*/ 1640 h 10000"/>
                  <a:gd name="connsiteX105" fmla="*/ 356 w 10000"/>
                  <a:gd name="connsiteY105" fmla="*/ 1897 h 10000"/>
                  <a:gd name="connsiteX0" fmla="*/ 356 w 10000"/>
                  <a:gd name="connsiteY0" fmla="*/ 1897 h 10000"/>
                  <a:gd name="connsiteX1" fmla="*/ 5484 w 10000"/>
                  <a:gd name="connsiteY1" fmla="*/ 5713 h 10000"/>
                  <a:gd name="connsiteX2" fmla="*/ 5520 w 10000"/>
                  <a:gd name="connsiteY2" fmla="*/ 6915 h 10000"/>
                  <a:gd name="connsiteX3" fmla="*/ 5155 w 10000"/>
                  <a:gd name="connsiteY3" fmla="*/ 7114 h 10000"/>
                  <a:gd name="connsiteX4" fmla="*/ 4848 w 10000"/>
                  <a:gd name="connsiteY4" fmla="*/ 6907 h 10000"/>
                  <a:gd name="connsiteX5" fmla="*/ 4403 w 10000"/>
                  <a:gd name="connsiteY5" fmla="*/ 6781 h 10000"/>
                  <a:gd name="connsiteX6" fmla="*/ 4182 w 10000"/>
                  <a:gd name="connsiteY6" fmla="*/ 7064 h 10000"/>
                  <a:gd name="connsiteX7" fmla="*/ 3635 w 10000"/>
                  <a:gd name="connsiteY7" fmla="*/ 7281 h 10000"/>
                  <a:gd name="connsiteX8" fmla="*/ 3284 w 10000"/>
                  <a:gd name="connsiteY8" fmla="*/ 7279 h 10000"/>
                  <a:gd name="connsiteX9" fmla="*/ 2517 w 10000"/>
                  <a:gd name="connsiteY9" fmla="*/ 7095 h 10000"/>
                  <a:gd name="connsiteX10" fmla="*/ 2312 w 10000"/>
                  <a:gd name="connsiteY10" fmla="*/ 7195 h 10000"/>
                  <a:gd name="connsiteX11" fmla="*/ 1800 w 10000"/>
                  <a:gd name="connsiteY11" fmla="*/ 6973 h 10000"/>
                  <a:gd name="connsiteX12" fmla="*/ 1574 w 10000"/>
                  <a:gd name="connsiteY12" fmla="*/ 6638 h 10000"/>
                  <a:gd name="connsiteX13" fmla="*/ 1198 w 10000"/>
                  <a:gd name="connsiteY13" fmla="*/ 6729 h 10000"/>
                  <a:gd name="connsiteX14" fmla="*/ 1096 w 10000"/>
                  <a:gd name="connsiteY14" fmla="*/ 6927 h 10000"/>
                  <a:gd name="connsiteX15" fmla="*/ 698 w 10000"/>
                  <a:gd name="connsiteY15" fmla="*/ 7011 h 10000"/>
                  <a:gd name="connsiteX16" fmla="*/ 436 w 10000"/>
                  <a:gd name="connsiteY16" fmla="*/ 7004 h 10000"/>
                  <a:gd name="connsiteX17" fmla="*/ 292 w 10000"/>
                  <a:gd name="connsiteY17" fmla="*/ 7161 h 10000"/>
                  <a:gd name="connsiteX18" fmla="*/ 47 w 10000"/>
                  <a:gd name="connsiteY18" fmla="*/ 6913 h 10000"/>
                  <a:gd name="connsiteX19" fmla="*/ 0 w 10000"/>
                  <a:gd name="connsiteY19" fmla="*/ 7363 h 10000"/>
                  <a:gd name="connsiteX20" fmla="*/ 89 w 10000"/>
                  <a:gd name="connsiteY20" fmla="*/ 7428 h 10000"/>
                  <a:gd name="connsiteX21" fmla="*/ 446 w 10000"/>
                  <a:gd name="connsiteY21" fmla="*/ 7460 h 10000"/>
                  <a:gd name="connsiteX22" fmla="*/ 491 w 10000"/>
                  <a:gd name="connsiteY22" fmla="*/ 7588 h 10000"/>
                  <a:gd name="connsiteX23" fmla="*/ 890 w 10000"/>
                  <a:gd name="connsiteY23" fmla="*/ 7621 h 10000"/>
                  <a:gd name="connsiteX24" fmla="*/ 1112 w 10000"/>
                  <a:gd name="connsiteY24" fmla="*/ 7749 h 10000"/>
                  <a:gd name="connsiteX25" fmla="*/ 1156 w 10000"/>
                  <a:gd name="connsiteY25" fmla="*/ 7974 h 10000"/>
                  <a:gd name="connsiteX26" fmla="*/ 1869 w 10000"/>
                  <a:gd name="connsiteY26" fmla="*/ 8360 h 10000"/>
                  <a:gd name="connsiteX27" fmla="*/ 2046 w 10000"/>
                  <a:gd name="connsiteY27" fmla="*/ 8746 h 10000"/>
                  <a:gd name="connsiteX28" fmla="*/ 2534 w 10000"/>
                  <a:gd name="connsiteY28" fmla="*/ 8939 h 10000"/>
                  <a:gd name="connsiteX29" fmla="*/ 2712 w 10000"/>
                  <a:gd name="connsiteY29" fmla="*/ 9196 h 10000"/>
                  <a:gd name="connsiteX30" fmla="*/ 3067 w 10000"/>
                  <a:gd name="connsiteY30" fmla="*/ 9518 h 10000"/>
                  <a:gd name="connsiteX31" fmla="*/ 3335 w 10000"/>
                  <a:gd name="connsiteY31" fmla="*/ 9614 h 10000"/>
                  <a:gd name="connsiteX32" fmla="*/ 3513 w 10000"/>
                  <a:gd name="connsiteY32" fmla="*/ 9518 h 10000"/>
                  <a:gd name="connsiteX33" fmla="*/ 3957 w 10000"/>
                  <a:gd name="connsiteY33" fmla="*/ 9550 h 10000"/>
                  <a:gd name="connsiteX34" fmla="*/ 4134 w 10000"/>
                  <a:gd name="connsiteY34" fmla="*/ 9486 h 10000"/>
                  <a:gd name="connsiteX35" fmla="*/ 4934 w 10000"/>
                  <a:gd name="connsiteY35" fmla="*/ 9968 h 10000"/>
                  <a:gd name="connsiteX36" fmla="*/ 4979 w 10000"/>
                  <a:gd name="connsiteY36" fmla="*/ 9968 h 10000"/>
                  <a:gd name="connsiteX37" fmla="*/ 5067 w 10000"/>
                  <a:gd name="connsiteY37" fmla="*/ 9904 h 10000"/>
                  <a:gd name="connsiteX38" fmla="*/ 5643 w 10000"/>
                  <a:gd name="connsiteY38" fmla="*/ 9904 h 10000"/>
                  <a:gd name="connsiteX39" fmla="*/ 5734 w 10000"/>
                  <a:gd name="connsiteY39" fmla="*/ 10000 h 10000"/>
                  <a:gd name="connsiteX40" fmla="*/ 6223 w 10000"/>
                  <a:gd name="connsiteY40" fmla="*/ 9871 h 10000"/>
                  <a:gd name="connsiteX41" fmla="*/ 6666 w 10000"/>
                  <a:gd name="connsiteY41" fmla="*/ 9871 h 10000"/>
                  <a:gd name="connsiteX42" fmla="*/ 6978 w 10000"/>
                  <a:gd name="connsiteY42" fmla="*/ 9743 h 10000"/>
                  <a:gd name="connsiteX43" fmla="*/ 7334 w 10000"/>
                  <a:gd name="connsiteY43" fmla="*/ 9486 h 10000"/>
                  <a:gd name="connsiteX44" fmla="*/ 8267 w 10000"/>
                  <a:gd name="connsiteY44" fmla="*/ 9486 h 10000"/>
                  <a:gd name="connsiteX45" fmla="*/ 8267 w 10000"/>
                  <a:gd name="connsiteY45" fmla="*/ 9132 h 10000"/>
                  <a:gd name="connsiteX46" fmla="*/ 7779 w 10000"/>
                  <a:gd name="connsiteY46" fmla="*/ 8971 h 10000"/>
                  <a:gd name="connsiteX47" fmla="*/ 7512 w 10000"/>
                  <a:gd name="connsiteY47" fmla="*/ 8457 h 10000"/>
                  <a:gd name="connsiteX48" fmla="*/ 7157 w 10000"/>
                  <a:gd name="connsiteY48" fmla="*/ 8264 h 10000"/>
                  <a:gd name="connsiteX49" fmla="*/ 6933 w 10000"/>
                  <a:gd name="connsiteY49" fmla="*/ 8006 h 10000"/>
                  <a:gd name="connsiteX50" fmla="*/ 6356 w 10000"/>
                  <a:gd name="connsiteY50" fmla="*/ 7814 h 10000"/>
                  <a:gd name="connsiteX51" fmla="*/ 6489 w 10000"/>
                  <a:gd name="connsiteY51" fmla="*/ 7749 h 10000"/>
                  <a:gd name="connsiteX52" fmla="*/ 6489 w 10000"/>
                  <a:gd name="connsiteY52" fmla="*/ 7588 h 10000"/>
                  <a:gd name="connsiteX53" fmla="*/ 6890 w 10000"/>
                  <a:gd name="connsiteY53" fmla="*/ 7588 h 10000"/>
                  <a:gd name="connsiteX54" fmla="*/ 7110 w 10000"/>
                  <a:gd name="connsiteY54" fmla="*/ 7460 h 10000"/>
                  <a:gd name="connsiteX55" fmla="*/ 7157 w 10000"/>
                  <a:gd name="connsiteY55" fmla="*/ 6527 h 10000"/>
                  <a:gd name="connsiteX56" fmla="*/ 7200 w 10000"/>
                  <a:gd name="connsiteY56" fmla="*/ 6559 h 10000"/>
                  <a:gd name="connsiteX57" fmla="*/ 7334 w 10000"/>
                  <a:gd name="connsiteY57" fmla="*/ 6367 h 10000"/>
                  <a:gd name="connsiteX58" fmla="*/ 7600 w 10000"/>
                  <a:gd name="connsiteY58" fmla="*/ 6270 h 10000"/>
                  <a:gd name="connsiteX59" fmla="*/ 7733 w 10000"/>
                  <a:gd name="connsiteY59" fmla="*/ 5916 h 10000"/>
                  <a:gd name="connsiteX60" fmla="*/ 8135 w 10000"/>
                  <a:gd name="connsiteY60" fmla="*/ 5498 h 10000"/>
                  <a:gd name="connsiteX61" fmla="*/ 8443 w 10000"/>
                  <a:gd name="connsiteY61" fmla="*/ 5305 h 10000"/>
                  <a:gd name="connsiteX62" fmla="*/ 8666 w 10000"/>
                  <a:gd name="connsiteY62" fmla="*/ 4759 h 10000"/>
                  <a:gd name="connsiteX63" fmla="*/ 8666 w 10000"/>
                  <a:gd name="connsiteY63" fmla="*/ 4630 h 10000"/>
                  <a:gd name="connsiteX64" fmla="*/ 8623 w 10000"/>
                  <a:gd name="connsiteY64" fmla="*/ 4309 h 10000"/>
                  <a:gd name="connsiteX65" fmla="*/ 9066 w 10000"/>
                  <a:gd name="connsiteY65" fmla="*/ 3151 h 10000"/>
                  <a:gd name="connsiteX66" fmla="*/ 9199 w 10000"/>
                  <a:gd name="connsiteY66" fmla="*/ 3151 h 10000"/>
                  <a:gd name="connsiteX67" fmla="*/ 9378 w 10000"/>
                  <a:gd name="connsiteY67" fmla="*/ 3055 h 10000"/>
                  <a:gd name="connsiteX68" fmla="*/ 9912 w 10000"/>
                  <a:gd name="connsiteY68" fmla="*/ 2894 h 10000"/>
                  <a:gd name="connsiteX69" fmla="*/ 10000 w 10000"/>
                  <a:gd name="connsiteY69" fmla="*/ 2637 h 10000"/>
                  <a:gd name="connsiteX70" fmla="*/ 9957 w 10000"/>
                  <a:gd name="connsiteY70" fmla="*/ 2572 h 10000"/>
                  <a:gd name="connsiteX71" fmla="*/ 9777 w 10000"/>
                  <a:gd name="connsiteY71" fmla="*/ 2572 h 10000"/>
                  <a:gd name="connsiteX72" fmla="*/ 9644 w 10000"/>
                  <a:gd name="connsiteY72" fmla="*/ 2412 h 10000"/>
                  <a:gd name="connsiteX73" fmla="*/ 9378 w 10000"/>
                  <a:gd name="connsiteY73" fmla="*/ 2347 h 10000"/>
                  <a:gd name="connsiteX74" fmla="*/ 9244 w 10000"/>
                  <a:gd name="connsiteY74" fmla="*/ 2219 h 10000"/>
                  <a:gd name="connsiteX75" fmla="*/ 9157 w 10000"/>
                  <a:gd name="connsiteY75" fmla="*/ 1736 h 10000"/>
                  <a:gd name="connsiteX76" fmla="*/ 9157 w 10000"/>
                  <a:gd name="connsiteY76" fmla="*/ 1061 h 10000"/>
                  <a:gd name="connsiteX77" fmla="*/ 8933 w 10000"/>
                  <a:gd name="connsiteY77" fmla="*/ 836 h 10000"/>
                  <a:gd name="connsiteX78" fmla="*/ 8889 w 10000"/>
                  <a:gd name="connsiteY78" fmla="*/ 611 h 10000"/>
                  <a:gd name="connsiteX79" fmla="*/ 8534 w 10000"/>
                  <a:gd name="connsiteY79" fmla="*/ 289 h 10000"/>
                  <a:gd name="connsiteX80" fmla="*/ 8222 w 10000"/>
                  <a:gd name="connsiteY80" fmla="*/ 161 h 10000"/>
                  <a:gd name="connsiteX81" fmla="*/ 8045 w 10000"/>
                  <a:gd name="connsiteY81" fmla="*/ 0 h 10000"/>
                  <a:gd name="connsiteX82" fmla="*/ 7779 w 10000"/>
                  <a:gd name="connsiteY82" fmla="*/ 161 h 10000"/>
                  <a:gd name="connsiteX83" fmla="*/ 7600 w 10000"/>
                  <a:gd name="connsiteY83" fmla="*/ 129 h 10000"/>
                  <a:gd name="connsiteX84" fmla="*/ 7466 w 10000"/>
                  <a:gd name="connsiteY84" fmla="*/ 418 h 10000"/>
                  <a:gd name="connsiteX85" fmla="*/ 7110 w 10000"/>
                  <a:gd name="connsiteY85" fmla="*/ 482 h 10000"/>
                  <a:gd name="connsiteX86" fmla="*/ 7023 w 10000"/>
                  <a:gd name="connsiteY86" fmla="*/ 707 h 10000"/>
                  <a:gd name="connsiteX87" fmla="*/ 6711 w 10000"/>
                  <a:gd name="connsiteY87" fmla="*/ 707 h 10000"/>
                  <a:gd name="connsiteX88" fmla="*/ 6445 w 10000"/>
                  <a:gd name="connsiteY88" fmla="*/ 611 h 10000"/>
                  <a:gd name="connsiteX89" fmla="*/ 5867 w 10000"/>
                  <a:gd name="connsiteY89" fmla="*/ 611 h 10000"/>
                  <a:gd name="connsiteX90" fmla="*/ 5289 w 10000"/>
                  <a:gd name="connsiteY90" fmla="*/ 611 h 10000"/>
                  <a:gd name="connsiteX91" fmla="*/ 5333 w 10000"/>
                  <a:gd name="connsiteY91" fmla="*/ 482 h 10000"/>
                  <a:gd name="connsiteX92" fmla="*/ 5245 w 10000"/>
                  <a:gd name="connsiteY92" fmla="*/ 482 h 10000"/>
                  <a:gd name="connsiteX93" fmla="*/ 5201 w 10000"/>
                  <a:gd name="connsiteY93" fmla="*/ 611 h 10000"/>
                  <a:gd name="connsiteX94" fmla="*/ 4667 w 10000"/>
                  <a:gd name="connsiteY94" fmla="*/ 611 h 10000"/>
                  <a:gd name="connsiteX95" fmla="*/ 4134 w 10000"/>
                  <a:gd name="connsiteY95" fmla="*/ 611 h 10000"/>
                  <a:gd name="connsiteX96" fmla="*/ 3602 w 10000"/>
                  <a:gd name="connsiteY96" fmla="*/ 611 h 10000"/>
                  <a:gd name="connsiteX97" fmla="*/ 3067 w 10000"/>
                  <a:gd name="connsiteY97" fmla="*/ 611 h 10000"/>
                  <a:gd name="connsiteX98" fmla="*/ 2580 w 10000"/>
                  <a:gd name="connsiteY98" fmla="*/ 611 h 10000"/>
                  <a:gd name="connsiteX99" fmla="*/ 2046 w 10000"/>
                  <a:gd name="connsiteY99" fmla="*/ 611 h 10000"/>
                  <a:gd name="connsiteX100" fmla="*/ 1556 w 10000"/>
                  <a:gd name="connsiteY100" fmla="*/ 611 h 10000"/>
                  <a:gd name="connsiteX101" fmla="*/ 1024 w 10000"/>
                  <a:gd name="connsiteY101" fmla="*/ 611 h 10000"/>
                  <a:gd name="connsiteX102" fmla="*/ 1024 w 10000"/>
                  <a:gd name="connsiteY102" fmla="*/ 1061 h 10000"/>
                  <a:gd name="connsiteX103" fmla="*/ 1024 w 10000"/>
                  <a:gd name="connsiteY103" fmla="*/ 1640 h 10000"/>
                  <a:gd name="connsiteX104" fmla="*/ 356 w 10000"/>
                  <a:gd name="connsiteY104" fmla="*/ 1640 h 10000"/>
                  <a:gd name="connsiteX105" fmla="*/ 356 w 10000"/>
                  <a:gd name="connsiteY105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334 w 10000"/>
                  <a:gd name="connsiteY56" fmla="*/ 6367 h 10000"/>
                  <a:gd name="connsiteX57" fmla="*/ 7600 w 10000"/>
                  <a:gd name="connsiteY57" fmla="*/ 6270 h 10000"/>
                  <a:gd name="connsiteX58" fmla="*/ 7733 w 10000"/>
                  <a:gd name="connsiteY58" fmla="*/ 5916 h 10000"/>
                  <a:gd name="connsiteX59" fmla="*/ 8135 w 10000"/>
                  <a:gd name="connsiteY59" fmla="*/ 5498 h 10000"/>
                  <a:gd name="connsiteX60" fmla="*/ 8443 w 10000"/>
                  <a:gd name="connsiteY60" fmla="*/ 5305 h 10000"/>
                  <a:gd name="connsiteX61" fmla="*/ 8666 w 10000"/>
                  <a:gd name="connsiteY61" fmla="*/ 4759 h 10000"/>
                  <a:gd name="connsiteX62" fmla="*/ 8666 w 10000"/>
                  <a:gd name="connsiteY62" fmla="*/ 4630 h 10000"/>
                  <a:gd name="connsiteX63" fmla="*/ 8623 w 10000"/>
                  <a:gd name="connsiteY63" fmla="*/ 4309 h 10000"/>
                  <a:gd name="connsiteX64" fmla="*/ 9066 w 10000"/>
                  <a:gd name="connsiteY64" fmla="*/ 3151 h 10000"/>
                  <a:gd name="connsiteX65" fmla="*/ 9199 w 10000"/>
                  <a:gd name="connsiteY65" fmla="*/ 3151 h 10000"/>
                  <a:gd name="connsiteX66" fmla="*/ 9378 w 10000"/>
                  <a:gd name="connsiteY66" fmla="*/ 3055 h 10000"/>
                  <a:gd name="connsiteX67" fmla="*/ 9912 w 10000"/>
                  <a:gd name="connsiteY67" fmla="*/ 2894 h 10000"/>
                  <a:gd name="connsiteX68" fmla="*/ 10000 w 10000"/>
                  <a:gd name="connsiteY68" fmla="*/ 2637 h 10000"/>
                  <a:gd name="connsiteX69" fmla="*/ 9957 w 10000"/>
                  <a:gd name="connsiteY69" fmla="*/ 2572 h 10000"/>
                  <a:gd name="connsiteX70" fmla="*/ 9777 w 10000"/>
                  <a:gd name="connsiteY70" fmla="*/ 2572 h 10000"/>
                  <a:gd name="connsiteX71" fmla="*/ 9644 w 10000"/>
                  <a:gd name="connsiteY71" fmla="*/ 2412 h 10000"/>
                  <a:gd name="connsiteX72" fmla="*/ 9378 w 10000"/>
                  <a:gd name="connsiteY72" fmla="*/ 2347 h 10000"/>
                  <a:gd name="connsiteX73" fmla="*/ 9244 w 10000"/>
                  <a:gd name="connsiteY73" fmla="*/ 2219 h 10000"/>
                  <a:gd name="connsiteX74" fmla="*/ 9157 w 10000"/>
                  <a:gd name="connsiteY74" fmla="*/ 1736 h 10000"/>
                  <a:gd name="connsiteX75" fmla="*/ 9157 w 10000"/>
                  <a:gd name="connsiteY75" fmla="*/ 1061 h 10000"/>
                  <a:gd name="connsiteX76" fmla="*/ 8933 w 10000"/>
                  <a:gd name="connsiteY76" fmla="*/ 836 h 10000"/>
                  <a:gd name="connsiteX77" fmla="*/ 8889 w 10000"/>
                  <a:gd name="connsiteY77" fmla="*/ 611 h 10000"/>
                  <a:gd name="connsiteX78" fmla="*/ 8534 w 10000"/>
                  <a:gd name="connsiteY78" fmla="*/ 289 h 10000"/>
                  <a:gd name="connsiteX79" fmla="*/ 8222 w 10000"/>
                  <a:gd name="connsiteY79" fmla="*/ 161 h 10000"/>
                  <a:gd name="connsiteX80" fmla="*/ 8045 w 10000"/>
                  <a:gd name="connsiteY80" fmla="*/ 0 h 10000"/>
                  <a:gd name="connsiteX81" fmla="*/ 7779 w 10000"/>
                  <a:gd name="connsiteY81" fmla="*/ 161 h 10000"/>
                  <a:gd name="connsiteX82" fmla="*/ 7600 w 10000"/>
                  <a:gd name="connsiteY82" fmla="*/ 129 h 10000"/>
                  <a:gd name="connsiteX83" fmla="*/ 7466 w 10000"/>
                  <a:gd name="connsiteY83" fmla="*/ 418 h 10000"/>
                  <a:gd name="connsiteX84" fmla="*/ 7110 w 10000"/>
                  <a:gd name="connsiteY84" fmla="*/ 482 h 10000"/>
                  <a:gd name="connsiteX85" fmla="*/ 7023 w 10000"/>
                  <a:gd name="connsiteY85" fmla="*/ 707 h 10000"/>
                  <a:gd name="connsiteX86" fmla="*/ 6711 w 10000"/>
                  <a:gd name="connsiteY86" fmla="*/ 707 h 10000"/>
                  <a:gd name="connsiteX87" fmla="*/ 6445 w 10000"/>
                  <a:gd name="connsiteY87" fmla="*/ 611 h 10000"/>
                  <a:gd name="connsiteX88" fmla="*/ 5867 w 10000"/>
                  <a:gd name="connsiteY88" fmla="*/ 611 h 10000"/>
                  <a:gd name="connsiteX89" fmla="*/ 5289 w 10000"/>
                  <a:gd name="connsiteY89" fmla="*/ 611 h 10000"/>
                  <a:gd name="connsiteX90" fmla="*/ 5333 w 10000"/>
                  <a:gd name="connsiteY90" fmla="*/ 482 h 10000"/>
                  <a:gd name="connsiteX91" fmla="*/ 5245 w 10000"/>
                  <a:gd name="connsiteY91" fmla="*/ 482 h 10000"/>
                  <a:gd name="connsiteX92" fmla="*/ 5201 w 10000"/>
                  <a:gd name="connsiteY92" fmla="*/ 611 h 10000"/>
                  <a:gd name="connsiteX93" fmla="*/ 4667 w 10000"/>
                  <a:gd name="connsiteY93" fmla="*/ 611 h 10000"/>
                  <a:gd name="connsiteX94" fmla="*/ 4134 w 10000"/>
                  <a:gd name="connsiteY94" fmla="*/ 611 h 10000"/>
                  <a:gd name="connsiteX95" fmla="*/ 3602 w 10000"/>
                  <a:gd name="connsiteY95" fmla="*/ 611 h 10000"/>
                  <a:gd name="connsiteX96" fmla="*/ 3067 w 10000"/>
                  <a:gd name="connsiteY96" fmla="*/ 611 h 10000"/>
                  <a:gd name="connsiteX97" fmla="*/ 2580 w 10000"/>
                  <a:gd name="connsiteY97" fmla="*/ 611 h 10000"/>
                  <a:gd name="connsiteX98" fmla="*/ 2046 w 10000"/>
                  <a:gd name="connsiteY98" fmla="*/ 611 h 10000"/>
                  <a:gd name="connsiteX99" fmla="*/ 1556 w 10000"/>
                  <a:gd name="connsiteY99" fmla="*/ 611 h 10000"/>
                  <a:gd name="connsiteX100" fmla="*/ 1024 w 10000"/>
                  <a:gd name="connsiteY100" fmla="*/ 611 h 10000"/>
                  <a:gd name="connsiteX101" fmla="*/ 1024 w 10000"/>
                  <a:gd name="connsiteY101" fmla="*/ 1061 h 10000"/>
                  <a:gd name="connsiteX102" fmla="*/ 1024 w 10000"/>
                  <a:gd name="connsiteY102" fmla="*/ 1640 h 10000"/>
                  <a:gd name="connsiteX103" fmla="*/ 356 w 10000"/>
                  <a:gd name="connsiteY103" fmla="*/ 1640 h 10000"/>
                  <a:gd name="connsiteX104" fmla="*/ 356 w 10000"/>
                  <a:gd name="connsiteY104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7600 w 10000"/>
                  <a:gd name="connsiteY57" fmla="*/ 6270 h 10000"/>
                  <a:gd name="connsiteX58" fmla="*/ 7733 w 10000"/>
                  <a:gd name="connsiteY58" fmla="*/ 5916 h 10000"/>
                  <a:gd name="connsiteX59" fmla="*/ 8135 w 10000"/>
                  <a:gd name="connsiteY59" fmla="*/ 5498 h 10000"/>
                  <a:gd name="connsiteX60" fmla="*/ 8443 w 10000"/>
                  <a:gd name="connsiteY60" fmla="*/ 5305 h 10000"/>
                  <a:gd name="connsiteX61" fmla="*/ 8666 w 10000"/>
                  <a:gd name="connsiteY61" fmla="*/ 4759 h 10000"/>
                  <a:gd name="connsiteX62" fmla="*/ 8666 w 10000"/>
                  <a:gd name="connsiteY62" fmla="*/ 4630 h 10000"/>
                  <a:gd name="connsiteX63" fmla="*/ 8623 w 10000"/>
                  <a:gd name="connsiteY63" fmla="*/ 4309 h 10000"/>
                  <a:gd name="connsiteX64" fmla="*/ 9066 w 10000"/>
                  <a:gd name="connsiteY64" fmla="*/ 3151 h 10000"/>
                  <a:gd name="connsiteX65" fmla="*/ 9199 w 10000"/>
                  <a:gd name="connsiteY65" fmla="*/ 3151 h 10000"/>
                  <a:gd name="connsiteX66" fmla="*/ 9378 w 10000"/>
                  <a:gd name="connsiteY66" fmla="*/ 3055 h 10000"/>
                  <a:gd name="connsiteX67" fmla="*/ 9912 w 10000"/>
                  <a:gd name="connsiteY67" fmla="*/ 2894 h 10000"/>
                  <a:gd name="connsiteX68" fmla="*/ 10000 w 10000"/>
                  <a:gd name="connsiteY68" fmla="*/ 2637 h 10000"/>
                  <a:gd name="connsiteX69" fmla="*/ 9957 w 10000"/>
                  <a:gd name="connsiteY69" fmla="*/ 2572 h 10000"/>
                  <a:gd name="connsiteX70" fmla="*/ 9777 w 10000"/>
                  <a:gd name="connsiteY70" fmla="*/ 2572 h 10000"/>
                  <a:gd name="connsiteX71" fmla="*/ 9644 w 10000"/>
                  <a:gd name="connsiteY71" fmla="*/ 2412 h 10000"/>
                  <a:gd name="connsiteX72" fmla="*/ 9378 w 10000"/>
                  <a:gd name="connsiteY72" fmla="*/ 2347 h 10000"/>
                  <a:gd name="connsiteX73" fmla="*/ 9244 w 10000"/>
                  <a:gd name="connsiteY73" fmla="*/ 2219 h 10000"/>
                  <a:gd name="connsiteX74" fmla="*/ 9157 w 10000"/>
                  <a:gd name="connsiteY74" fmla="*/ 1736 h 10000"/>
                  <a:gd name="connsiteX75" fmla="*/ 9157 w 10000"/>
                  <a:gd name="connsiteY75" fmla="*/ 1061 h 10000"/>
                  <a:gd name="connsiteX76" fmla="*/ 8933 w 10000"/>
                  <a:gd name="connsiteY76" fmla="*/ 836 h 10000"/>
                  <a:gd name="connsiteX77" fmla="*/ 8889 w 10000"/>
                  <a:gd name="connsiteY77" fmla="*/ 611 h 10000"/>
                  <a:gd name="connsiteX78" fmla="*/ 8534 w 10000"/>
                  <a:gd name="connsiteY78" fmla="*/ 289 h 10000"/>
                  <a:gd name="connsiteX79" fmla="*/ 8222 w 10000"/>
                  <a:gd name="connsiteY79" fmla="*/ 161 h 10000"/>
                  <a:gd name="connsiteX80" fmla="*/ 8045 w 10000"/>
                  <a:gd name="connsiteY80" fmla="*/ 0 h 10000"/>
                  <a:gd name="connsiteX81" fmla="*/ 7779 w 10000"/>
                  <a:gd name="connsiteY81" fmla="*/ 161 h 10000"/>
                  <a:gd name="connsiteX82" fmla="*/ 7600 w 10000"/>
                  <a:gd name="connsiteY82" fmla="*/ 129 h 10000"/>
                  <a:gd name="connsiteX83" fmla="*/ 7466 w 10000"/>
                  <a:gd name="connsiteY83" fmla="*/ 418 h 10000"/>
                  <a:gd name="connsiteX84" fmla="*/ 7110 w 10000"/>
                  <a:gd name="connsiteY84" fmla="*/ 482 h 10000"/>
                  <a:gd name="connsiteX85" fmla="*/ 7023 w 10000"/>
                  <a:gd name="connsiteY85" fmla="*/ 707 h 10000"/>
                  <a:gd name="connsiteX86" fmla="*/ 6711 w 10000"/>
                  <a:gd name="connsiteY86" fmla="*/ 707 h 10000"/>
                  <a:gd name="connsiteX87" fmla="*/ 6445 w 10000"/>
                  <a:gd name="connsiteY87" fmla="*/ 611 h 10000"/>
                  <a:gd name="connsiteX88" fmla="*/ 5867 w 10000"/>
                  <a:gd name="connsiteY88" fmla="*/ 611 h 10000"/>
                  <a:gd name="connsiteX89" fmla="*/ 5289 w 10000"/>
                  <a:gd name="connsiteY89" fmla="*/ 611 h 10000"/>
                  <a:gd name="connsiteX90" fmla="*/ 5333 w 10000"/>
                  <a:gd name="connsiteY90" fmla="*/ 482 h 10000"/>
                  <a:gd name="connsiteX91" fmla="*/ 5245 w 10000"/>
                  <a:gd name="connsiteY91" fmla="*/ 482 h 10000"/>
                  <a:gd name="connsiteX92" fmla="*/ 5201 w 10000"/>
                  <a:gd name="connsiteY92" fmla="*/ 611 h 10000"/>
                  <a:gd name="connsiteX93" fmla="*/ 4667 w 10000"/>
                  <a:gd name="connsiteY93" fmla="*/ 611 h 10000"/>
                  <a:gd name="connsiteX94" fmla="*/ 4134 w 10000"/>
                  <a:gd name="connsiteY94" fmla="*/ 611 h 10000"/>
                  <a:gd name="connsiteX95" fmla="*/ 3602 w 10000"/>
                  <a:gd name="connsiteY95" fmla="*/ 611 h 10000"/>
                  <a:gd name="connsiteX96" fmla="*/ 3067 w 10000"/>
                  <a:gd name="connsiteY96" fmla="*/ 611 h 10000"/>
                  <a:gd name="connsiteX97" fmla="*/ 2580 w 10000"/>
                  <a:gd name="connsiteY97" fmla="*/ 611 h 10000"/>
                  <a:gd name="connsiteX98" fmla="*/ 2046 w 10000"/>
                  <a:gd name="connsiteY98" fmla="*/ 611 h 10000"/>
                  <a:gd name="connsiteX99" fmla="*/ 1556 w 10000"/>
                  <a:gd name="connsiteY99" fmla="*/ 611 h 10000"/>
                  <a:gd name="connsiteX100" fmla="*/ 1024 w 10000"/>
                  <a:gd name="connsiteY100" fmla="*/ 611 h 10000"/>
                  <a:gd name="connsiteX101" fmla="*/ 1024 w 10000"/>
                  <a:gd name="connsiteY101" fmla="*/ 1061 h 10000"/>
                  <a:gd name="connsiteX102" fmla="*/ 1024 w 10000"/>
                  <a:gd name="connsiteY102" fmla="*/ 1640 h 10000"/>
                  <a:gd name="connsiteX103" fmla="*/ 356 w 10000"/>
                  <a:gd name="connsiteY103" fmla="*/ 1640 h 10000"/>
                  <a:gd name="connsiteX104" fmla="*/ 356 w 10000"/>
                  <a:gd name="connsiteY104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7733 w 10000"/>
                  <a:gd name="connsiteY58" fmla="*/ 5916 h 10000"/>
                  <a:gd name="connsiteX59" fmla="*/ 8135 w 10000"/>
                  <a:gd name="connsiteY59" fmla="*/ 5498 h 10000"/>
                  <a:gd name="connsiteX60" fmla="*/ 8443 w 10000"/>
                  <a:gd name="connsiteY60" fmla="*/ 5305 h 10000"/>
                  <a:gd name="connsiteX61" fmla="*/ 8666 w 10000"/>
                  <a:gd name="connsiteY61" fmla="*/ 4759 h 10000"/>
                  <a:gd name="connsiteX62" fmla="*/ 8666 w 10000"/>
                  <a:gd name="connsiteY62" fmla="*/ 4630 h 10000"/>
                  <a:gd name="connsiteX63" fmla="*/ 8623 w 10000"/>
                  <a:gd name="connsiteY63" fmla="*/ 4309 h 10000"/>
                  <a:gd name="connsiteX64" fmla="*/ 9066 w 10000"/>
                  <a:gd name="connsiteY64" fmla="*/ 3151 h 10000"/>
                  <a:gd name="connsiteX65" fmla="*/ 9199 w 10000"/>
                  <a:gd name="connsiteY65" fmla="*/ 3151 h 10000"/>
                  <a:gd name="connsiteX66" fmla="*/ 9378 w 10000"/>
                  <a:gd name="connsiteY66" fmla="*/ 3055 h 10000"/>
                  <a:gd name="connsiteX67" fmla="*/ 9912 w 10000"/>
                  <a:gd name="connsiteY67" fmla="*/ 2894 h 10000"/>
                  <a:gd name="connsiteX68" fmla="*/ 10000 w 10000"/>
                  <a:gd name="connsiteY68" fmla="*/ 2637 h 10000"/>
                  <a:gd name="connsiteX69" fmla="*/ 9957 w 10000"/>
                  <a:gd name="connsiteY69" fmla="*/ 2572 h 10000"/>
                  <a:gd name="connsiteX70" fmla="*/ 9777 w 10000"/>
                  <a:gd name="connsiteY70" fmla="*/ 2572 h 10000"/>
                  <a:gd name="connsiteX71" fmla="*/ 9644 w 10000"/>
                  <a:gd name="connsiteY71" fmla="*/ 2412 h 10000"/>
                  <a:gd name="connsiteX72" fmla="*/ 9378 w 10000"/>
                  <a:gd name="connsiteY72" fmla="*/ 2347 h 10000"/>
                  <a:gd name="connsiteX73" fmla="*/ 9244 w 10000"/>
                  <a:gd name="connsiteY73" fmla="*/ 2219 h 10000"/>
                  <a:gd name="connsiteX74" fmla="*/ 9157 w 10000"/>
                  <a:gd name="connsiteY74" fmla="*/ 1736 h 10000"/>
                  <a:gd name="connsiteX75" fmla="*/ 9157 w 10000"/>
                  <a:gd name="connsiteY75" fmla="*/ 1061 h 10000"/>
                  <a:gd name="connsiteX76" fmla="*/ 8933 w 10000"/>
                  <a:gd name="connsiteY76" fmla="*/ 836 h 10000"/>
                  <a:gd name="connsiteX77" fmla="*/ 8889 w 10000"/>
                  <a:gd name="connsiteY77" fmla="*/ 611 h 10000"/>
                  <a:gd name="connsiteX78" fmla="*/ 8534 w 10000"/>
                  <a:gd name="connsiteY78" fmla="*/ 289 h 10000"/>
                  <a:gd name="connsiteX79" fmla="*/ 8222 w 10000"/>
                  <a:gd name="connsiteY79" fmla="*/ 161 h 10000"/>
                  <a:gd name="connsiteX80" fmla="*/ 8045 w 10000"/>
                  <a:gd name="connsiteY80" fmla="*/ 0 h 10000"/>
                  <a:gd name="connsiteX81" fmla="*/ 7779 w 10000"/>
                  <a:gd name="connsiteY81" fmla="*/ 161 h 10000"/>
                  <a:gd name="connsiteX82" fmla="*/ 7600 w 10000"/>
                  <a:gd name="connsiteY82" fmla="*/ 129 h 10000"/>
                  <a:gd name="connsiteX83" fmla="*/ 7466 w 10000"/>
                  <a:gd name="connsiteY83" fmla="*/ 418 h 10000"/>
                  <a:gd name="connsiteX84" fmla="*/ 7110 w 10000"/>
                  <a:gd name="connsiteY84" fmla="*/ 482 h 10000"/>
                  <a:gd name="connsiteX85" fmla="*/ 7023 w 10000"/>
                  <a:gd name="connsiteY85" fmla="*/ 707 h 10000"/>
                  <a:gd name="connsiteX86" fmla="*/ 6711 w 10000"/>
                  <a:gd name="connsiteY86" fmla="*/ 707 h 10000"/>
                  <a:gd name="connsiteX87" fmla="*/ 6445 w 10000"/>
                  <a:gd name="connsiteY87" fmla="*/ 611 h 10000"/>
                  <a:gd name="connsiteX88" fmla="*/ 5867 w 10000"/>
                  <a:gd name="connsiteY88" fmla="*/ 611 h 10000"/>
                  <a:gd name="connsiteX89" fmla="*/ 5289 w 10000"/>
                  <a:gd name="connsiteY89" fmla="*/ 611 h 10000"/>
                  <a:gd name="connsiteX90" fmla="*/ 5333 w 10000"/>
                  <a:gd name="connsiteY90" fmla="*/ 482 h 10000"/>
                  <a:gd name="connsiteX91" fmla="*/ 5245 w 10000"/>
                  <a:gd name="connsiteY91" fmla="*/ 482 h 10000"/>
                  <a:gd name="connsiteX92" fmla="*/ 5201 w 10000"/>
                  <a:gd name="connsiteY92" fmla="*/ 611 h 10000"/>
                  <a:gd name="connsiteX93" fmla="*/ 4667 w 10000"/>
                  <a:gd name="connsiteY93" fmla="*/ 611 h 10000"/>
                  <a:gd name="connsiteX94" fmla="*/ 4134 w 10000"/>
                  <a:gd name="connsiteY94" fmla="*/ 611 h 10000"/>
                  <a:gd name="connsiteX95" fmla="*/ 3602 w 10000"/>
                  <a:gd name="connsiteY95" fmla="*/ 611 h 10000"/>
                  <a:gd name="connsiteX96" fmla="*/ 3067 w 10000"/>
                  <a:gd name="connsiteY96" fmla="*/ 611 h 10000"/>
                  <a:gd name="connsiteX97" fmla="*/ 2580 w 10000"/>
                  <a:gd name="connsiteY97" fmla="*/ 611 h 10000"/>
                  <a:gd name="connsiteX98" fmla="*/ 2046 w 10000"/>
                  <a:gd name="connsiteY98" fmla="*/ 611 h 10000"/>
                  <a:gd name="connsiteX99" fmla="*/ 1556 w 10000"/>
                  <a:gd name="connsiteY99" fmla="*/ 611 h 10000"/>
                  <a:gd name="connsiteX100" fmla="*/ 1024 w 10000"/>
                  <a:gd name="connsiteY100" fmla="*/ 611 h 10000"/>
                  <a:gd name="connsiteX101" fmla="*/ 1024 w 10000"/>
                  <a:gd name="connsiteY101" fmla="*/ 1061 h 10000"/>
                  <a:gd name="connsiteX102" fmla="*/ 1024 w 10000"/>
                  <a:gd name="connsiteY102" fmla="*/ 1640 h 10000"/>
                  <a:gd name="connsiteX103" fmla="*/ 356 w 10000"/>
                  <a:gd name="connsiteY103" fmla="*/ 1640 h 10000"/>
                  <a:gd name="connsiteX104" fmla="*/ 356 w 10000"/>
                  <a:gd name="connsiteY104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8135 w 10000"/>
                  <a:gd name="connsiteY59" fmla="*/ 5498 h 10000"/>
                  <a:gd name="connsiteX60" fmla="*/ 8443 w 10000"/>
                  <a:gd name="connsiteY60" fmla="*/ 5305 h 10000"/>
                  <a:gd name="connsiteX61" fmla="*/ 8666 w 10000"/>
                  <a:gd name="connsiteY61" fmla="*/ 4759 h 10000"/>
                  <a:gd name="connsiteX62" fmla="*/ 8666 w 10000"/>
                  <a:gd name="connsiteY62" fmla="*/ 4630 h 10000"/>
                  <a:gd name="connsiteX63" fmla="*/ 8623 w 10000"/>
                  <a:gd name="connsiteY63" fmla="*/ 4309 h 10000"/>
                  <a:gd name="connsiteX64" fmla="*/ 9066 w 10000"/>
                  <a:gd name="connsiteY64" fmla="*/ 3151 h 10000"/>
                  <a:gd name="connsiteX65" fmla="*/ 9199 w 10000"/>
                  <a:gd name="connsiteY65" fmla="*/ 3151 h 10000"/>
                  <a:gd name="connsiteX66" fmla="*/ 9378 w 10000"/>
                  <a:gd name="connsiteY66" fmla="*/ 3055 h 10000"/>
                  <a:gd name="connsiteX67" fmla="*/ 9912 w 10000"/>
                  <a:gd name="connsiteY67" fmla="*/ 2894 h 10000"/>
                  <a:gd name="connsiteX68" fmla="*/ 10000 w 10000"/>
                  <a:gd name="connsiteY68" fmla="*/ 2637 h 10000"/>
                  <a:gd name="connsiteX69" fmla="*/ 9957 w 10000"/>
                  <a:gd name="connsiteY69" fmla="*/ 2572 h 10000"/>
                  <a:gd name="connsiteX70" fmla="*/ 9777 w 10000"/>
                  <a:gd name="connsiteY70" fmla="*/ 2572 h 10000"/>
                  <a:gd name="connsiteX71" fmla="*/ 9644 w 10000"/>
                  <a:gd name="connsiteY71" fmla="*/ 2412 h 10000"/>
                  <a:gd name="connsiteX72" fmla="*/ 9378 w 10000"/>
                  <a:gd name="connsiteY72" fmla="*/ 2347 h 10000"/>
                  <a:gd name="connsiteX73" fmla="*/ 9244 w 10000"/>
                  <a:gd name="connsiteY73" fmla="*/ 2219 h 10000"/>
                  <a:gd name="connsiteX74" fmla="*/ 9157 w 10000"/>
                  <a:gd name="connsiteY74" fmla="*/ 1736 h 10000"/>
                  <a:gd name="connsiteX75" fmla="*/ 9157 w 10000"/>
                  <a:gd name="connsiteY75" fmla="*/ 1061 h 10000"/>
                  <a:gd name="connsiteX76" fmla="*/ 8933 w 10000"/>
                  <a:gd name="connsiteY76" fmla="*/ 836 h 10000"/>
                  <a:gd name="connsiteX77" fmla="*/ 8889 w 10000"/>
                  <a:gd name="connsiteY77" fmla="*/ 611 h 10000"/>
                  <a:gd name="connsiteX78" fmla="*/ 8534 w 10000"/>
                  <a:gd name="connsiteY78" fmla="*/ 289 h 10000"/>
                  <a:gd name="connsiteX79" fmla="*/ 8222 w 10000"/>
                  <a:gd name="connsiteY79" fmla="*/ 161 h 10000"/>
                  <a:gd name="connsiteX80" fmla="*/ 8045 w 10000"/>
                  <a:gd name="connsiteY80" fmla="*/ 0 h 10000"/>
                  <a:gd name="connsiteX81" fmla="*/ 7779 w 10000"/>
                  <a:gd name="connsiteY81" fmla="*/ 161 h 10000"/>
                  <a:gd name="connsiteX82" fmla="*/ 7600 w 10000"/>
                  <a:gd name="connsiteY82" fmla="*/ 129 h 10000"/>
                  <a:gd name="connsiteX83" fmla="*/ 7466 w 10000"/>
                  <a:gd name="connsiteY83" fmla="*/ 418 h 10000"/>
                  <a:gd name="connsiteX84" fmla="*/ 7110 w 10000"/>
                  <a:gd name="connsiteY84" fmla="*/ 482 h 10000"/>
                  <a:gd name="connsiteX85" fmla="*/ 7023 w 10000"/>
                  <a:gd name="connsiteY85" fmla="*/ 707 h 10000"/>
                  <a:gd name="connsiteX86" fmla="*/ 6711 w 10000"/>
                  <a:gd name="connsiteY86" fmla="*/ 707 h 10000"/>
                  <a:gd name="connsiteX87" fmla="*/ 6445 w 10000"/>
                  <a:gd name="connsiteY87" fmla="*/ 611 h 10000"/>
                  <a:gd name="connsiteX88" fmla="*/ 5867 w 10000"/>
                  <a:gd name="connsiteY88" fmla="*/ 611 h 10000"/>
                  <a:gd name="connsiteX89" fmla="*/ 5289 w 10000"/>
                  <a:gd name="connsiteY89" fmla="*/ 611 h 10000"/>
                  <a:gd name="connsiteX90" fmla="*/ 5333 w 10000"/>
                  <a:gd name="connsiteY90" fmla="*/ 482 h 10000"/>
                  <a:gd name="connsiteX91" fmla="*/ 5245 w 10000"/>
                  <a:gd name="connsiteY91" fmla="*/ 482 h 10000"/>
                  <a:gd name="connsiteX92" fmla="*/ 5201 w 10000"/>
                  <a:gd name="connsiteY92" fmla="*/ 611 h 10000"/>
                  <a:gd name="connsiteX93" fmla="*/ 4667 w 10000"/>
                  <a:gd name="connsiteY93" fmla="*/ 611 h 10000"/>
                  <a:gd name="connsiteX94" fmla="*/ 4134 w 10000"/>
                  <a:gd name="connsiteY94" fmla="*/ 611 h 10000"/>
                  <a:gd name="connsiteX95" fmla="*/ 3602 w 10000"/>
                  <a:gd name="connsiteY95" fmla="*/ 611 h 10000"/>
                  <a:gd name="connsiteX96" fmla="*/ 3067 w 10000"/>
                  <a:gd name="connsiteY96" fmla="*/ 611 h 10000"/>
                  <a:gd name="connsiteX97" fmla="*/ 2580 w 10000"/>
                  <a:gd name="connsiteY97" fmla="*/ 611 h 10000"/>
                  <a:gd name="connsiteX98" fmla="*/ 2046 w 10000"/>
                  <a:gd name="connsiteY98" fmla="*/ 611 h 10000"/>
                  <a:gd name="connsiteX99" fmla="*/ 1556 w 10000"/>
                  <a:gd name="connsiteY99" fmla="*/ 611 h 10000"/>
                  <a:gd name="connsiteX100" fmla="*/ 1024 w 10000"/>
                  <a:gd name="connsiteY100" fmla="*/ 611 h 10000"/>
                  <a:gd name="connsiteX101" fmla="*/ 1024 w 10000"/>
                  <a:gd name="connsiteY101" fmla="*/ 1061 h 10000"/>
                  <a:gd name="connsiteX102" fmla="*/ 1024 w 10000"/>
                  <a:gd name="connsiteY102" fmla="*/ 1640 h 10000"/>
                  <a:gd name="connsiteX103" fmla="*/ 356 w 10000"/>
                  <a:gd name="connsiteY103" fmla="*/ 1640 h 10000"/>
                  <a:gd name="connsiteX104" fmla="*/ 356 w 10000"/>
                  <a:gd name="connsiteY104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6511 w 10000"/>
                  <a:gd name="connsiteY59" fmla="*/ 5828 h 10000"/>
                  <a:gd name="connsiteX60" fmla="*/ 8443 w 10000"/>
                  <a:gd name="connsiteY60" fmla="*/ 5305 h 10000"/>
                  <a:gd name="connsiteX61" fmla="*/ 8666 w 10000"/>
                  <a:gd name="connsiteY61" fmla="*/ 4759 h 10000"/>
                  <a:gd name="connsiteX62" fmla="*/ 8666 w 10000"/>
                  <a:gd name="connsiteY62" fmla="*/ 4630 h 10000"/>
                  <a:gd name="connsiteX63" fmla="*/ 8623 w 10000"/>
                  <a:gd name="connsiteY63" fmla="*/ 4309 h 10000"/>
                  <a:gd name="connsiteX64" fmla="*/ 9066 w 10000"/>
                  <a:gd name="connsiteY64" fmla="*/ 3151 h 10000"/>
                  <a:gd name="connsiteX65" fmla="*/ 9199 w 10000"/>
                  <a:gd name="connsiteY65" fmla="*/ 3151 h 10000"/>
                  <a:gd name="connsiteX66" fmla="*/ 9378 w 10000"/>
                  <a:gd name="connsiteY66" fmla="*/ 3055 h 10000"/>
                  <a:gd name="connsiteX67" fmla="*/ 9912 w 10000"/>
                  <a:gd name="connsiteY67" fmla="*/ 2894 h 10000"/>
                  <a:gd name="connsiteX68" fmla="*/ 10000 w 10000"/>
                  <a:gd name="connsiteY68" fmla="*/ 2637 h 10000"/>
                  <a:gd name="connsiteX69" fmla="*/ 9957 w 10000"/>
                  <a:gd name="connsiteY69" fmla="*/ 2572 h 10000"/>
                  <a:gd name="connsiteX70" fmla="*/ 9777 w 10000"/>
                  <a:gd name="connsiteY70" fmla="*/ 2572 h 10000"/>
                  <a:gd name="connsiteX71" fmla="*/ 9644 w 10000"/>
                  <a:gd name="connsiteY71" fmla="*/ 2412 h 10000"/>
                  <a:gd name="connsiteX72" fmla="*/ 9378 w 10000"/>
                  <a:gd name="connsiteY72" fmla="*/ 2347 h 10000"/>
                  <a:gd name="connsiteX73" fmla="*/ 9244 w 10000"/>
                  <a:gd name="connsiteY73" fmla="*/ 2219 h 10000"/>
                  <a:gd name="connsiteX74" fmla="*/ 9157 w 10000"/>
                  <a:gd name="connsiteY74" fmla="*/ 1736 h 10000"/>
                  <a:gd name="connsiteX75" fmla="*/ 9157 w 10000"/>
                  <a:gd name="connsiteY75" fmla="*/ 1061 h 10000"/>
                  <a:gd name="connsiteX76" fmla="*/ 8933 w 10000"/>
                  <a:gd name="connsiteY76" fmla="*/ 836 h 10000"/>
                  <a:gd name="connsiteX77" fmla="*/ 8889 w 10000"/>
                  <a:gd name="connsiteY77" fmla="*/ 611 h 10000"/>
                  <a:gd name="connsiteX78" fmla="*/ 8534 w 10000"/>
                  <a:gd name="connsiteY78" fmla="*/ 289 h 10000"/>
                  <a:gd name="connsiteX79" fmla="*/ 8222 w 10000"/>
                  <a:gd name="connsiteY79" fmla="*/ 161 h 10000"/>
                  <a:gd name="connsiteX80" fmla="*/ 8045 w 10000"/>
                  <a:gd name="connsiteY80" fmla="*/ 0 h 10000"/>
                  <a:gd name="connsiteX81" fmla="*/ 7779 w 10000"/>
                  <a:gd name="connsiteY81" fmla="*/ 161 h 10000"/>
                  <a:gd name="connsiteX82" fmla="*/ 7600 w 10000"/>
                  <a:gd name="connsiteY82" fmla="*/ 129 h 10000"/>
                  <a:gd name="connsiteX83" fmla="*/ 7466 w 10000"/>
                  <a:gd name="connsiteY83" fmla="*/ 418 h 10000"/>
                  <a:gd name="connsiteX84" fmla="*/ 7110 w 10000"/>
                  <a:gd name="connsiteY84" fmla="*/ 482 h 10000"/>
                  <a:gd name="connsiteX85" fmla="*/ 7023 w 10000"/>
                  <a:gd name="connsiteY85" fmla="*/ 707 h 10000"/>
                  <a:gd name="connsiteX86" fmla="*/ 6711 w 10000"/>
                  <a:gd name="connsiteY86" fmla="*/ 707 h 10000"/>
                  <a:gd name="connsiteX87" fmla="*/ 6445 w 10000"/>
                  <a:gd name="connsiteY87" fmla="*/ 611 h 10000"/>
                  <a:gd name="connsiteX88" fmla="*/ 5867 w 10000"/>
                  <a:gd name="connsiteY88" fmla="*/ 611 h 10000"/>
                  <a:gd name="connsiteX89" fmla="*/ 5289 w 10000"/>
                  <a:gd name="connsiteY89" fmla="*/ 611 h 10000"/>
                  <a:gd name="connsiteX90" fmla="*/ 5333 w 10000"/>
                  <a:gd name="connsiteY90" fmla="*/ 482 h 10000"/>
                  <a:gd name="connsiteX91" fmla="*/ 5245 w 10000"/>
                  <a:gd name="connsiteY91" fmla="*/ 482 h 10000"/>
                  <a:gd name="connsiteX92" fmla="*/ 5201 w 10000"/>
                  <a:gd name="connsiteY92" fmla="*/ 611 h 10000"/>
                  <a:gd name="connsiteX93" fmla="*/ 4667 w 10000"/>
                  <a:gd name="connsiteY93" fmla="*/ 611 h 10000"/>
                  <a:gd name="connsiteX94" fmla="*/ 4134 w 10000"/>
                  <a:gd name="connsiteY94" fmla="*/ 611 h 10000"/>
                  <a:gd name="connsiteX95" fmla="*/ 3602 w 10000"/>
                  <a:gd name="connsiteY95" fmla="*/ 611 h 10000"/>
                  <a:gd name="connsiteX96" fmla="*/ 3067 w 10000"/>
                  <a:gd name="connsiteY96" fmla="*/ 611 h 10000"/>
                  <a:gd name="connsiteX97" fmla="*/ 2580 w 10000"/>
                  <a:gd name="connsiteY97" fmla="*/ 611 h 10000"/>
                  <a:gd name="connsiteX98" fmla="*/ 2046 w 10000"/>
                  <a:gd name="connsiteY98" fmla="*/ 611 h 10000"/>
                  <a:gd name="connsiteX99" fmla="*/ 1556 w 10000"/>
                  <a:gd name="connsiteY99" fmla="*/ 611 h 10000"/>
                  <a:gd name="connsiteX100" fmla="*/ 1024 w 10000"/>
                  <a:gd name="connsiteY100" fmla="*/ 611 h 10000"/>
                  <a:gd name="connsiteX101" fmla="*/ 1024 w 10000"/>
                  <a:gd name="connsiteY101" fmla="*/ 1061 h 10000"/>
                  <a:gd name="connsiteX102" fmla="*/ 1024 w 10000"/>
                  <a:gd name="connsiteY102" fmla="*/ 1640 h 10000"/>
                  <a:gd name="connsiteX103" fmla="*/ 356 w 10000"/>
                  <a:gd name="connsiteY103" fmla="*/ 1640 h 10000"/>
                  <a:gd name="connsiteX104" fmla="*/ 356 w 10000"/>
                  <a:gd name="connsiteY104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6511 w 10000"/>
                  <a:gd name="connsiteY59" fmla="*/ 5828 h 10000"/>
                  <a:gd name="connsiteX60" fmla="*/ 8666 w 10000"/>
                  <a:gd name="connsiteY60" fmla="*/ 4759 h 10000"/>
                  <a:gd name="connsiteX61" fmla="*/ 8666 w 10000"/>
                  <a:gd name="connsiteY61" fmla="*/ 4630 h 10000"/>
                  <a:gd name="connsiteX62" fmla="*/ 8623 w 10000"/>
                  <a:gd name="connsiteY62" fmla="*/ 4309 h 10000"/>
                  <a:gd name="connsiteX63" fmla="*/ 9066 w 10000"/>
                  <a:gd name="connsiteY63" fmla="*/ 3151 h 10000"/>
                  <a:gd name="connsiteX64" fmla="*/ 9199 w 10000"/>
                  <a:gd name="connsiteY64" fmla="*/ 3151 h 10000"/>
                  <a:gd name="connsiteX65" fmla="*/ 9378 w 10000"/>
                  <a:gd name="connsiteY65" fmla="*/ 3055 h 10000"/>
                  <a:gd name="connsiteX66" fmla="*/ 9912 w 10000"/>
                  <a:gd name="connsiteY66" fmla="*/ 2894 h 10000"/>
                  <a:gd name="connsiteX67" fmla="*/ 10000 w 10000"/>
                  <a:gd name="connsiteY67" fmla="*/ 2637 h 10000"/>
                  <a:gd name="connsiteX68" fmla="*/ 9957 w 10000"/>
                  <a:gd name="connsiteY68" fmla="*/ 2572 h 10000"/>
                  <a:gd name="connsiteX69" fmla="*/ 9777 w 10000"/>
                  <a:gd name="connsiteY69" fmla="*/ 2572 h 10000"/>
                  <a:gd name="connsiteX70" fmla="*/ 9644 w 10000"/>
                  <a:gd name="connsiteY70" fmla="*/ 2412 h 10000"/>
                  <a:gd name="connsiteX71" fmla="*/ 9378 w 10000"/>
                  <a:gd name="connsiteY71" fmla="*/ 2347 h 10000"/>
                  <a:gd name="connsiteX72" fmla="*/ 9244 w 10000"/>
                  <a:gd name="connsiteY72" fmla="*/ 2219 h 10000"/>
                  <a:gd name="connsiteX73" fmla="*/ 9157 w 10000"/>
                  <a:gd name="connsiteY73" fmla="*/ 1736 h 10000"/>
                  <a:gd name="connsiteX74" fmla="*/ 9157 w 10000"/>
                  <a:gd name="connsiteY74" fmla="*/ 1061 h 10000"/>
                  <a:gd name="connsiteX75" fmla="*/ 8933 w 10000"/>
                  <a:gd name="connsiteY75" fmla="*/ 836 h 10000"/>
                  <a:gd name="connsiteX76" fmla="*/ 8889 w 10000"/>
                  <a:gd name="connsiteY76" fmla="*/ 611 h 10000"/>
                  <a:gd name="connsiteX77" fmla="*/ 8534 w 10000"/>
                  <a:gd name="connsiteY77" fmla="*/ 289 h 10000"/>
                  <a:gd name="connsiteX78" fmla="*/ 8222 w 10000"/>
                  <a:gd name="connsiteY78" fmla="*/ 161 h 10000"/>
                  <a:gd name="connsiteX79" fmla="*/ 8045 w 10000"/>
                  <a:gd name="connsiteY79" fmla="*/ 0 h 10000"/>
                  <a:gd name="connsiteX80" fmla="*/ 7779 w 10000"/>
                  <a:gd name="connsiteY80" fmla="*/ 161 h 10000"/>
                  <a:gd name="connsiteX81" fmla="*/ 7600 w 10000"/>
                  <a:gd name="connsiteY81" fmla="*/ 129 h 10000"/>
                  <a:gd name="connsiteX82" fmla="*/ 7466 w 10000"/>
                  <a:gd name="connsiteY82" fmla="*/ 418 h 10000"/>
                  <a:gd name="connsiteX83" fmla="*/ 7110 w 10000"/>
                  <a:gd name="connsiteY83" fmla="*/ 482 h 10000"/>
                  <a:gd name="connsiteX84" fmla="*/ 7023 w 10000"/>
                  <a:gd name="connsiteY84" fmla="*/ 707 h 10000"/>
                  <a:gd name="connsiteX85" fmla="*/ 6711 w 10000"/>
                  <a:gd name="connsiteY85" fmla="*/ 707 h 10000"/>
                  <a:gd name="connsiteX86" fmla="*/ 6445 w 10000"/>
                  <a:gd name="connsiteY86" fmla="*/ 611 h 10000"/>
                  <a:gd name="connsiteX87" fmla="*/ 5867 w 10000"/>
                  <a:gd name="connsiteY87" fmla="*/ 611 h 10000"/>
                  <a:gd name="connsiteX88" fmla="*/ 5289 w 10000"/>
                  <a:gd name="connsiteY88" fmla="*/ 611 h 10000"/>
                  <a:gd name="connsiteX89" fmla="*/ 5333 w 10000"/>
                  <a:gd name="connsiteY89" fmla="*/ 482 h 10000"/>
                  <a:gd name="connsiteX90" fmla="*/ 5245 w 10000"/>
                  <a:gd name="connsiteY90" fmla="*/ 482 h 10000"/>
                  <a:gd name="connsiteX91" fmla="*/ 5201 w 10000"/>
                  <a:gd name="connsiteY91" fmla="*/ 611 h 10000"/>
                  <a:gd name="connsiteX92" fmla="*/ 4667 w 10000"/>
                  <a:gd name="connsiteY92" fmla="*/ 611 h 10000"/>
                  <a:gd name="connsiteX93" fmla="*/ 4134 w 10000"/>
                  <a:gd name="connsiteY93" fmla="*/ 611 h 10000"/>
                  <a:gd name="connsiteX94" fmla="*/ 3602 w 10000"/>
                  <a:gd name="connsiteY94" fmla="*/ 611 h 10000"/>
                  <a:gd name="connsiteX95" fmla="*/ 3067 w 10000"/>
                  <a:gd name="connsiteY95" fmla="*/ 611 h 10000"/>
                  <a:gd name="connsiteX96" fmla="*/ 2580 w 10000"/>
                  <a:gd name="connsiteY96" fmla="*/ 611 h 10000"/>
                  <a:gd name="connsiteX97" fmla="*/ 2046 w 10000"/>
                  <a:gd name="connsiteY97" fmla="*/ 611 h 10000"/>
                  <a:gd name="connsiteX98" fmla="*/ 1556 w 10000"/>
                  <a:gd name="connsiteY98" fmla="*/ 611 h 10000"/>
                  <a:gd name="connsiteX99" fmla="*/ 1024 w 10000"/>
                  <a:gd name="connsiteY99" fmla="*/ 611 h 10000"/>
                  <a:gd name="connsiteX100" fmla="*/ 1024 w 10000"/>
                  <a:gd name="connsiteY100" fmla="*/ 1061 h 10000"/>
                  <a:gd name="connsiteX101" fmla="*/ 1024 w 10000"/>
                  <a:gd name="connsiteY101" fmla="*/ 1640 h 10000"/>
                  <a:gd name="connsiteX102" fmla="*/ 356 w 10000"/>
                  <a:gd name="connsiteY102" fmla="*/ 1640 h 10000"/>
                  <a:gd name="connsiteX103" fmla="*/ 356 w 10000"/>
                  <a:gd name="connsiteY103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6511 w 10000"/>
                  <a:gd name="connsiteY59" fmla="*/ 5828 h 10000"/>
                  <a:gd name="connsiteX60" fmla="*/ 8666 w 10000"/>
                  <a:gd name="connsiteY60" fmla="*/ 4630 h 10000"/>
                  <a:gd name="connsiteX61" fmla="*/ 8623 w 10000"/>
                  <a:gd name="connsiteY61" fmla="*/ 4309 h 10000"/>
                  <a:gd name="connsiteX62" fmla="*/ 9066 w 10000"/>
                  <a:gd name="connsiteY62" fmla="*/ 3151 h 10000"/>
                  <a:gd name="connsiteX63" fmla="*/ 9199 w 10000"/>
                  <a:gd name="connsiteY63" fmla="*/ 3151 h 10000"/>
                  <a:gd name="connsiteX64" fmla="*/ 9378 w 10000"/>
                  <a:gd name="connsiteY64" fmla="*/ 3055 h 10000"/>
                  <a:gd name="connsiteX65" fmla="*/ 9912 w 10000"/>
                  <a:gd name="connsiteY65" fmla="*/ 2894 h 10000"/>
                  <a:gd name="connsiteX66" fmla="*/ 10000 w 10000"/>
                  <a:gd name="connsiteY66" fmla="*/ 2637 h 10000"/>
                  <a:gd name="connsiteX67" fmla="*/ 9957 w 10000"/>
                  <a:gd name="connsiteY67" fmla="*/ 2572 h 10000"/>
                  <a:gd name="connsiteX68" fmla="*/ 9777 w 10000"/>
                  <a:gd name="connsiteY68" fmla="*/ 2572 h 10000"/>
                  <a:gd name="connsiteX69" fmla="*/ 9644 w 10000"/>
                  <a:gd name="connsiteY69" fmla="*/ 2412 h 10000"/>
                  <a:gd name="connsiteX70" fmla="*/ 9378 w 10000"/>
                  <a:gd name="connsiteY70" fmla="*/ 2347 h 10000"/>
                  <a:gd name="connsiteX71" fmla="*/ 9244 w 10000"/>
                  <a:gd name="connsiteY71" fmla="*/ 2219 h 10000"/>
                  <a:gd name="connsiteX72" fmla="*/ 9157 w 10000"/>
                  <a:gd name="connsiteY72" fmla="*/ 1736 h 10000"/>
                  <a:gd name="connsiteX73" fmla="*/ 9157 w 10000"/>
                  <a:gd name="connsiteY73" fmla="*/ 1061 h 10000"/>
                  <a:gd name="connsiteX74" fmla="*/ 8933 w 10000"/>
                  <a:gd name="connsiteY74" fmla="*/ 836 h 10000"/>
                  <a:gd name="connsiteX75" fmla="*/ 8889 w 10000"/>
                  <a:gd name="connsiteY75" fmla="*/ 611 h 10000"/>
                  <a:gd name="connsiteX76" fmla="*/ 8534 w 10000"/>
                  <a:gd name="connsiteY76" fmla="*/ 289 h 10000"/>
                  <a:gd name="connsiteX77" fmla="*/ 8222 w 10000"/>
                  <a:gd name="connsiteY77" fmla="*/ 161 h 10000"/>
                  <a:gd name="connsiteX78" fmla="*/ 8045 w 10000"/>
                  <a:gd name="connsiteY78" fmla="*/ 0 h 10000"/>
                  <a:gd name="connsiteX79" fmla="*/ 7779 w 10000"/>
                  <a:gd name="connsiteY79" fmla="*/ 161 h 10000"/>
                  <a:gd name="connsiteX80" fmla="*/ 7600 w 10000"/>
                  <a:gd name="connsiteY80" fmla="*/ 129 h 10000"/>
                  <a:gd name="connsiteX81" fmla="*/ 7466 w 10000"/>
                  <a:gd name="connsiteY81" fmla="*/ 418 h 10000"/>
                  <a:gd name="connsiteX82" fmla="*/ 7110 w 10000"/>
                  <a:gd name="connsiteY82" fmla="*/ 482 h 10000"/>
                  <a:gd name="connsiteX83" fmla="*/ 7023 w 10000"/>
                  <a:gd name="connsiteY83" fmla="*/ 707 h 10000"/>
                  <a:gd name="connsiteX84" fmla="*/ 6711 w 10000"/>
                  <a:gd name="connsiteY84" fmla="*/ 707 h 10000"/>
                  <a:gd name="connsiteX85" fmla="*/ 6445 w 10000"/>
                  <a:gd name="connsiteY85" fmla="*/ 611 h 10000"/>
                  <a:gd name="connsiteX86" fmla="*/ 5867 w 10000"/>
                  <a:gd name="connsiteY86" fmla="*/ 611 h 10000"/>
                  <a:gd name="connsiteX87" fmla="*/ 5289 w 10000"/>
                  <a:gd name="connsiteY87" fmla="*/ 611 h 10000"/>
                  <a:gd name="connsiteX88" fmla="*/ 5333 w 10000"/>
                  <a:gd name="connsiteY88" fmla="*/ 482 h 10000"/>
                  <a:gd name="connsiteX89" fmla="*/ 5245 w 10000"/>
                  <a:gd name="connsiteY89" fmla="*/ 482 h 10000"/>
                  <a:gd name="connsiteX90" fmla="*/ 5201 w 10000"/>
                  <a:gd name="connsiteY90" fmla="*/ 611 h 10000"/>
                  <a:gd name="connsiteX91" fmla="*/ 4667 w 10000"/>
                  <a:gd name="connsiteY91" fmla="*/ 611 h 10000"/>
                  <a:gd name="connsiteX92" fmla="*/ 4134 w 10000"/>
                  <a:gd name="connsiteY92" fmla="*/ 611 h 10000"/>
                  <a:gd name="connsiteX93" fmla="*/ 3602 w 10000"/>
                  <a:gd name="connsiteY93" fmla="*/ 611 h 10000"/>
                  <a:gd name="connsiteX94" fmla="*/ 3067 w 10000"/>
                  <a:gd name="connsiteY94" fmla="*/ 611 h 10000"/>
                  <a:gd name="connsiteX95" fmla="*/ 2580 w 10000"/>
                  <a:gd name="connsiteY95" fmla="*/ 611 h 10000"/>
                  <a:gd name="connsiteX96" fmla="*/ 2046 w 10000"/>
                  <a:gd name="connsiteY96" fmla="*/ 611 h 10000"/>
                  <a:gd name="connsiteX97" fmla="*/ 1556 w 10000"/>
                  <a:gd name="connsiteY97" fmla="*/ 611 h 10000"/>
                  <a:gd name="connsiteX98" fmla="*/ 1024 w 10000"/>
                  <a:gd name="connsiteY98" fmla="*/ 611 h 10000"/>
                  <a:gd name="connsiteX99" fmla="*/ 1024 w 10000"/>
                  <a:gd name="connsiteY99" fmla="*/ 1061 h 10000"/>
                  <a:gd name="connsiteX100" fmla="*/ 1024 w 10000"/>
                  <a:gd name="connsiteY100" fmla="*/ 1640 h 10000"/>
                  <a:gd name="connsiteX101" fmla="*/ 356 w 10000"/>
                  <a:gd name="connsiteY101" fmla="*/ 1640 h 10000"/>
                  <a:gd name="connsiteX102" fmla="*/ 356 w 10000"/>
                  <a:gd name="connsiteY102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6511 w 10000"/>
                  <a:gd name="connsiteY59" fmla="*/ 5828 h 10000"/>
                  <a:gd name="connsiteX60" fmla="*/ 8623 w 10000"/>
                  <a:gd name="connsiteY60" fmla="*/ 4309 h 10000"/>
                  <a:gd name="connsiteX61" fmla="*/ 9066 w 10000"/>
                  <a:gd name="connsiteY61" fmla="*/ 3151 h 10000"/>
                  <a:gd name="connsiteX62" fmla="*/ 9199 w 10000"/>
                  <a:gd name="connsiteY62" fmla="*/ 3151 h 10000"/>
                  <a:gd name="connsiteX63" fmla="*/ 9378 w 10000"/>
                  <a:gd name="connsiteY63" fmla="*/ 3055 h 10000"/>
                  <a:gd name="connsiteX64" fmla="*/ 9912 w 10000"/>
                  <a:gd name="connsiteY64" fmla="*/ 2894 h 10000"/>
                  <a:gd name="connsiteX65" fmla="*/ 10000 w 10000"/>
                  <a:gd name="connsiteY65" fmla="*/ 2637 h 10000"/>
                  <a:gd name="connsiteX66" fmla="*/ 9957 w 10000"/>
                  <a:gd name="connsiteY66" fmla="*/ 2572 h 10000"/>
                  <a:gd name="connsiteX67" fmla="*/ 9777 w 10000"/>
                  <a:gd name="connsiteY67" fmla="*/ 2572 h 10000"/>
                  <a:gd name="connsiteX68" fmla="*/ 9644 w 10000"/>
                  <a:gd name="connsiteY68" fmla="*/ 2412 h 10000"/>
                  <a:gd name="connsiteX69" fmla="*/ 9378 w 10000"/>
                  <a:gd name="connsiteY69" fmla="*/ 2347 h 10000"/>
                  <a:gd name="connsiteX70" fmla="*/ 9244 w 10000"/>
                  <a:gd name="connsiteY70" fmla="*/ 2219 h 10000"/>
                  <a:gd name="connsiteX71" fmla="*/ 9157 w 10000"/>
                  <a:gd name="connsiteY71" fmla="*/ 1736 h 10000"/>
                  <a:gd name="connsiteX72" fmla="*/ 9157 w 10000"/>
                  <a:gd name="connsiteY72" fmla="*/ 1061 h 10000"/>
                  <a:gd name="connsiteX73" fmla="*/ 8933 w 10000"/>
                  <a:gd name="connsiteY73" fmla="*/ 836 h 10000"/>
                  <a:gd name="connsiteX74" fmla="*/ 8889 w 10000"/>
                  <a:gd name="connsiteY74" fmla="*/ 611 h 10000"/>
                  <a:gd name="connsiteX75" fmla="*/ 8534 w 10000"/>
                  <a:gd name="connsiteY75" fmla="*/ 289 h 10000"/>
                  <a:gd name="connsiteX76" fmla="*/ 8222 w 10000"/>
                  <a:gd name="connsiteY76" fmla="*/ 161 h 10000"/>
                  <a:gd name="connsiteX77" fmla="*/ 8045 w 10000"/>
                  <a:gd name="connsiteY77" fmla="*/ 0 h 10000"/>
                  <a:gd name="connsiteX78" fmla="*/ 7779 w 10000"/>
                  <a:gd name="connsiteY78" fmla="*/ 161 h 10000"/>
                  <a:gd name="connsiteX79" fmla="*/ 7600 w 10000"/>
                  <a:gd name="connsiteY79" fmla="*/ 129 h 10000"/>
                  <a:gd name="connsiteX80" fmla="*/ 7466 w 10000"/>
                  <a:gd name="connsiteY80" fmla="*/ 418 h 10000"/>
                  <a:gd name="connsiteX81" fmla="*/ 7110 w 10000"/>
                  <a:gd name="connsiteY81" fmla="*/ 482 h 10000"/>
                  <a:gd name="connsiteX82" fmla="*/ 7023 w 10000"/>
                  <a:gd name="connsiteY82" fmla="*/ 707 h 10000"/>
                  <a:gd name="connsiteX83" fmla="*/ 6711 w 10000"/>
                  <a:gd name="connsiteY83" fmla="*/ 707 h 10000"/>
                  <a:gd name="connsiteX84" fmla="*/ 6445 w 10000"/>
                  <a:gd name="connsiteY84" fmla="*/ 611 h 10000"/>
                  <a:gd name="connsiteX85" fmla="*/ 5867 w 10000"/>
                  <a:gd name="connsiteY85" fmla="*/ 611 h 10000"/>
                  <a:gd name="connsiteX86" fmla="*/ 5289 w 10000"/>
                  <a:gd name="connsiteY86" fmla="*/ 611 h 10000"/>
                  <a:gd name="connsiteX87" fmla="*/ 5333 w 10000"/>
                  <a:gd name="connsiteY87" fmla="*/ 482 h 10000"/>
                  <a:gd name="connsiteX88" fmla="*/ 5245 w 10000"/>
                  <a:gd name="connsiteY88" fmla="*/ 482 h 10000"/>
                  <a:gd name="connsiteX89" fmla="*/ 5201 w 10000"/>
                  <a:gd name="connsiteY89" fmla="*/ 611 h 10000"/>
                  <a:gd name="connsiteX90" fmla="*/ 4667 w 10000"/>
                  <a:gd name="connsiteY90" fmla="*/ 611 h 10000"/>
                  <a:gd name="connsiteX91" fmla="*/ 4134 w 10000"/>
                  <a:gd name="connsiteY91" fmla="*/ 611 h 10000"/>
                  <a:gd name="connsiteX92" fmla="*/ 3602 w 10000"/>
                  <a:gd name="connsiteY92" fmla="*/ 611 h 10000"/>
                  <a:gd name="connsiteX93" fmla="*/ 3067 w 10000"/>
                  <a:gd name="connsiteY93" fmla="*/ 611 h 10000"/>
                  <a:gd name="connsiteX94" fmla="*/ 2580 w 10000"/>
                  <a:gd name="connsiteY94" fmla="*/ 611 h 10000"/>
                  <a:gd name="connsiteX95" fmla="*/ 2046 w 10000"/>
                  <a:gd name="connsiteY95" fmla="*/ 611 h 10000"/>
                  <a:gd name="connsiteX96" fmla="*/ 1556 w 10000"/>
                  <a:gd name="connsiteY96" fmla="*/ 611 h 10000"/>
                  <a:gd name="connsiteX97" fmla="*/ 1024 w 10000"/>
                  <a:gd name="connsiteY97" fmla="*/ 611 h 10000"/>
                  <a:gd name="connsiteX98" fmla="*/ 1024 w 10000"/>
                  <a:gd name="connsiteY98" fmla="*/ 1061 h 10000"/>
                  <a:gd name="connsiteX99" fmla="*/ 1024 w 10000"/>
                  <a:gd name="connsiteY99" fmla="*/ 1640 h 10000"/>
                  <a:gd name="connsiteX100" fmla="*/ 356 w 10000"/>
                  <a:gd name="connsiteY100" fmla="*/ 1640 h 10000"/>
                  <a:gd name="connsiteX101" fmla="*/ 356 w 10000"/>
                  <a:gd name="connsiteY101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6511 w 10000"/>
                  <a:gd name="connsiteY59" fmla="*/ 5828 h 10000"/>
                  <a:gd name="connsiteX60" fmla="*/ 6086 w 10000"/>
                  <a:gd name="connsiteY60" fmla="*/ 6118 h 10000"/>
                  <a:gd name="connsiteX61" fmla="*/ 9066 w 10000"/>
                  <a:gd name="connsiteY61" fmla="*/ 3151 h 10000"/>
                  <a:gd name="connsiteX62" fmla="*/ 9199 w 10000"/>
                  <a:gd name="connsiteY62" fmla="*/ 3151 h 10000"/>
                  <a:gd name="connsiteX63" fmla="*/ 9378 w 10000"/>
                  <a:gd name="connsiteY63" fmla="*/ 3055 h 10000"/>
                  <a:gd name="connsiteX64" fmla="*/ 9912 w 10000"/>
                  <a:gd name="connsiteY64" fmla="*/ 2894 h 10000"/>
                  <a:gd name="connsiteX65" fmla="*/ 10000 w 10000"/>
                  <a:gd name="connsiteY65" fmla="*/ 2637 h 10000"/>
                  <a:gd name="connsiteX66" fmla="*/ 9957 w 10000"/>
                  <a:gd name="connsiteY66" fmla="*/ 2572 h 10000"/>
                  <a:gd name="connsiteX67" fmla="*/ 9777 w 10000"/>
                  <a:gd name="connsiteY67" fmla="*/ 2572 h 10000"/>
                  <a:gd name="connsiteX68" fmla="*/ 9644 w 10000"/>
                  <a:gd name="connsiteY68" fmla="*/ 2412 h 10000"/>
                  <a:gd name="connsiteX69" fmla="*/ 9378 w 10000"/>
                  <a:gd name="connsiteY69" fmla="*/ 2347 h 10000"/>
                  <a:gd name="connsiteX70" fmla="*/ 9244 w 10000"/>
                  <a:gd name="connsiteY70" fmla="*/ 2219 h 10000"/>
                  <a:gd name="connsiteX71" fmla="*/ 9157 w 10000"/>
                  <a:gd name="connsiteY71" fmla="*/ 1736 h 10000"/>
                  <a:gd name="connsiteX72" fmla="*/ 9157 w 10000"/>
                  <a:gd name="connsiteY72" fmla="*/ 1061 h 10000"/>
                  <a:gd name="connsiteX73" fmla="*/ 8933 w 10000"/>
                  <a:gd name="connsiteY73" fmla="*/ 836 h 10000"/>
                  <a:gd name="connsiteX74" fmla="*/ 8889 w 10000"/>
                  <a:gd name="connsiteY74" fmla="*/ 611 h 10000"/>
                  <a:gd name="connsiteX75" fmla="*/ 8534 w 10000"/>
                  <a:gd name="connsiteY75" fmla="*/ 289 h 10000"/>
                  <a:gd name="connsiteX76" fmla="*/ 8222 w 10000"/>
                  <a:gd name="connsiteY76" fmla="*/ 161 h 10000"/>
                  <a:gd name="connsiteX77" fmla="*/ 8045 w 10000"/>
                  <a:gd name="connsiteY77" fmla="*/ 0 h 10000"/>
                  <a:gd name="connsiteX78" fmla="*/ 7779 w 10000"/>
                  <a:gd name="connsiteY78" fmla="*/ 161 h 10000"/>
                  <a:gd name="connsiteX79" fmla="*/ 7600 w 10000"/>
                  <a:gd name="connsiteY79" fmla="*/ 129 h 10000"/>
                  <a:gd name="connsiteX80" fmla="*/ 7466 w 10000"/>
                  <a:gd name="connsiteY80" fmla="*/ 418 h 10000"/>
                  <a:gd name="connsiteX81" fmla="*/ 7110 w 10000"/>
                  <a:gd name="connsiteY81" fmla="*/ 482 h 10000"/>
                  <a:gd name="connsiteX82" fmla="*/ 7023 w 10000"/>
                  <a:gd name="connsiteY82" fmla="*/ 707 h 10000"/>
                  <a:gd name="connsiteX83" fmla="*/ 6711 w 10000"/>
                  <a:gd name="connsiteY83" fmla="*/ 707 h 10000"/>
                  <a:gd name="connsiteX84" fmla="*/ 6445 w 10000"/>
                  <a:gd name="connsiteY84" fmla="*/ 611 h 10000"/>
                  <a:gd name="connsiteX85" fmla="*/ 5867 w 10000"/>
                  <a:gd name="connsiteY85" fmla="*/ 611 h 10000"/>
                  <a:gd name="connsiteX86" fmla="*/ 5289 w 10000"/>
                  <a:gd name="connsiteY86" fmla="*/ 611 h 10000"/>
                  <a:gd name="connsiteX87" fmla="*/ 5333 w 10000"/>
                  <a:gd name="connsiteY87" fmla="*/ 482 h 10000"/>
                  <a:gd name="connsiteX88" fmla="*/ 5245 w 10000"/>
                  <a:gd name="connsiteY88" fmla="*/ 482 h 10000"/>
                  <a:gd name="connsiteX89" fmla="*/ 5201 w 10000"/>
                  <a:gd name="connsiteY89" fmla="*/ 611 h 10000"/>
                  <a:gd name="connsiteX90" fmla="*/ 4667 w 10000"/>
                  <a:gd name="connsiteY90" fmla="*/ 611 h 10000"/>
                  <a:gd name="connsiteX91" fmla="*/ 4134 w 10000"/>
                  <a:gd name="connsiteY91" fmla="*/ 611 h 10000"/>
                  <a:gd name="connsiteX92" fmla="*/ 3602 w 10000"/>
                  <a:gd name="connsiteY92" fmla="*/ 611 h 10000"/>
                  <a:gd name="connsiteX93" fmla="*/ 3067 w 10000"/>
                  <a:gd name="connsiteY93" fmla="*/ 611 h 10000"/>
                  <a:gd name="connsiteX94" fmla="*/ 2580 w 10000"/>
                  <a:gd name="connsiteY94" fmla="*/ 611 h 10000"/>
                  <a:gd name="connsiteX95" fmla="*/ 2046 w 10000"/>
                  <a:gd name="connsiteY95" fmla="*/ 611 h 10000"/>
                  <a:gd name="connsiteX96" fmla="*/ 1556 w 10000"/>
                  <a:gd name="connsiteY96" fmla="*/ 611 h 10000"/>
                  <a:gd name="connsiteX97" fmla="*/ 1024 w 10000"/>
                  <a:gd name="connsiteY97" fmla="*/ 611 h 10000"/>
                  <a:gd name="connsiteX98" fmla="*/ 1024 w 10000"/>
                  <a:gd name="connsiteY98" fmla="*/ 1061 h 10000"/>
                  <a:gd name="connsiteX99" fmla="*/ 1024 w 10000"/>
                  <a:gd name="connsiteY99" fmla="*/ 1640 h 10000"/>
                  <a:gd name="connsiteX100" fmla="*/ 356 w 10000"/>
                  <a:gd name="connsiteY100" fmla="*/ 1640 h 10000"/>
                  <a:gd name="connsiteX101" fmla="*/ 356 w 10000"/>
                  <a:gd name="connsiteY101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6511 w 10000"/>
                  <a:gd name="connsiteY59" fmla="*/ 5828 h 10000"/>
                  <a:gd name="connsiteX60" fmla="*/ 6086 w 10000"/>
                  <a:gd name="connsiteY60" fmla="*/ 6118 h 10000"/>
                  <a:gd name="connsiteX61" fmla="*/ 9199 w 10000"/>
                  <a:gd name="connsiteY61" fmla="*/ 3151 h 10000"/>
                  <a:gd name="connsiteX62" fmla="*/ 9378 w 10000"/>
                  <a:gd name="connsiteY62" fmla="*/ 3055 h 10000"/>
                  <a:gd name="connsiteX63" fmla="*/ 9912 w 10000"/>
                  <a:gd name="connsiteY63" fmla="*/ 2894 h 10000"/>
                  <a:gd name="connsiteX64" fmla="*/ 10000 w 10000"/>
                  <a:gd name="connsiteY64" fmla="*/ 2637 h 10000"/>
                  <a:gd name="connsiteX65" fmla="*/ 9957 w 10000"/>
                  <a:gd name="connsiteY65" fmla="*/ 2572 h 10000"/>
                  <a:gd name="connsiteX66" fmla="*/ 9777 w 10000"/>
                  <a:gd name="connsiteY66" fmla="*/ 2572 h 10000"/>
                  <a:gd name="connsiteX67" fmla="*/ 9644 w 10000"/>
                  <a:gd name="connsiteY67" fmla="*/ 2412 h 10000"/>
                  <a:gd name="connsiteX68" fmla="*/ 9378 w 10000"/>
                  <a:gd name="connsiteY68" fmla="*/ 2347 h 10000"/>
                  <a:gd name="connsiteX69" fmla="*/ 9244 w 10000"/>
                  <a:gd name="connsiteY69" fmla="*/ 2219 h 10000"/>
                  <a:gd name="connsiteX70" fmla="*/ 9157 w 10000"/>
                  <a:gd name="connsiteY70" fmla="*/ 1736 h 10000"/>
                  <a:gd name="connsiteX71" fmla="*/ 9157 w 10000"/>
                  <a:gd name="connsiteY71" fmla="*/ 1061 h 10000"/>
                  <a:gd name="connsiteX72" fmla="*/ 8933 w 10000"/>
                  <a:gd name="connsiteY72" fmla="*/ 836 h 10000"/>
                  <a:gd name="connsiteX73" fmla="*/ 8889 w 10000"/>
                  <a:gd name="connsiteY73" fmla="*/ 611 h 10000"/>
                  <a:gd name="connsiteX74" fmla="*/ 8534 w 10000"/>
                  <a:gd name="connsiteY74" fmla="*/ 289 h 10000"/>
                  <a:gd name="connsiteX75" fmla="*/ 8222 w 10000"/>
                  <a:gd name="connsiteY75" fmla="*/ 161 h 10000"/>
                  <a:gd name="connsiteX76" fmla="*/ 8045 w 10000"/>
                  <a:gd name="connsiteY76" fmla="*/ 0 h 10000"/>
                  <a:gd name="connsiteX77" fmla="*/ 7779 w 10000"/>
                  <a:gd name="connsiteY77" fmla="*/ 161 h 10000"/>
                  <a:gd name="connsiteX78" fmla="*/ 7600 w 10000"/>
                  <a:gd name="connsiteY78" fmla="*/ 129 h 10000"/>
                  <a:gd name="connsiteX79" fmla="*/ 7466 w 10000"/>
                  <a:gd name="connsiteY79" fmla="*/ 418 h 10000"/>
                  <a:gd name="connsiteX80" fmla="*/ 7110 w 10000"/>
                  <a:gd name="connsiteY80" fmla="*/ 482 h 10000"/>
                  <a:gd name="connsiteX81" fmla="*/ 7023 w 10000"/>
                  <a:gd name="connsiteY81" fmla="*/ 707 h 10000"/>
                  <a:gd name="connsiteX82" fmla="*/ 6711 w 10000"/>
                  <a:gd name="connsiteY82" fmla="*/ 707 h 10000"/>
                  <a:gd name="connsiteX83" fmla="*/ 6445 w 10000"/>
                  <a:gd name="connsiteY83" fmla="*/ 611 h 10000"/>
                  <a:gd name="connsiteX84" fmla="*/ 5867 w 10000"/>
                  <a:gd name="connsiteY84" fmla="*/ 611 h 10000"/>
                  <a:gd name="connsiteX85" fmla="*/ 5289 w 10000"/>
                  <a:gd name="connsiteY85" fmla="*/ 611 h 10000"/>
                  <a:gd name="connsiteX86" fmla="*/ 5333 w 10000"/>
                  <a:gd name="connsiteY86" fmla="*/ 482 h 10000"/>
                  <a:gd name="connsiteX87" fmla="*/ 5245 w 10000"/>
                  <a:gd name="connsiteY87" fmla="*/ 482 h 10000"/>
                  <a:gd name="connsiteX88" fmla="*/ 5201 w 10000"/>
                  <a:gd name="connsiteY88" fmla="*/ 611 h 10000"/>
                  <a:gd name="connsiteX89" fmla="*/ 4667 w 10000"/>
                  <a:gd name="connsiteY89" fmla="*/ 611 h 10000"/>
                  <a:gd name="connsiteX90" fmla="*/ 4134 w 10000"/>
                  <a:gd name="connsiteY90" fmla="*/ 611 h 10000"/>
                  <a:gd name="connsiteX91" fmla="*/ 3602 w 10000"/>
                  <a:gd name="connsiteY91" fmla="*/ 611 h 10000"/>
                  <a:gd name="connsiteX92" fmla="*/ 3067 w 10000"/>
                  <a:gd name="connsiteY92" fmla="*/ 611 h 10000"/>
                  <a:gd name="connsiteX93" fmla="*/ 2580 w 10000"/>
                  <a:gd name="connsiteY93" fmla="*/ 611 h 10000"/>
                  <a:gd name="connsiteX94" fmla="*/ 2046 w 10000"/>
                  <a:gd name="connsiteY94" fmla="*/ 611 h 10000"/>
                  <a:gd name="connsiteX95" fmla="*/ 1556 w 10000"/>
                  <a:gd name="connsiteY95" fmla="*/ 611 h 10000"/>
                  <a:gd name="connsiteX96" fmla="*/ 1024 w 10000"/>
                  <a:gd name="connsiteY96" fmla="*/ 611 h 10000"/>
                  <a:gd name="connsiteX97" fmla="*/ 1024 w 10000"/>
                  <a:gd name="connsiteY97" fmla="*/ 1061 h 10000"/>
                  <a:gd name="connsiteX98" fmla="*/ 1024 w 10000"/>
                  <a:gd name="connsiteY98" fmla="*/ 1640 h 10000"/>
                  <a:gd name="connsiteX99" fmla="*/ 356 w 10000"/>
                  <a:gd name="connsiteY99" fmla="*/ 1640 h 10000"/>
                  <a:gd name="connsiteX100" fmla="*/ 356 w 10000"/>
                  <a:gd name="connsiteY100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6511 w 10000"/>
                  <a:gd name="connsiteY59" fmla="*/ 5828 h 10000"/>
                  <a:gd name="connsiteX60" fmla="*/ 6086 w 10000"/>
                  <a:gd name="connsiteY60" fmla="*/ 6118 h 10000"/>
                  <a:gd name="connsiteX61" fmla="*/ 9378 w 10000"/>
                  <a:gd name="connsiteY61" fmla="*/ 3055 h 10000"/>
                  <a:gd name="connsiteX62" fmla="*/ 9912 w 10000"/>
                  <a:gd name="connsiteY62" fmla="*/ 2894 h 10000"/>
                  <a:gd name="connsiteX63" fmla="*/ 10000 w 10000"/>
                  <a:gd name="connsiteY63" fmla="*/ 2637 h 10000"/>
                  <a:gd name="connsiteX64" fmla="*/ 9957 w 10000"/>
                  <a:gd name="connsiteY64" fmla="*/ 2572 h 10000"/>
                  <a:gd name="connsiteX65" fmla="*/ 9777 w 10000"/>
                  <a:gd name="connsiteY65" fmla="*/ 2572 h 10000"/>
                  <a:gd name="connsiteX66" fmla="*/ 9644 w 10000"/>
                  <a:gd name="connsiteY66" fmla="*/ 2412 h 10000"/>
                  <a:gd name="connsiteX67" fmla="*/ 9378 w 10000"/>
                  <a:gd name="connsiteY67" fmla="*/ 2347 h 10000"/>
                  <a:gd name="connsiteX68" fmla="*/ 9244 w 10000"/>
                  <a:gd name="connsiteY68" fmla="*/ 2219 h 10000"/>
                  <a:gd name="connsiteX69" fmla="*/ 9157 w 10000"/>
                  <a:gd name="connsiteY69" fmla="*/ 1736 h 10000"/>
                  <a:gd name="connsiteX70" fmla="*/ 9157 w 10000"/>
                  <a:gd name="connsiteY70" fmla="*/ 1061 h 10000"/>
                  <a:gd name="connsiteX71" fmla="*/ 8933 w 10000"/>
                  <a:gd name="connsiteY71" fmla="*/ 836 h 10000"/>
                  <a:gd name="connsiteX72" fmla="*/ 8889 w 10000"/>
                  <a:gd name="connsiteY72" fmla="*/ 611 h 10000"/>
                  <a:gd name="connsiteX73" fmla="*/ 8534 w 10000"/>
                  <a:gd name="connsiteY73" fmla="*/ 289 h 10000"/>
                  <a:gd name="connsiteX74" fmla="*/ 8222 w 10000"/>
                  <a:gd name="connsiteY74" fmla="*/ 161 h 10000"/>
                  <a:gd name="connsiteX75" fmla="*/ 8045 w 10000"/>
                  <a:gd name="connsiteY75" fmla="*/ 0 h 10000"/>
                  <a:gd name="connsiteX76" fmla="*/ 7779 w 10000"/>
                  <a:gd name="connsiteY76" fmla="*/ 161 h 10000"/>
                  <a:gd name="connsiteX77" fmla="*/ 7600 w 10000"/>
                  <a:gd name="connsiteY77" fmla="*/ 129 h 10000"/>
                  <a:gd name="connsiteX78" fmla="*/ 7466 w 10000"/>
                  <a:gd name="connsiteY78" fmla="*/ 418 h 10000"/>
                  <a:gd name="connsiteX79" fmla="*/ 7110 w 10000"/>
                  <a:gd name="connsiteY79" fmla="*/ 482 h 10000"/>
                  <a:gd name="connsiteX80" fmla="*/ 7023 w 10000"/>
                  <a:gd name="connsiteY80" fmla="*/ 707 h 10000"/>
                  <a:gd name="connsiteX81" fmla="*/ 6711 w 10000"/>
                  <a:gd name="connsiteY81" fmla="*/ 707 h 10000"/>
                  <a:gd name="connsiteX82" fmla="*/ 6445 w 10000"/>
                  <a:gd name="connsiteY82" fmla="*/ 611 h 10000"/>
                  <a:gd name="connsiteX83" fmla="*/ 5867 w 10000"/>
                  <a:gd name="connsiteY83" fmla="*/ 611 h 10000"/>
                  <a:gd name="connsiteX84" fmla="*/ 5289 w 10000"/>
                  <a:gd name="connsiteY84" fmla="*/ 611 h 10000"/>
                  <a:gd name="connsiteX85" fmla="*/ 5333 w 10000"/>
                  <a:gd name="connsiteY85" fmla="*/ 482 h 10000"/>
                  <a:gd name="connsiteX86" fmla="*/ 5245 w 10000"/>
                  <a:gd name="connsiteY86" fmla="*/ 482 h 10000"/>
                  <a:gd name="connsiteX87" fmla="*/ 5201 w 10000"/>
                  <a:gd name="connsiteY87" fmla="*/ 611 h 10000"/>
                  <a:gd name="connsiteX88" fmla="*/ 4667 w 10000"/>
                  <a:gd name="connsiteY88" fmla="*/ 611 h 10000"/>
                  <a:gd name="connsiteX89" fmla="*/ 4134 w 10000"/>
                  <a:gd name="connsiteY89" fmla="*/ 611 h 10000"/>
                  <a:gd name="connsiteX90" fmla="*/ 3602 w 10000"/>
                  <a:gd name="connsiteY90" fmla="*/ 611 h 10000"/>
                  <a:gd name="connsiteX91" fmla="*/ 3067 w 10000"/>
                  <a:gd name="connsiteY91" fmla="*/ 611 h 10000"/>
                  <a:gd name="connsiteX92" fmla="*/ 2580 w 10000"/>
                  <a:gd name="connsiteY92" fmla="*/ 611 h 10000"/>
                  <a:gd name="connsiteX93" fmla="*/ 2046 w 10000"/>
                  <a:gd name="connsiteY93" fmla="*/ 611 h 10000"/>
                  <a:gd name="connsiteX94" fmla="*/ 1556 w 10000"/>
                  <a:gd name="connsiteY94" fmla="*/ 611 h 10000"/>
                  <a:gd name="connsiteX95" fmla="*/ 1024 w 10000"/>
                  <a:gd name="connsiteY95" fmla="*/ 611 h 10000"/>
                  <a:gd name="connsiteX96" fmla="*/ 1024 w 10000"/>
                  <a:gd name="connsiteY96" fmla="*/ 1061 h 10000"/>
                  <a:gd name="connsiteX97" fmla="*/ 1024 w 10000"/>
                  <a:gd name="connsiteY97" fmla="*/ 1640 h 10000"/>
                  <a:gd name="connsiteX98" fmla="*/ 356 w 10000"/>
                  <a:gd name="connsiteY98" fmla="*/ 1640 h 10000"/>
                  <a:gd name="connsiteX99" fmla="*/ 356 w 10000"/>
                  <a:gd name="connsiteY99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6511 w 10000"/>
                  <a:gd name="connsiteY59" fmla="*/ 5828 h 10000"/>
                  <a:gd name="connsiteX60" fmla="*/ 6086 w 10000"/>
                  <a:gd name="connsiteY60" fmla="*/ 6118 h 10000"/>
                  <a:gd name="connsiteX61" fmla="*/ 6093 w 10000"/>
                  <a:gd name="connsiteY61" fmla="*/ 6462 h 10000"/>
                  <a:gd name="connsiteX62" fmla="*/ 9912 w 10000"/>
                  <a:gd name="connsiteY62" fmla="*/ 2894 h 10000"/>
                  <a:gd name="connsiteX63" fmla="*/ 10000 w 10000"/>
                  <a:gd name="connsiteY63" fmla="*/ 2637 h 10000"/>
                  <a:gd name="connsiteX64" fmla="*/ 9957 w 10000"/>
                  <a:gd name="connsiteY64" fmla="*/ 2572 h 10000"/>
                  <a:gd name="connsiteX65" fmla="*/ 9777 w 10000"/>
                  <a:gd name="connsiteY65" fmla="*/ 2572 h 10000"/>
                  <a:gd name="connsiteX66" fmla="*/ 9644 w 10000"/>
                  <a:gd name="connsiteY66" fmla="*/ 2412 h 10000"/>
                  <a:gd name="connsiteX67" fmla="*/ 9378 w 10000"/>
                  <a:gd name="connsiteY67" fmla="*/ 2347 h 10000"/>
                  <a:gd name="connsiteX68" fmla="*/ 9244 w 10000"/>
                  <a:gd name="connsiteY68" fmla="*/ 2219 h 10000"/>
                  <a:gd name="connsiteX69" fmla="*/ 9157 w 10000"/>
                  <a:gd name="connsiteY69" fmla="*/ 1736 h 10000"/>
                  <a:gd name="connsiteX70" fmla="*/ 9157 w 10000"/>
                  <a:gd name="connsiteY70" fmla="*/ 1061 h 10000"/>
                  <a:gd name="connsiteX71" fmla="*/ 8933 w 10000"/>
                  <a:gd name="connsiteY71" fmla="*/ 836 h 10000"/>
                  <a:gd name="connsiteX72" fmla="*/ 8889 w 10000"/>
                  <a:gd name="connsiteY72" fmla="*/ 611 h 10000"/>
                  <a:gd name="connsiteX73" fmla="*/ 8534 w 10000"/>
                  <a:gd name="connsiteY73" fmla="*/ 289 h 10000"/>
                  <a:gd name="connsiteX74" fmla="*/ 8222 w 10000"/>
                  <a:gd name="connsiteY74" fmla="*/ 161 h 10000"/>
                  <a:gd name="connsiteX75" fmla="*/ 8045 w 10000"/>
                  <a:gd name="connsiteY75" fmla="*/ 0 h 10000"/>
                  <a:gd name="connsiteX76" fmla="*/ 7779 w 10000"/>
                  <a:gd name="connsiteY76" fmla="*/ 161 h 10000"/>
                  <a:gd name="connsiteX77" fmla="*/ 7600 w 10000"/>
                  <a:gd name="connsiteY77" fmla="*/ 129 h 10000"/>
                  <a:gd name="connsiteX78" fmla="*/ 7466 w 10000"/>
                  <a:gd name="connsiteY78" fmla="*/ 418 h 10000"/>
                  <a:gd name="connsiteX79" fmla="*/ 7110 w 10000"/>
                  <a:gd name="connsiteY79" fmla="*/ 482 h 10000"/>
                  <a:gd name="connsiteX80" fmla="*/ 7023 w 10000"/>
                  <a:gd name="connsiteY80" fmla="*/ 707 h 10000"/>
                  <a:gd name="connsiteX81" fmla="*/ 6711 w 10000"/>
                  <a:gd name="connsiteY81" fmla="*/ 707 h 10000"/>
                  <a:gd name="connsiteX82" fmla="*/ 6445 w 10000"/>
                  <a:gd name="connsiteY82" fmla="*/ 611 h 10000"/>
                  <a:gd name="connsiteX83" fmla="*/ 5867 w 10000"/>
                  <a:gd name="connsiteY83" fmla="*/ 611 h 10000"/>
                  <a:gd name="connsiteX84" fmla="*/ 5289 w 10000"/>
                  <a:gd name="connsiteY84" fmla="*/ 611 h 10000"/>
                  <a:gd name="connsiteX85" fmla="*/ 5333 w 10000"/>
                  <a:gd name="connsiteY85" fmla="*/ 482 h 10000"/>
                  <a:gd name="connsiteX86" fmla="*/ 5245 w 10000"/>
                  <a:gd name="connsiteY86" fmla="*/ 482 h 10000"/>
                  <a:gd name="connsiteX87" fmla="*/ 5201 w 10000"/>
                  <a:gd name="connsiteY87" fmla="*/ 611 h 10000"/>
                  <a:gd name="connsiteX88" fmla="*/ 4667 w 10000"/>
                  <a:gd name="connsiteY88" fmla="*/ 611 h 10000"/>
                  <a:gd name="connsiteX89" fmla="*/ 4134 w 10000"/>
                  <a:gd name="connsiteY89" fmla="*/ 611 h 10000"/>
                  <a:gd name="connsiteX90" fmla="*/ 3602 w 10000"/>
                  <a:gd name="connsiteY90" fmla="*/ 611 h 10000"/>
                  <a:gd name="connsiteX91" fmla="*/ 3067 w 10000"/>
                  <a:gd name="connsiteY91" fmla="*/ 611 h 10000"/>
                  <a:gd name="connsiteX92" fmla="*/ 2580 w 10000"/>
                  <a:gd name="connsiteY92" fmla="*/ 611 h 10000"/>
                  <a:gd name="connsiteX93" fmla="*/ 2046 w 10000"/>
                  <a:gd name="connsiteY93" fmla="*/ 611 h 10000"/>
                  <a:gd name="connsiteX94" fmla="*/ 1556 w 10000"/>
                  <a:gd name="connsiteY94" fmla="*/ 611 h 10000"/>
                  <a:gd name="connsiteX95" fmla="*/ 1024 w 10000"/>
                  <a:gd name="connsiteY95" fmla="*/ 611 h 10000"/>
                  <a:gd name="connsiteX96" fmla="*/ 1024 w 10000"/>
                  <a:gd name="connsiteY96" fmla="*/ 1061 h 10000"/>
                  <a:gd name="connsiteX97" fmla="*/ 1024 w 10000"/>
                  <a:gd name="connsiteY97" fmla="*/ 1640 h 10000"/>
                  <a:gd name="connsiteX98" fmla="*/ 356 w 10000"/>
                  <a:gd name="connsiteY98" fmla="*/ 1640 h 10000"/>
                  <a:gd name="connsiteX99" fmla="*/ 356 w 10000"/>
                  <a:gd name="connsiteY99" fmla="*/ 1897 h 10000"/>
                  <a:gd name="connsiteX0" fmla="*/ 356 w 10000"/>
                  <a:gd name="connsiteY0" fmla="*/ 1897 h 10000"/>
                  <a:gd name="connsiteX1" fmla="*/ 5520 w 10000"/>
                  <a:gd name="connsiteY1" fmla="*/ 6915 h 10000"/>
                  <a:gd name="connsiteX2" fmla="*/ 5155 w 10000"/>
                  <a:gd name="connsiteY2" fmla="*/ 7114 h 10000"/>
                  <a:gd name="connsiteX3" fmla="*/ 4848 w 10000"/>
                  <a:gd name="connsiteY3" fmla="*/ 6907 h 10000"/>
                  <a:gd name="connsiteX4" fmla="*/ 4403 w 10000"/>
                  <a:gd name="connsiteY4" fmla="*/ 6781 h 10000"/>
                  <a:gd name="connsiteX5" fmla="*/ 4182 w 10000"/>
                  <a:gd name="connsiteY5" fmla="*/ 7064 h 10000"/>
                  <a:gd name="connsiteX6" fmla="*/ 3635 w 10000"/>
                  <a:gd name="connsiteY6" fmla="*/ 7281 h 10000"/>
                  <a:gd name="connsiteX7" fmla="*/ 3284 w 10000"/>
                  <a:gd name="connsiteY7" fmla="*/ 7279 h 10000"/>
                  <a:gd name="connsiteX8" fmla="*/ 2517 w 10000"/>
                  <a:gd name="connsiteY8" fmla="*/ 7095 h 10000"/>
                  <a:gd name="connsiteX9" fmla="*/ 2312 w 10000"/>
                  <a:gd name="connsiteY9" fmla="*/ 7195 h 10000"/>
                  <a:gd name="connsiteX10" fmla="*/ 1800 w 10000"/>
                  <a:gd name="connsiteY10" fmla="*/ 6973 h 10000"/>
                  <a:gd name="connsiteX11" fmla="*/ 1574 w 10000"/>
                  <a:gd name="connsiteY11" fmla="*/ 6638 h 10000"/>
                  <a:gd name="connsiteX12" fmla="*/ 1198 w 10000"/>
                  <a:gd name="connsiteY12" fmla="*/ 6729 h 10000"/>
                  <a:gd name="connsiteX13" fmla="*/ 1096 w 10000"/>
                  <a:gd name="connsiteY13" fmla="*/ 6927 h 10000"/>
                  <a:gd name="connsiteX14" fmla="*/ 698 w 10000"/>
                  <a:gd name="connsiteY14" fmla="*/ 7011 h 10000"/>
                  <a:gd name="connsiteX15" fmla="*/ 436 w 10000"/>
                  <a:gd name="connsiteY15" fmla="*/ 7004 h 10000"/>
                  <a:gd name="connsiteX16" fmla="*/ 292 w 10000"/>
                  <a:gd name="connsiteY16" fmla="*/ 7161 h 10000"/>
                  <a:gd name="connsiteX17" fmla="*/ 47 w 10000"/>
                  <a:gd name="connsiteY17" fmla="*/ 6913 h 10000"/>
                  <a:gd name="connsiteX18" fmla="*/ 0 w 10000"/>
                  <a:gd name="connsiteY18" fmla="*/ 7363 h 10000"/>
                  <a:gd name="connsiteX19" fmla="*/ 89 w 10000"/>
                  <a:gd name="connsiteY19" fmla="*/ 7428 h 10000"/>
                  <a:gd name="connsiteX20" fmla="*/ 446 w 10000"/>
                  <a:gd name="connsiteY20" fmla="*/ 7460 h 10000"/>
                  <a:gd name="connsiteX21" fmla="*/ 491 w 10000"/>
                  <a:gd name="connsiteY21" fmla="*/ 7588 h 10000"/>
                  <a:gd name="connsiteX22" fmla="*/ 890 w 10000"/>
                  <a:gd name="connsiteY22" fmla="*/ 7621 h 10000"/>
                  <a:gd name="connsiteX23" fmla="*/ 1112 w 10000"/>
                  <a:gd name="connsiteY23" fmla="*/ 7749 h 10000"/>
                  <a:gd name="connsiteX24" fmla="*/ 1156 w 10000"/>
                  <a:gd name="connsiteY24" fmla="*/ 7974 h 10000"/>
                  <a:gd name="connsiteX25" fmla="*/ 1869 w 10000"/>
                  <a:gd name="connsiteY25" fmla="*/ 8360 h 10000"/>
                  <a:gd name="connsiteX26" fmla="*/ 2046 w 10000"/>
                  <a:gd name="connsiteY26" fmla="*/ 8746 h 10000"/>
                  <a:gd name="connsiteX27" fmla="*/ 2534 w 10000"/>
                  <a:gd name="connsiteY27" fmla="*/ 8939 h 10000"/>
                  <a:gd name="connsiteX28" fmla="*/ 2712 w 10000"/>
                  <a:gd name="connsiteY28" fmla="*/ 9196 h 10000"/>
                  <a:gd name="connsiteX29" fmla="*/ 3067 w 10000"/>
                  <a:gd name="connsiteY29" fmla="*/ 9518 h 10000"/>
                  <a:gd name="connsiteX30" fmla="*/ 3335 w 10000"/>
                  <a:gd name="connsiteY30" fmla="*/ 9614 h 10000"/>
                  <a:gd name="connsiteX31" fmla="*/ 3513 w 10000"/>
                  <a:gd name="connsiteY31" fmla="*/ 9518 h 10000"/>
                  <a:gd name="connsiteX32" fmla="*/ 3957 w 10000"/>
                  <a:gd name="connsiteY32" fmla="*/ 9550 h 10000"/>
                  <a:gd name="connsiteX33" fmla="*/ 4134 w 10000"/>
                  <a:gd name="connsiteY33" fmla="*/ 9486 h 10000"/>
                  <a:gd name="connsiteX34" fmla="*/ 4934 w 10000"/>
                  <a:gd name="connsiteY34" fmla="*/ 9968 h 10000"/>
                  <a:gd name="connsiteX35" fmla="*/ 4979 w 10000"/>
                  <a:gd name="connsiteY35" fmla="*/ 9968 h 10000"/>
                  <a:gd name="connsiteX36" fmla="*/ 5067 w 10000"/>
                  <a:gd name="connsiteY36" fmla="*/ 9904 h 10000"/>
                  <a:gd name="connsiteX37" fmla="*/ 5643 w 10000"/>
                  <a:gd name="connsiteY37" fmla="*/ 9904 h 10000"/>
                  <a:gd name="connsiteX38" fmla="*/ 5734 w 10000"/>
                  <a:gd name="connsiteY38" fmla="*/ 10000 h 10000"/>
                  <a:gd name="connsiteX39" fmla="*/ 6223 w 10000"/>
                  <a:gd name="connsiteY39" fmla="*/ 9871 h 10000"/>
                  <a:gd name="connsiteX40" fmla="*/ 6666 w 10000"/>
                  <a:gd name="connsiteY40" fmla="*/ 9871 h 10000"/>
                  <a:gd name="connsiteX41" fmla="*/ 6978 w 10000"/>
                  <a:gd name="connsiteY41" fmla="*/ 9743 h 10000"/>
                  <a:gd name="connsiteX42" fmla="*/ 7334 w 10000"/>
                  <a:gd name="connsiteY42" fmla="*/ 9486 h 10000"/>
                  <a:gd name="connsiteX43" fmla="*/ 8267 w 10000"/>
                  <a:gd name="connsiteY43" fmla="*/ 9486 h 10000"/>
                  <a:gd name="connsiteX44" fmla="*/ 8267 w 10000"/>
                  <a:gd name="connsiteY44" fmla="*/ 9132 h 10000"/>
                  <a:gd name="connsiteX45" fmla="*/ 7779 w 10000"/>
                  <a:gd name="connsiteY45" fmla="*/ 8971 h 10000"/>
                  <a:gd name="connsiteX46" fmla="*/ 7512 w 10000"/>
                  <a:gd name="connsiteY46" fmla="*/ 8457 h 10000"/>
                  <a:gd name="connsiteX47" fmla="*/ 7157 w 10000"/>
                  <a:gd name="connsiteY47" fmla="*/ 8264 h 10000"/>
                  <a:gd name="connsiteX48" fmla="*/ 6933 w 10000"/>
                  <a:gd name="connsiteY48" fmla="*/ 8006 h 10000"/>
                  <a:gd name="connsiteX49" fmla="*/ 6356 w 10000"/>
                  <a:gd name="connsiteY49" fmla="*/ 7814 h 10000"/>
                  <a:gd name="connsiteX50" fmla="*/ 6489 w 10000"/>
                  <a:gd name="connsiteY50" fmla="*/ 7749 h 10000"/>
                  <a:gd name="connsiteX51" fmla="*/ 6489 w 10000"/>
                  <a:gd name="connsiteY51" fmla="*/ 7588 h 10000"/>
                  <a:gd name="connsiteX52" fmla="*/ 6890 w 10000"/>
                  <a:gd name="connsiteY52" fmla="*/ 7588 h 10000"/>
                  <a:gd name="connsiteX53" fmla="*/ 7110 w 10000"/>
                  <a:gd name="connsiteY53" fmla="*/ 7460 h 10000"/>
                  <a:gd name="connsiteX54" fmla="*/ 7157 w 10000"/>
                  <a:gd name="connsiteY54" fmla="*/ 6527 h 10000"/>
                  <a:gd name="connsiteX55" fmla="*/ 7200 w 10000"/>
                  <a:gd name="connsiteY55" fmla="*/ 6559 h 10000"/>
                  <a:gd name="connsiteX56" fmla="*/ 7042 w 10000"/>
                  <a:gd name="connsiteY56" fmla="*/ 6618 h 10000"/>
                  <a:gd name="connsiteX57" fmla="*/ 6980 w 10000"/>
                  <a:gd name="connsiteY57" fmla="*/ 6745 h 10000"/>
                  <a:gd name="connsiteX58" fmla="*/ 6583 w 10000"/>
                  <a:gd name="connsiteY58" fmla="*/ 6497 h 10000"/>
                  <a:gd name="connsiteX59" fmla="*/ 6511 w 10000"/>
                  <a:gd name="connsiteY59" fmla="*/ 5828 h 10000"/>
                  <a:gd name="connsiteX60" fmla="*/ 6086 w 10000"/>
                  <a:gd name="connsiteY60" fmla="*/ 6118 h 10000"/>
                  <a:gd name="connsiteX61" fmla="*/ 6093 w 10000"/>
                  <a:gd name="connsiteY61" fmla="*/ 6462 h 10000"/>
                  <a:gd name="connsiteX62" fmla="*/ 5751 w 10000"/>
                  <a:gd name="connsiteY62" fmla="*/ 6670 h 10000"/>
                  <a:gd name="connsiteX63" fmla="*/ 10000 w 10000"/>
                  <a:gd name="connsiteY63" fmla="*/ 2637 h 10000"/>
                  <a:gd name="connsiteX64" fmla="*/ 9957 w 10000"/>
                  <a:gd name="connsiteY64" fmla="*/ 2572 h 10000"/>
                  <a:gd name="connsiteX65" fmla="*/ 9777 w 10000"/>
                  <a:gd name="connsiteY65" fmla="*/ 2572 h 10000"/>
                  <a:gd name="connsiteX66" fmla="*/ 9644 w 10000"/>
                  <a:gd name="connsiteY66" fmla="*/ 2412 h 10000"/>
                  <a:gd name="connsiteX67" fmla="*/ 9378 w 10000"/>
                  <a:gd name="connsiteY67" fmla="*/ 2347 h 10000"/>
                  <a:gd name="connsiteX68" fmla="*/ 9244 w 10000"/>
                  <a:gd name="connsiteY68" fmla="*/ 2219 h 10000"/>
                  <a:gd name="connsiteX69" fmla="*/ 9157 w 10000"/>
                  <a:gd name="connsiteY69" fmla="*/ 1736 h 10000"/>
                  <a:gd name="connsiteX70" fmla="*/ 9157 w 10000"/>
                  <a:gd name="connsiteY70" fmla="*/ 1061 h 10000"/>
                  <a:gd name="connsiteX71" fmla="*/ 8933 w 10000"/>
                  <a:gd name="connsiteY71" fmla="*/ 836 h 10000"/>
                  <a:gd name="connsiteX72" fmla="*/ 8889 w 10000"/>
                  <a:gd name="connsiteY72" fmla="*/ 611 h 10000"/>
                  <a:gd name="connsiteX73" fmla="*/ 8534 w 10000"/>
                  <a:gd name="connsiteY73" fmla="*/ 289 h 10000"/>
                  <a:gd name="connsiteX74" fmla="*/ 8222 w 10000"/>
                  <a:gd name="connsiteY74" fmla="*/ 161 h 10000"/>
                  <a:gd name="connsiteX75" fmla="*/ 8045 w 10000"/>
                  <a:gd name="connsiteY75" fmla="*/ 0 h 10000"/>
                  <a:gd name="connsiteX76" fmla="*/ 7779 w 10000"/>
                  <a:gd name="connsiteY76" fmla="*/ 161 h 10000"/>
                  <a:gd name="connsiteX77" fmla="*/ 7600 w 10000"/>
                  <a:gd name="connsiteY77" fmla="*/ 129 h 10000"/>
                  <a:gd name="connsiteX78" fmla="*/ 7466 w 10000"/>
                  <a:gd name="connsiteY78" fmla="*/ 418 h 10000"/>
                  <a:gd name="connsiteX79" fmla="*/ 7110 w 10000"/>
                  <a:gd name="connsiteY79" fmla="*/ 482 h 10000"/>
                  <a:gd name="connsiteX80" fmla="*/ 7023 w 10000"/>
                  <a:gd name="connsiteY80" fmla="*/ 707 h 10000"/>
                  <a:gd name="connsiteX81" fmla="*/ 6711 w 10000"/>
                  <a:gd name="connsiteY81" fmla="*/ 707 h 10000"/>
                  <a:gd name="connsiteX82" fmla="*/ 6445 w 10000"/>
                  <a:gd name="connsiteY82" fmla="*/ 611 h 10000"/>
                  <a:gd name="connsiteX83" fmla="*/ 5867 w 10000"/>
                  <a:gd name="connsiteY83" fmla="*/ 611 h 10000"/>
                  <a:gd name="connsiteX84" fmla="*/ 5289 w 10000"/>
                  <a:gd name="connsiteY84" fmla="*/ 611 h 10000"/>
                  <a:gd name="connsiteX85" fmla="*/ 5333 w 10000"/>
                  <a:gd name="connsiteY85" fmla="*/ 482 h 10000"/>
                  <a:gd name="connsiteX86" fmla="*/ 5245 w 10000"/>
                  <a:gd name="connsiteY86" fmla="*/ 482 h 10000"/>
                  <a:gd name="connsiteX87" fmla="*/ 5201 w 10000"/>
                  <a:gd name="connsiteY87" fmla="*/ 611 h 10000"/>
                  <a:gd name="connsiteX88" fmla="*/ 4667 w 10000"/>
                  <a:gd name="connsiteY88" fmla="*/ 611 h 10000"/>
                  <a:gd name="connsiteX89" fmla="*/ 4134 w 10000"/>
                  <a:gd name="connsiteY89" fmla="*/ 611 h 10000"/>
                  <a:gd name="connsiteX90" fmla="*/ 3602 w 10000"/>
                  <a:gd name="connsiteY90" fmla="*/ 611 h 10000"/>
                  <a:gd name="connsiteX91" fmla="*/ 3067 w 10000"/>
                  <a:gd name="connsiteY91" fmla="*/ 611 h 10000"/>
                  <a:gd name="connsiteX92" fmla="*/ 2580 w 10000"/>
                  <a:gd name="connsiteY92" fmla="*/ 611 h 10000"/>
                  <a:gd name="connsiteX93" fmla="*/ 2046 w 10000"/>
                  <a:gd name="connsiteY93" fmla="*/ 611 h 10000"/>
                  <a:gd name="connsiteX94" fmla="*/ 1556 w 10000"/>
                  <a:gd name="connsiteY94" fmla="*/ 611 h 10000"/>
                  <a:gd name="connsiteX95" fmla="*/ 1024 w 10000"/>
                  <a:gd name="connsiteY95" fmla="*/ 611 h 10000"/>
                  <a:gd name="connsiteX96" fmla="*/ 1024 w 10000"/>
                  <a:gd name="connsiteY96" fmla="*/ 1061 h 10000"/>
                  <a:gd name="connsiteX97" fmla="*/ 1024 w 10000"/>
                  <a:gd name="connsiteY97" fmla="*/ 1640 h 10000"/>
                  <a:gd name="connsiteX98" fmla="*/ 356 w 10000"/>
                  <a:gd name="connsiteY98" fmla="*/ 1640 h 10000"/>
                  <a:gd name="connsiteX99" fmla="*/ 356 w 10000"/>
                  <a:gd name="connsiteY99" fmla="*/ 1897 h 10000"/>
                  <a:gd name="connsiteX0" fmla="*/ 356 w 9957"/>
                  <a:gd name="connsiteY0" fmla="*/ 1897 h 10000"/>
                  <a:gd name="connsiteX1" fmla="*/ 5520 w 9957"/>
                  <a:gd name="connsiteY1" fmla="*/ 6915 h 10000"/>
                  <a:gd name="connsiteX2" fmla="*/ 5155 w 9957"/>
                  <a:gd name="connsiteY2" fmla="*/ 7114 h 10000"/>
                  <a:gd name="connsiteX3" fmla="*/ 4848 w 9957"/>
                  <a:gd name="connsiteY3" fmla="*/ 6907 h 10000"/>
                  <a:gd name="connsiteX4" fmla="*/ 4403 w 9957"/>
                  <a:gd name="connsiteY4" fmla="*/ 6781 h 10000"/>
                  <a:gd name="connsiteX5" fmla="*/ 4182 w 9957"/>
                  <a:gd name="connsiteY5" fmla="*/ 7064 h 10000"/>
                  <a:gd name="connsiteX6" fmla="*/ 3635 w 9957"/>
                  <a:gd name="connsiteY6" fmla="*/ 7281 h 10000"/>
                  <a:gd name="connsiteX7" fmla="*/ 3284 w 9957"/>
                  <a:gd name="connsiteY7" fmla="*/ 7279 h 10000"/>
                  <a:gd name="connsiteX8" fmla="*/ 2517 w 9957"/>
                  <a:gd name="connsiteY8" fmla="*/ 7095 h 10000"/>
                  <a:gd name="connsiteX9" fmla="*/ 2312 w 9957"/>
                  <a:gd name="connsiteY9" fmla="*/ 7195 h 10000"/>
                  <a:gd name="connsiteX10" fmla="*/ 1800 w 9957"/>
                  <a:gd name="connsiteY10" fmla="*/ 6973 h 10000"/>
                  <a:gd name="connsiteX11" fmla="*/ 1574 w 9957"/>
                  <a:gd name="connsiteY11" fmla="*/ 6638 h 10000"/>
                  <a:gd name="connsiteX12" fmla="*/ 1198 w 9957"/>
                  <a:gd name="connsiteY12" fmla="*/ 6729 h 10000"/>
                  <a:gd name="connsiteX13" fmla="*/ 1096 w 9957"/>
                  <a:gd name="connsiteY13" fmla="*/ 6927 h 10000"/>
                  <a:gd name="connsiteX14" fmla="*/ 698 w 9957"/>
                  <a:gd name="connsiteY14" fmla="*/ 7011 h 10000"/>
                  <a:gd name="connsiteX15" fmla="*/ 436 w 9957"/>
                  <a:gd name="connsiteY15" fmla="*/ 7004 h 10000"/>
                  <a:gd name="connsiteX16" fmla="*/ 292 w 9957"/>
                  <a:gd name="connsiteY16" fmla="*/ 7161 h 10000"/>
                  <a:gd name="connsiteX17" fmla="*/ 47 w 9957"/>
                  <a:gd name="connsiteY17" fmla="*/ 6913 h 10000"/>
                  <a:gd name="connsiteX18" fmla="*/ 0 w 9957"/>
                  <a:gd name="connsiteY18" fmla="*/ 7363 h 10000"/>
                  <a:gd name="connsiteX19" fmla="*/ 89 w 9957"/>
                  <a:gd name="connsiteY19" fmla="*/ 7428 h 10000"/>
                  <a:gd name="connsiteX20" fmla="*/ 446 w 9957"/>
                  <a:gd name="connsiteY20" fmla="*/ 7460 h 10000"/>
                  <a:gd name="connsiteX21" fmla="*/ 491 w 9957"/>
                  <a:gd name="connsiteY21" fmla="*/ 7588 h 10000"/>
                  <a:gd name="connsiteX22" fmla="*/ 890 w 9957"/>
                  <a:gd name="connsiteY22" fmla="*/ 7621 h 10000"/>
                  <a:gd name="connsiteX23" fmla="*/ 1112 w 9957"/>
                  <a:gd name="connsiteY23" fmla="*/ 7749 h 10000"/>
                  <a:gd name="connsiteX24" fmla="*/ 1156 w 9957"/>
                  <a:gd name="connsiteY24" fmla="*/ 7974 h 10000"/>
                  <a:gd name="connsiteX25" fmla="*/ 1869 w 9957"/>
                  <a:gd name="connsiteY25" fmla="*/ 8360 h 10000"/>
                  <a:gd name="connsiteX26" fmla="*/ 2046 w 9957"/>
                  <a:gd name="connsiteY26" fmla="*/ 8746 h 10000"/>
                  <a:gd name="connsiteX27" fmla="*/ 2534 w 9957"/>
                  <a:gd name="connsiteY27" fmla="*/ 8939 h 10000"/>
                  <a:gd name="connsiteX28" fmla="*/ 2712 w 9957"/>
                  <a:gd name="connsiteY28" fmla="*/ 9196 h 10000"/>
                  <a:gd name="connsiteX29" fmla="*/ 3067 w 9957"/>
                  <a:gd name="connsiteY29" fmla="*/ 9518 h 10000"/>
                  <a:gd name="connsiteX30" fmla="*/ 3335 w 9957"/>
                  <a:gd name="connsiteY30" fmla="*/ 9614 h 10000"/>
                  <a:gd name="connsiteX31" fmla="*/ 3513 w 9957"/>
                  <a:gd name="connsiteY31" fmla="*/ 9518 h 10000"/>
                  <a:gd name="connsiteX32" fmla="*/ 3957 w 9957"/>
                  <a:gd name="connsiteY32" fmla="*/ 9550 h 10000"/>
                  <a:gd name="connsiteX33" fmla="*/ 4134 w 9957"/>
                  <a:gd name="connsiteY33" fmla="*/ 9486 h 10000"/>
                  <a:gd name="connsiteX34" fmla="*/ 4934 w 9957"/>
                  <a:gd name="connsiteY34" fmla="*/ 9968 h 10000"/>
                  <a:gd name="connsiteX35" fmla="*/ 4979 w 9957"/>
                  <a:gd name="connsiteY35" fmla="*/ 9968 h 10000"/>
                  <a:gd name="connsiteX36" fmla="*/ 5067 w 9957"/>
                  <a:gd name="connsiteY36" fmla="*/ 9904 h 10000"/>
                  <a:gd name="connsiteX37" fmla="*/ 5643 w 9957"/>
                  <a:gd name="connsiteY37" fmla="*/ 9904 h 10000"/>
                  <a:gd name="connsiteX38" fmla="*/ 5734 w 9957"/>
                  <a:gd name="connsiteY38" fmla="*/ 10000 h 10000"/>
                  <a:gd name="connsiteX39" fmla="*/ 6223 w 9957"/>
                  <a:gd name="connsiteY39" fmla="*/ 9871 h 10000"/>
                  <a:gd name="connsiteX40" fmla="*/ 6666 w 9957"/>
                  <a:gd name="connsiteY40" fmla="*/ 9871 h 10000"/>
                  <a:gd name="connsiteX41" fmla="*/ 6978 w 9957"/>
                  <a:gd name="connsiteY41" fmla="*/ 9743 h 10000"/>
                  <a:gd name="connsiteX42" fmla="*/ 7334 w 9957"/>
                  <a:gd name="connsiteY42" fmla="*/ 9486 h 10000"/>
                  <a:gd name="connsiteX43" fmla="*/ 8267 w 9957"/>
                  <a:gd name="connsiteY43" fmla="*/ 9486 h 10000"/>
                  <a:gd name="connsiteX44" fmla="*/ 8267 w 9957"/>
                  <a:gd name="connsiteY44" fmla="*/ 9132 h 10000"/>
                  <a:gd name="connsiteX45" fmla="*/ 7779 w 9957"/>
                  <a:gd name="connsiteY45" fmla="*/ 8971 h 10000"/>
                  <a:gd name="connsiteX46" fmla="*/ 7512 w 9957"/>
                  <a:gd name="connsiteY46" fmla="*/ 8457 h 10000"/>
                  <a:gd name="connsiteX47" fmla="*/ 7157 w 9957"/>
                  <a:gd name="connsiteY47" fmla="*/ 8264 h 10000"/>
                  <a:gd name="connsiteX48" fmla="*/ 6933 w 9957"/>
                  <a:gd name="connsiteY48" fmla="*/ 8006 h 10000"/>
                  <a:gd name="connsiteX49" fmla="*/ 6356 w 9957"/>
                  <a:gd name="connsiteY49" fmla="*/ 7814 h 10000"/>
                  <a:gd name="connsiteX50" fmla="*/ 6489 w 9957"/>
                  <a:gd name="connsiteY50" fmla="*/ 7749 h 10000"/>
                  <a:gd name="connsiteX51" fmla="*/ 6489 w 9957"/>
                  <a:gd name="connsiteY51" fmla="*/ 7588 h 10000"/>
                  <a:gd name="connsiteX52" fmla="*/ 6890 w 9957"/>
                  <a:gd name="connsiteY52" fmla="*/ 7588 h 10000"/>
                  <a:gd name="connsiteX53" fmla="*/ 7110 w 9957"/>
                  <a:gd name="connsiteY53" fmla="*/ 7460 h 10000"/>
                  <a:gd name="connsiteX54" fmla="*/ 7157 w 9957"/>
                  <a:gd name="connsiteY54" fmla="*/ 6527 h 10000"/>
                  <a:gd name="connsiteX55" fmla="*/ 7200 w 9957"/>
                  <a:gd name="connsiteY55" fmla="*/ 6559 h 10000"/>
                  <a:gd name="connsiteX56" fmla="*/ 7042 w 9957"/>
                  <a:gd name="connsiteY56" fmla="*/ 6618 h 10000"/>
                  <a:gd name="connsiteX57" fmla="*/ 6980 w 9957"/>
                  <a:gd name="connsiteY57" fmla="*/ 6745 h 10000"/>
                  <a:gd name="connsiteX58" fmla="*/ 6583 w 9957"/>
                  <a:gd name="connsiteY58" fmla="*/ 6497 h 10000"/>
                  <a:gd name="connsiteX59" fmla="*/ 6511 w 9957"/>
                  <a:gd name="connsiteY59" fmla="*/ 5828 h 10000"/>
                  <a:gd name="connsiteX60" fmla="*/ 6086 w 9957"/>
                  <a:gd name="connsiteY60" fmla="*/ 6118 h 10000"/>
                  <a:gd name="connsiteX61" fmla="*/ 6093 w 9957"/>
                  <a:gd name="connsiteY61" fmla="*/ 6462 h 10000"/>
                  <a:gd name="connsiteX62" fmla="*/ 5751 w 9957"/>
                  <a:gd name="connsiteY62" fmla="*/ 6670 h 10000"/>
                  <a:gd name="connsiteX63" fmla="*/ 9957 w 9957"/>
                  <a:gd name="connsiteY63" fmla="*/ 2572 h 10000"/>
                  <a:gd name="connsiteX64" fmla="*/ 9777 w 9957"/>
                  <a:gd name="connsiteY64" fmla="*/ 2572 h 10000"/>
                  <a:gd name="connsiteX65" fmla="*/ 9644 w 9957"/>
                  <a:gd name="connsiteY65" fmla="*/ 2412 h 10000"/>
                  <a:gd name="connsiteX66" fmla="*/ 9378 w 9957"/>
                  <a:gd name="connsiteY66" fmla="*/ 2347 h 10000"/>
                  <a:gd name="connsiteX67" fmla="*/ 9244 w 9957"/>
                  <a:gd name="connsiteY67" fmla="*/ 2219 h 10000"/>
                  <a:gd name="connsiteX68" fmla="*/ 9157 w 9957"/>
                  <a:gd name="connsiteY68" fmla="*/ 1736 h 10000"/>
                  <a:gd name="connsiteX69" fmla="*/ 9157 w 9957"/>
                  <a:gd name="connsiteY69" fmla="*/ 1061 h 10000"/>
                  <a:gd name="connsiteX70" fmla="*/ 8933 w 9957"/>
                  <a:gd name="connsiteY70" fmla="*/ 836 h 10000"/>
                  <a:gd name="connsiteX71" fmla="*/ 8889 w 9957"/>
                  <a:gd name="connsiteY71" fmla="*/ 611 h 10000"/>
                  <a:gd name="connsiteX72" fmla="*/ 8534 w 9957"/>
                  <a:gd name="connsiteY72" fmla="*/ 289 h 10000"/>
                  <a:gd name="connsiteX73" fmla="*/ 8222 w 9957"/>
                  <a:gd name="connsiteY73" fmla="*/ 161 h 10000"/>
                  <a:gd name="connsiteX74" fmla="*/ 8045 w 9957"/>
                  <a:gd name="connsiteY74" fmla="*/ 0 h 10000"/>
                  <a:gd name="connsiteX75" fmla="*/ 7779 w 9957"/>
                  <a:gd name="connsiteY75" fmla="*/ 161 h 10000"/>
                  <a:gd name="connsiteX76" fmla="*/ 7600 w 9957"/>
                  <a:gd name="connsiteY76" fmla="*/ 129 h 10000"/>
                  <a:gd name="connsiteX77" fmla="*/ 7466 w 9957"/>
                  <a:gd name="connsiteY77" fmla="*/ 418 h 10000"/>
                  <a:gd name="connsiteX78" fmla="*/ 7110 w 9957"/>
                  <a:gd name="connsiteY78" fmla="*/ 482 h 10000"/>
                  <a:gd name="connsiteX79" fmla="*/ 7023 w 9957"/>
                  <a:gd name="connsiteY79" fmla="*/ 707 h 10000"/>
                  <a:gd name="connsiteX80" fmla="*/ 6711 w 9957"/>
                  <a:gd name="connsiteY80" fmla="*/ 707 h 10000"/>
                  <a:gd name="connsiteX81" fmla="*/ 6445 w 9957"/>
                  <a:gd name="connsiteY81" fmla="*/ 611 h 10000"/>
                  <a:gd name="connsiteX82" fmla="*/ 5867 w 9957"/>
                  <a:gd name="connsiteY82" fmla="*/ 611 h 10000"/>
                  <a:gd name="connsiteX83" fmla="*/ 5289 w 9957"/>
                  <a:gd name="connsiteY83" fmla="*/ 611 h 10000"/>
                  <a:gd name="connsiteX84" fmla="*/ 5333 w 9957"/>
                  <a:gd name="connsiteY84" fmla="*/ 482 h 10000"/>
                  <a:gd name="connsiteX85" fmla="*/ 5245 w 9957"/>
                  <a:gd name="connsiteY85" fmla="*/ 482 h 10000"/>
                  <a:gd name="connsiteX86" fmla="*/ 5201 w 9957"/>
                  <a:gd name="connsiteY86" fmla="*/ 611 h 10000"/>
                  <a:gd name="connsiteX87" fmla="*/ 4667 w 9957"/>
                  <a:gd name="connsiteY87" fmla="*/ 611 h 10000"/>
                  <a:gd name="connsiteX88" fmla="*/ 4134 w 9957"/>
                  <a:gd name="connsiteY88" fmla="*/ 611 h 10000"/>
                  <a:gd name="connsiteX89" fmla="*/ 3602 w 9957"/>
                  <a:gd name="connsiteY89" fmla="*/ 611 h 10000"/>
                  <a:gd name="connsiteX90" fmla="*/ 3067 w 9957"/>
                  <a:gd name="connsiteY90" fmla="*/ 611 h 10000"/>
                  <a:gd name="connsiteX91" fmla="*/ 2580 w 9957"/>
                  <a:gd name="connsiteY91" fmla="*/ 611 h 10000"/>
                  <a:gd name="connsiteX92" fmla="*/ 2046 w 9957"/>
                  <a:gd name="connsiteY92" fmla="*/ 611 h 10000"/>
                  <a:gd name="connsiteX93" fmla="*/ 1556 w 9957"/>
                  <a:gd name="connsiteY93" fmla="*/ 611 h 10000"/>
                  <a:gd name="connsiteX94" fmla="*/ 1024 w 9957"/>
                  <a:gd name="connsiteY94" fmla="*/ 611 h 10000"/>
                  <a:gd name="connsiteX95" fmla="*/ 1024 w 9957"/>
                  <a:gd name="connsiteY95" fmla="*/ 1061 h 10000"/>
                  <a:gd name="connsiteX96" fmla="*/ 1024 w 9957"/>
                  <a:gd name="connsiteY96" fmla="*/ 1640 h 10000"/>
                  <a:gd name="connsiteX97" fmla="*/ 356 w 9957"/>
                  <a:gd name="connsiteY97" fmla="*/ 1640 h 10000"/>
                  <a:gd name="connsiteX98" fmla="*/ 356 w 9957"/>
                  <a:gd name="connsiteY98" fmla="*/ 1897 h 10000"/>
                  <a:gd name="connsiteX0" fmla="*/ 358 w 9819"/>
                  <a:gd name="connsiteY0" fmla="*/ 1897 h 10000"/>
                  <a:gd name="connsiteX1" fmla="*/ 5544 w 9819"/>
                  <a:gd name="connsiteY1" fmla="*/ 6915 h 10000"/>
                  <a:gd name="connsiteX2" fmla="*/ 5177 w 9819"/>
                  <a:gd name="connsiteY2" fmla="*/ 7114 h 10000"/>
                  <a:gd name="connsiteX3" fmla="*/ 4869 w 9819"/>
                  <a:gd name="connsiteY3" fmla="*/ 6907 h 10000"/>
                  <a:gd name="connsiteX4" fmla="*/ 4422 w 9819"/>
                  <a:gd name="connsiteY4" fmla="*/ 6781 h 10000"/>
                  <a:gd name="connsiteX5" fmla="*/ 4200 w 9819"/>
                  <a:gd name="connsiteY5" fmla="*/ 7064 h 10000"/>
                  <a:gd name="connsiteX6" fmla="*/ 3651 w 9819"/>
                  <a:gd name="connsiteY6" fmla="*/ 7281 h 10000"/>
                  <a:gd name="connsiteX7" fmla="*/ 3298 w 9819"/>
                  <a:gd name="connsiteY7" fmla="*/ 7279 h 10000"/>
                  <a:gd name="connsiteX8" fmla="*/ 2528 w 9819"/>
                  <a:gd name="connsiteY8" fmla="*/ 7095 h 10000"/>
                  <a:gd name="connsiteX9" fmla="*/ 2322 w 9819"/>
                  <a:gd name="connsiteY9" fmla="*/ 7195 h 10000"/>
                  <a:gd name="connsiteX10" fmla="*/ 1808 w 9819"/>
                  <a:gd name="connsiteY10" fmla="*/ 6973 h 10000"/>
                  <a:gd name="connsiteX11" fmla="*/ 1581 w 9819"/>
                  <a:gd name="connsiteY11" fmla="*/ 6638 h 10000"/>
                  <a:gd name="connsiteX12" fmla="*/ 1203 w 9819"/>
                  <a:gd name="connsiteY12" fmla="*/ 6729 h 10000"/>
                  <a:gd name="connsiteX13" fmla="*/ 1101 w 9819"/>
                  <a:gd name="connsiteY13" fmla="*/ 6927 h 10000"/>
                  <a:gd name="connsiteX14" fmla="*/ 701 w 9819"/>
                  <a:gd name="connsiteY14" fmla="*/ 7011 h 10000"/>
                  <a:gd name="connsiteX15" fmla="*/ 438 w 9819"/>
                  <a:gd name="connsiteY15" fmla="*/ 7004 h 10000"/>
                  <a:gd name="connsiteX16" fmla="*/ 293 w 9819"/>
                  <a:gd name="connsiteY16" fmla="*/ 7161 h 10000"/>
                  <a:gd name="connsiteX17" fmla="*/ 47 w 9819"/>
                  <a:gd name="connsiteY17" fmla="*/ 6913 h 10000"/>
                  <a:gd name="connsiteX18" fmla="*/ 0 w 9819"/>
                  <a:gd name="connsiteY18" fmla="*/ 7363 h 10000"/>
                  <a:gd name="connsiteX19" fmla="*/ 89 w 9819"/>
                  <a:gd name="connsiteY19" fmla="*/ 7428 h 10000"/>
                  <a:gd name="connsiteX20" fmla="*/ 448 w 9819"/>
                  <a:gd name="connsiteY20" fmla="*/ 7460 h 10000"/>
                  <a:gd name="connsiteX21" fmla="*/ 493 w 9819"/>
                  <a:gd name="connsiteY21" fmla="*/ 7588 h 10000"/>
                  <a:gd name="connsiteX22" fmla="*/ 894 w 9819"/>
                  <a:gd name="connsiteY22" fmla="*/ 7621 h 10000"/>
                  <a:gd name="connsiteX23" fmla="*/ 1117 w 9819"/>
                  <a:gd name="connsiteY23" fmla="*/ 7749 h 10000"/>
                  <a:gd name="connsiteX24" fmla="*/ 1161 w 9819"/>
                  <a:gd name="connsiteY24" fmla="*/ 7974 h 10000"/>
                  <a:gd name="connsiteX25" fmla="*/ 1877 w 9819"/>
                  <a:gd name="connsiteY25" fmla="*/ 8360 h 10000"/>
                  <a:gd name="connsiteX26" fmla="*/ 2055 w 9819"/>
                  <a:gd name="connsiteY26" fmla="*/ 8746 h 10000"/>
                  <a:gd name="connsiteX27" fmla="*/ 2545 w 9819"/>
                  <a:gd name="connsiteY27" fmla="*/ 8939 h 10000"/>
                  <a:gd name="connsiteX28" fmla="*/ 2724 w 9819"/>
                  <a:gd name="connsiteY28" fmla="*/ 9196 h 10000"/>
                  <a:gd name="connsiteX29" fmla="*/ 3080 w 9819"/>
                  <a:gd name="connsiteY29" fmla="*/ 9518 h 10000"/>
                  <a:gd name="connsiteX30" fmla="*/ 3349 w 9819"/>
                  <a:gd name="connsiteY30" fmla="*/ 9614 h 10000"/>
                  <a:gd name="connsiteX31" fmla="*/ 3528 w 9819"/>
                  <a:gd name="connsiteY31" fmla="*/ 9518 h 10000"/>
                  <a:gd name="connsiteX32" fmla="*/ 3974 w 9819"/>
                  <a:gd name="connsiteY32" fmla="*/ 9550 h 10000"/>
                  <a:gd name="connsiteX33" fmla="*/ 4152 w 9819"/>
                  <a:gd name="connsiteY33" fmla="*/ 9486 h 10000"/>
                  <a:gd name="connsiteX34" fmla="*/ 4955 w 9819"/>
                  <a:gd name="connsiteY34" fmla="*/ 9968 h 10000"/>
                  <a:gd name="connsiteX35" fmla="*/ 5001 w 9819"/>
                  <a:gd name="connsiteY35" fmla="*/ 9968 h 10000"/>
                  <a:gd name="connsiteX36" fmla="*/ 5089 w 9819"/>
                  <a:gd name="connsiteY36" fmla="*/ 9904 h 10000"/>
                  <a:gd name="connsiteX37" fmla="*/ 5667 w 9819"/>
                  <a:gd name="connsiteY37" fmla="*/ 9904 h 10000"/>
                  <a:gd name="connsiteX38" fmla="*/ 5759 w 9819"/>
                  <a:gd name="connsiteY38" fmla="*/ 10000 h 10000"/>
                  <a:gd name="connsiteX39" fmla="*/ 6250 w 9819"/>
                  <a:gd name="connsiteY39" fmla="*/ 9871 h 10000"/>
                  <a:gd name="connsiteX40" fmla="*/ 6695 w 9819"/>
                  <a:gd name="connsiteY40" fmla="*/ 9871 h 10000"/>
                  <a:gd name="connsiteX41" fmla="*/ 7008 w 9819"/>
                  <a:gd name="connsiteY41" fmla="*/ 9743 h 10000"/>
                  <a:gd name="connsiteX42" fmla="*/ 7366 w 9819"/>
                  <a:gd name="connsiteY42" fmla="*/ 9486 h 10000"/>
                  <a:gd name="connsiteX43" fmla="*/ 8303 w 9819"/>
                  <a:gd name="connsiteY43" fmla="*/ 9486 h 10000"/>
                  <a:gd name="connsiteX44" fmla="*/ 8303 w 9819"/>
                  <a:gd name="connsiteY44" fmla="*/ 9132 h 10000"/>
                  <a:gd name="connsiteX45" fmla="*/ 7813 w 9819"/>
                  <a:gd name="connsiteY45" fmla="*/ 8971 h 10000"/>
                  <a:gd name="connsiteX46" fmla="*/ 7544 w 9819"/>
                  <a:gd name="connsiteY46" fmla="*/ 8457 h 10000"/>
                  <a:gd name="connsiteX47" fmla="*/ 7188 w 9819"/>
                  <a:gd name="connsiteY47" fmla="*/ 8264 h 10000"/>
                  <a:gd name="connsiteX48" fmla="*/ 6963 w 9819"/>
                  <a:gd name="connsiteY48" fmla="*/ 8006 h 10000"/>
                  <a:gd name="connsiteX49" fmla="*/ 6383 w 9819"/>
                  <a:gd name="connsiteY49" fmla="*/ 7814 h 10000"/>
                  <a:gd name="connsiteX50" fmla="*/ 6517 w 9819"/>
                  <a:gd name="connsiteY50" fmla="*/ 7749 h 10000"/>
                  <a:gd name="connsiteX51" fmla="*/ 6517 w 9819"/>
                  <a:gd name="connsiteY51" fmla="*/ 7588 h 10000"/>
                  <a:gd name="connsiteX52" fmla="*/ 6920 w 9819"/>
                  <a:gd name="connsiteY52" fmla="*/ 7588 h 10000"/>
                  <a:gd name="connsiteX53" fmla="*/ 7141 w 9819"/>
                  <a:gd name="connsiteY53" fmla="*/ 7460 h 10000"/>
                  <a:gd name="connsiteX54" fmla="*/ 7188 w 9819"/>
                  <a:gd name="connsiteY54" fmla="*/ 6527 h 10000"/>
                  <a:gd name="connsiteX55" fmla="*/ 7231 w 9819"/>
                  <a:gd name="connsiteY55" fmla="*/ 6559 h 10000"/>
                  <a:gd name="connsiteX56" fmla="*/ 7072 w 9819"/>
                  <a:gd name="connsiteY56" fmla="*/ 6618 h 10000"/>
                  <a:gd name="connsiteX57" fmla="*/ 7010 w 9819"/>
                  <a:gd name="connsiteY57" fmla="*/ 6745 h 10000"/>
                  <a:gd name="connsiteX58" fmla="*/ 6611 w 9819"/>
                  <a:gd name="connsiteY58" fmla="*/ 6497 h 10000"/>
                  <a:gd name="connsiteX59" fmla="*/ 6539 w 9819"/>
                  <a:gd name="connsiteY59" fmla="*/ 5828 h 10000"/>
                  <a:gd name="connsiteX60" fmla="*/ 6112 w 9819"/>
                  <a:gd name="connsiteY60" fmla="*/ 6118 h 10000"/>
                  <a:gd name="connsiteX61" fmla="*/ 6119 w 9819"/>
                  <a:gd name="connsiteY61" fmla="*/ 6462 h 10000"/>
                  <a:gd name="connsiteX62" fmla="*/ 5776 w 9819"/>
                  <a:gd name="connsiteY62" fmla="*/ 6670 h 10000"/>
                  <a:gd name="connsiteX63" fmla="*/ 9819 w 9819"/>
                  <a:gd name="connsiteY63" fmla="*/ 2572 h 10000"/>
                  <a:gd name="connsiteX64" fmla="*/ 9686 w 9819"/>
                  <a:gd name="connsiteY64" fmla="*/ 2412 h 10000"/>
                  <a:gd name="connsiteX65" fmla="*/ 9418 w 9819"/>
                  <a:gd name="connsiteY65" fmla="*/ 2347 h 10000"/>
                  <a:gd name="connsiteX66" fmla="*/ 9284 w 9819"/>
                  <a:gd name="connsiteY66" fmla="*/ 2219 h 10000"/>
                  <a:gd name="connsiteX67" fmla="*/ 9197 w 9819"/>
                  <a:gd name="connsiteY67" fmla="*/ 1736 h 10000"/>
                  <a:gd name="connsiteX68" fmla="*/ 9197 w 9819"/>
                  <a:gd name="connsiteY68" fmla="*/ 1061 h 10000"/>
                  <a:gd name="connsiteX69" fmla="*/ 8972 w 9819"/>
                  <a:gd name="connsiteY69" fmla="*/ 836 h 10000"/>
                  <a:gd name="connsiteX70" fmla="*/ 8927 w 9819"/>
                  <a:gd name="connsiteY70" fmla="*/ 611 h 10000"/>
                  <a:gd name="connsiteX71" fmla="*/ 8571 w 9819"/>
                  <a:gd name="connsiteY71" fmla="*/ 289 h 10000"/>
                  <a:gd name="connsiteX72" fmla="*/ 8258 w 9819"/>
                  <a:gd name="connsiteY72" fmla="*/ 161 h 10000"/>
                  <a:gd name="connsiteX73" fmla="*/ 8080 w 9819"/>
                  <a:gd name="connsiteY73" fmla="*/ 0 h 10000"/>
                  <a:gd name="connsiteX74" fmla="*/ 7813 w 9819"/>
                  <a:gd name="connsiteY74" fmla="*/ 161 h 10000"/>
                  <a:gd name="connsiteX75" fmla="*/ 7633 w 9819"/>
                  <a:gd name="connsiteY75" fmla="*/ 129 h 10000"/>
                  <a:gd name="connsiteX76" fmla="*/ 7498 w 9819"/>
                  <a:gd name="connsiteY76" fmla="*/ 418 h 10000"/>
                  <a:gd name="connsiteX77" fmla="*/ 7141 w 9819"/>
                  <a:gd name="connsiteY77" fmla="*/ 482 h 10000"/>
                  <a:gd name="connsiteX78" fmla="*/ 7053 w 9819"/>
                  <a:gd name="connsiteY78" fmla="*/ 707 h 10000"/>
                  <a:gd name="connsiteX79" fmla="*/ 6740 w 9819"/>
                  <a:gd name="connsiteY79" fmla="*/ 707 h 10000"/>
                  <a:gd name="connsiteX80" fmla="*/ 6473 w 9819"/>
                  <a:gd name="connsiteY80" fmla="*/ 611 h 10000"/>
                  <a:gd name="connsiteX81" fmla="*/ 5892 w 9819"/>
                  <a:gd name="connsiteY81" fmla="*/ 611 h 10000"/>
                  <a:gd name="connsiteX82" fmla="*/ 5312 w 9819"/>
                  <a:gd name="connsiteY82" fmla="*/ 611 h 10000"/>
                  <a:gd name="connsiteX83" fmla="*/ 5356 w 9819"/>
                  <a:gd name="connsiteY83" fmla="*/ 482 h 10000"/>
                  <a:gd name="connsiteX84" fmla="*/ 5268 w 9819"/>
                  <a:gd name="connsiteY84" fmla="*/ 482 h 10000"/>
                  <a:gd name="connsiteX85" fmla="*/ 5223 w 9819"/>
                  <a:gd name="connsiteY85" fmla="*/ 611 h 10000"/>
                  <a:gd name="connsiteX86" fmla="*/ 4687 w 9819"/>
                  <a:gd name="connsiteY86" fmla="*/ 611 h 10000"/>
                  <a:gd name="connsiteX87" fmla="*/ 4152 w 9819"/>
                  <a:gd name="connsiteY87" fmla="*/ 611 h 10000"/>
                  <a:gd name="connsiteX88" fmla="*/ 3618 w 9819"/>
                  <a:gd name="connsiteY88" fmla="*/ 611 h 10000"/>
                  <a:gd name="connsiteX89" fmla="*/ 3080 w 9819"/>
                  <a:gd name="connsiteY89" fmla="*/ 611 h 10000"/>
                  <a:gd name="connsiteX90" fmla="*/ 2591 w 9819"/>
                  <a:gd name="connsiteY90" fmla="*/ 611 h 10000"/>
                  <a:gd name="connsiteX91" fmla="*/ 2055 w 9819"/>
                  <a:gd name="connsiteY91" fmla="*/ 611 h 10000"/>
                  <a:gd name="connsiteX92" fmla="*/ 1563 w 9819"/>
                  <a:gd name="connsiteY92" fmla="*/ 611 h 10000"/>
                  <a:gd name="connsiteX93" fmla="*/ 1028 w 9819"/>
                  <a:gd name="connsiteY93" fmla="*/ 611 h 10000"/>
                  <a:gd name="connsiteX94" fmla="*/ 1028 w 9819"/>
                  <a:gd name="connsiteY94" fmla="*/ 1061 h 10000"/>
                  <a:gd name="connsiteX95" fmla="*/ 1028 w 9819"/>
                  <a:gd name="connsiteY95" fmla="*/ 1640 h 10000"/>
                  <a:gd name="connsiteX96" fmla="*/ 358 w 9819"/>
                  <a:gd name="connsiteY96" fmla="*/ 1640 h 10000"/>
                  <a:gd name="connsiteX97" fmla="*/ 358 w 9819"/>
                  <a:gd name="connsiteY97" fmla="*/ 1897 h 10000"/>
                  <a:gd name="connsiteX0" fmla="*/ 365 w 9865"/>
                  <a:gd name="connsiteY0" fmla="*/ 1897 h 10000"/>
                  <a:gd name="connsiteX1" fmla="*/ 5646 w 9865"/>
                  <a:gd name="connsiteY1" fmla="*/ 6915 h 10000"/>
                  <a:gd name="connsiteX2" fmla="*/ 5272 w 9865"/>
                  <a:gd name="connsiteY2" fmla="*/ 7114 h 10000"/>
                  <a:gd name="connsiteX3" fmla="*/ 4959 w 9865"/>
                  <a:gd name="connsiteY3" fmla="*/ 6907 h 10000"/>
                  <a:gd name="connsiteX4" fmla="*/ 4504 w 9865"/>
                  <a:gd name="connsiteY4" fmla="*/ 6781 h 10000"/>
                  <a:gd name="connsiteX5" fmla="*/ 4277 w 9865"/>
                  <a:gd name="connsiteY5" fmla="*/ 7064 h 10000"/>
                  <a:gd name="connsiteX6" fmla="*/ 3718 w 9865"/>
                  <a:gd name="connsiteY6" fmla="*/ 7281 h 10000"/>
                  <a:gd name="connsiteX7" fmla="*/ 3359 w 9865"/>
                  <a:gd name="connsiteY7" fmla="*/ 7279 h 10000"/>
                  <a:gd name="connsiteX8" fmla="*/ 2575 w 9865"/>
                  <a:gd name="connsiteY8" fmla="*/ 7095 h 10000"/>
                  <a:gd name="connsiteX9" fmla="*/ 2365 w 9865"/>
                  <a:gd name="connsiteY9" fmla="*/ 7195 h 10000"/>
                  <a:gd name="connsiteX10" fmla="*/ 1841 w 9865"/>
                  <a:gd name="connsiteY10" fmla="*/ 6973 h 10000"/>
                  <a:gd name="connsiteX11" fmla="*/ 1610 w 9865"/>
                  <a:gd name="connsiteY11" fmla="*/ 6638 h 10000"/>
                  <a:gd name="connsiteX12" fmla="*/ 1225 w 9865"/>
                  <a:gd name="connsiteY12" fmla="*/ 6729 h 10000"/>
                  <a:gd name="connsiteX13" fmla="*/ 1121 w 9865"/>
                  <a:gd name="connsiteY13" fmla="*/ 6927 h 10000"/>
                  <a:gd name="connsiteX14" fmla="*/ 714 w 9865"/>
                  <a:gd name="connsiteY14" fmla="*/ 7011 h 10000"/>
                  <a:gd name="connsiteX15" fmla="*/ 446 w 9865"/>
                  <a:gd name="connsiteY15" fmla="*/ 7004 h 10000"/>
                  <a:gd name="connsiteX16" fmla="*/ 298 w 9865"/>
                  <a:gd name="connsiteY16" fmla="*/ 7161 h 10000"/>
                  <a:gd name="connsiteX17" fmla="*/ 48 w 9865"/>
                  <a:gd name="connsiteY17" fmla="*/ 6913 h 10000"/>
                  <a:gd name="connsiteX18" fmla="*/ 0 w 9865"/>
                  <a:gd name="connsiteY18" fmla="*/ 7363 h 10000"/>
                  <a:gd name="connsiteX19" fmla="*/ 91 w 9865"/>
                  <a:gd name="connsiteY19" fmla="*/ 7428 h 10000"/>
                  <a:gd name="connsiteX20" fmla="*/ 456 w 9865"/>
                  <a:gd name="connsiteY20" fmla="*/ 7460 h 10000"/>
                  <a:gd name="connsiteX21" fmla="*/ 502 w 9865"/>
                  <a:gd name="connsiteY21" fmla="*/ 7588 h 10000"/>
                  <a:gd name="connsiteX22" fmla="*/ 910 w 9865"/>
                  <a:gd name="connsiteY22" fmla="*/ 7621 h 10000"/>
                  <a:gd name="connsiteX23" fmla="*/ 1138 w 9865"/>
                  <a:gd name="connsiteY23" fmla="*/ 7749 h 10000"/>
                  <a:gd name="connsiteX24" fmla="*/ 1182 w 9865"/>
                  <a:gd name="connsiteY24" fmla="*/ 7974 h 10000"/>
                  <a:gd name="connsiteX25" fmla="*/ 1912 w 9865"/>
                  <a:gd name="connsiteY25" fmla="*/ 8360 h 10000"/>
                  <a:gd name="connsiteX26" fmla="*/ 2093 w 9865"/>
                  <a:gd name="connsiteY26" fmla="*/ 8746 h 10000"/>
                  <a:gd name="connsiteX27" fmla="*/ 2592 w 9865"/>
                  <a:gd name="connsiteY27" fmla="*/ 8939 h 10000"/>
                  <a:gd name="connsiteX28" fmla="*/ 2774 w 9865"/>
                  <a:gd name="connsiteY28" fmla="*/ 9196 h 10000"/>
                  <a:gd name="connsiteX29" fmla="*/ 3137 w 9865"/>
                  <a:gd name="connsiteY29" fmla="*/ 9518 h 10000"/>
                  <a:gd name="connsiteX30" fmla="*/ 3411 w 9865"/>
                  <a:gd name="connsiteY30" fmla="*/ 9614 h 10000"/>
                  <a:gd name="connsiteX31" fmla="*/ 3593 w 9865"/>
                  <a:gd name="connsiteY31" fmla="*/ 9518 h 10000"/>
                  <a:gd name="connsiteX32" fmla="*/ 4047 w 9865"/>
                  <a:gd name="connsiteY32" fmla="*/ 9550 h 10000"/>
                  <a:gd name="connsiteX33" fmla="*/ 4229 w 9865"/>
                  <a:gd name="connsiteY33" fmla="*/ 9486 h 10000"/>
                  <a:gd name="connsiteX34" fmla="*/ 5046 w 9865"/>
                  <a:gd name="connsiteY34" fmla="*/ 9968 h 10000"/>
                  <a:gd name="connsiteX35" fmla="*/ 5093 w 9865"/>
                  <a:gd name="connsiteY35" fmla="*/ 9968 h 10000"/>
                  <a:gd name="connsiteX36" fmla="*/ 5183 w 9865"/>
                  <a:gd name="connsiteY36" fmla="*/ 9904 h 10000"/>
                  <a:gd name="connsiteX37" fmla="*/ 5771 w 9865"/>
                  <a:gd name="connsiteY37" fmla="*/ 9904 h 10000"/>
                  <a:gd name="connsiteX38" fmla="*/ 5865 w 9865"/>
                  <a:gd name="connsiteY38" fmla="*/ 10000 h 10000"/>
                  <a:gd name="connsiteX39" fmla="*/ 6365 w 9865"/>
                  <a:gd name="connsiteY39" fmla="*/ 9871 h 10000"/>
                  <a:gd name="connsiteX40" fmla="*/ 6818 w 9865"/>
                  <a:gd name="connsiteY40" fmla="*/ 9871 h 10000"/>
                  <a:gd name="connsiteX41" fmla="*/ 7137 w 9865"/>
                  <a:gd name="connsiteY41" fmla="*/ 9743 h 10000"/>
                  <a:gd name="connsiteX42" fmla="*/ 7502 w 9865"/>
                  <a:gd name="connsiteY42" fmla="*/ 9486 h 10000"/>
                  <a:gd name="connsiteX43" fmla="*/ 8456 w 9865"/>
                  <a:gd name="connsiteY43" fmla="*/ 9486 h 10000"/>
                  <a:gd name="connsiteX44" fmla="*/ 8456 w 9865"/>
                  <a:gd name="connsiteY44" fmla="*/ 9132 h 10000"/>
                  <a:gd name="connsiteX45" fmla="*/ 7957 w 9865"/>
                  <a:gd name="connsiteY45" fmla="*/ 8971 h 10000"/>
                  <a:gd name="connsiteX46" fmla="*/ 7683 w 9865"/>
                  <a:gd name="connsiteY46" fmla="*/ 8457 h 10000"/>
                  <a:gd name="connsiteX47" fmla="*/ 7321 w 9865"/>
                  <a:gd name="connsiteY47" fmla="*/ 8264 h 10000"/>
                  <a:gd name="connsiteX48" fmla="*/ 7091 w 9865"/>
                  <a:gd name="connsiteY48" fmla="*/ 8006 h 10000"/>
                  <a:gd name="connsiteX49" fmla="*/ 6501 w 9865"/>
                  <a:gd name="connsiteY49" fmla="*/ 7814 h 10000"/>
                  <a:gd name="connsiteX50" fmla="*/ 6637 w 9865"/>
                  <a:gd name="connsiteY50" fmla="*/ 7749 h 10000"/>
                  <a:gd name="connsiteX51" fmla="*/ 6637 w 9865"/>
                  <a:gd name="connsiteY51" fmla="*/ 7588 h 10000"/>
                  <a:gd name="connsiteX52" fmla="*/ 7048 w 9865"/>
                  <a:gd name="connsiteY52" fmla="*/ 7588 h 10000"/>
                  <a:gd name="connsiteX53" fmla="*/ 7273 w 9865"/>
                  <a:gd name="connsiteY53" fmla="*/ 7460 h 10000"/>
                  <a:gd name="connsiteX54" fmla="*/ 7321 w 9865"/>
                  <a:gd name="connsiteY54" fmla="*/ 6527 h 10000"/>
                  <a:gd name="connsiteX55" fmla="*/ 7364 w 9865"/>
                  <a:gd name="connsiteY55" fmla="*/ 6559 h 10000"/>
                  <a:gd name="connsiteX56" fmla="*/ 7202 w 9865"/>
                  <a:gd name="connsiteY56" fmla="*/ 6618 h 10000"/>
                  <a:gd name="connsiteX57" fmla="*/ 7139 w 9865"/>
                  <a:gd name="connsiteY57" fmla="*/ 6745 h 10000"/>
                  <a:gd name="connsiteX58" fmla="*/ 6733 w 9865"/>
                  <a:gd name="connsiteY58" fmla="*/ 6497 h 10000"/>
                  <a:gd name="connsiteX59" fmla="*/ 6660 w 9865"/>
                  <a:gd name="connsiteY59" fmla="*/ 5828 h 10000"/>
                  <a:gd name="connsiteX60" fmla="*/ 6225 w 9865"/>
                  <a:gd name="connsiteY60" fmla="*/ 6118 h 10000"/>
                  <a:gd name="connsiteX61" fmla="*/ 6232 w 9865"/>
                  <a:gd name="connsiteY61" fmla="*/ 6462 h 10000"/>
                  <a:gd name="connsiteX62" fmla="*/ 5882 w 9865"/>
                  <a:gd name="connsiteY62" fmla="*/ 6670 h 10000"/>
                  <a:gd name="connsiteX63" fmla="*/ 9865 w 9865"/>
                  <a:gd name="connsiteY63" fmla="*/ 2412 h 10000"/>
                  <a:gd name="connsiteX64" fmla="*/ 9592 w 9865"/>
                  <a:gd name="connsiteY64" fmla="*/ 2347 h 10000"/>
                  <a:gd name="connsiteX65" fmla="*/ 9455 w 9865"/>
                  <a:gd name="connsiteY65" fmla="*/ 2219 h 10000"/>
                  <a:gd name="connsiteX66" fmla="*/ 9367 w 9865"/>
                  <a:gd name="connsiteY66" fmla="*/ 1736 h 10000"/>
                  <a:gd name="connsiteX67" fmla="*/ 9367 w 9865"/>
                  <a:gd name="connsiteY67" fmla="*/ 1061 h 10000"/>
                  <a:gd name="connsiteX68" fmla="*/ 9137 w 9865"/>
                  <a:gd name="connsiteY68" fmla="*/ 836 h 10000"/>
                  <a:gd name="connsiteX69" fmla="*/ 9092 w 9865"/>
                  <a:gd name="connsiteY69" fmla="*/ 611 h 10000"/>
                  <a:gd name="connsiteX70" fmla="*/ 8729 w 9865"/>
                  <a:gd name="connsiteY70" fmla="*/ 289 h 10000"/>
                  <a:gd name="connsiteX71" fmla="*/ 8410 w 9865"/>
                  <a:gd name="connsiteY71" fmla="*/ 161 h 10000"/>
                  <a:gd name="connsiteX72" fmla="*/ 8229 w 9865"/>
                  <a:gd name="connsiteY72" fmla="*/ 0 h 10000"/>
                  <a:gd name="connsiteX73" fmla="*/ 7957 w 9865"/>
                  <a:gd name="connsiteY73" fmla="*/ 161 h 10000"/>
                  <a:gd name="connsiteX74" fmla="*/ 7774 w 9865"/>
                  <a:gd name="connsiteY74" fmla="*/ 129 h 10000"/>
                  <a:gd name="connsiteX75" fmla="*/ 7636 w 9865"/>
                  <a:gd name="connsiteY75" fmla="*/ 418 h 10000"/>
                  <a:gd name="connsiteX76" fmla="*/ 7273 w 9865"/>
                  <a:gd name="connsiteY76" fmla="*/ 482 h 10000"/>
                  <a:gd name="connsiteX77" fmla="*/ 7183 w 9865"/>
                  <a:gd name="connsiteY77" fmla="*/ 707 h 10000"/>
                  <a:gd name="connsiteX78" fmla="*/ 6864 w 9865"/>
                  <a:gd name="connsiteY78" fmla="*/ 707 h 10000"/>
                  <a:gd name="connsiteX79" fmla="*/ 6592 w 9865"/>
                  <a:gd name="connsiteY79" fmla="*/ 611 h 10000"/>
                  <a:gd name="connsiteX80" fmla="*/ 6001 w 9865"/>
                  <a:gd name="connsiteY80" fmla="*/ 611 h 10000"/>
                  <a:gd name="connsiteX81" fmla="*/ 5410 w 9865"/>
                  <a:gd name="connsiteY81" fmla="*/ 611 h 10000"/>
                  <a:gd name="connsiteX82" fmla="*/ 5455 w 9865"/>
                  <a:gd name="connsiteY82" fmla="*/ 482 h 10000"/>
                  <a:gd name="connsiteX83" fmla="*/ 5365 w 9865"/>
                  <a:gd name="connsiteY83" fmla="*/ 482 h 10000"/>
                  <a:gd name="connsiteX84" fmla="*/ 5319 w 9865"/>
                  <a:gd name="connsiteY84" fmla="*/ 611 h 10000"/>
                  <a:gd name="connsiteX85" fmla="*/ 4773 w 9865"/>
                  <a:gd name="connsiteY85" fmla="*/ 611 h 10000"/>
                  <a:gd name="connsiteX86" fmla="*/ 4229 w 9865"/>
                  <a:gd name="connsiteY86" fmla="*/ 611 h 10000"/>
                  <a:gd name="connsiteX87" fmla="*/ 3685 w 9865"/>
                  <a:gd name="connsiteY87" fmla="*/ 611 h 10000"/>
                  <a:gd name="connsiteX88" fmla="*/ 3137 w 9865"/>
                  <a:gd name="connsiteY88" fmla="*/ 611 h 10000"/>
                  <a:gd name="connsiteX89" fmla="*/ 2639 w 9865"/>
                  <a:gd name="connsiteY89" fmla="*/ 611 h 10000"/>
                  <a:gd name="connsiteX90" fmla="*/ 2093 w 9865"/>
                  <a:gd name="connsiteY90" fmla="*/ 611 h 10000"/>
                  <a:gd name="connsiteX91" fmla="*/ 1592 w 9865"/>
                  <a:gd name="connsiteY91" fmla="*/ 611 h 10000"/>
                  <a:gd name="connsiteX92" fmla="*/ 1047 w 9865"/>
                  <a:gd name="connsiteY92" fmla="*/ 611 h 10000"/>
                  <a:gd name="connsiteX93" fmla="*/ 1047 w 9865"/>
                  <a:gd name="connsiteY93" fmla="*/ 1061 h 10000"/>
                  <a:gd name="connsiteX94" fmla="*/ 1047 w 9865"/>
                  <a:gd name="connsiteY94" fmla="*/ 1640 h 10000"/>
                  <a:gd name="connsiteX95" fmla="*/ 365 w 9865"/>
                  <a:gd name="connsiteY95" fmla="*/ 1640 h 10000"/>
                  <a:gd name="connsiteX96" fmla="*/ 365 w 9865"/>
                  <a:gd name="connsiteY96" fmla="*/ 1897 h 10000"/>
                  <a:gd name="connsiteX0" fmla="*/ 370 w 9723"/>
                  <a:gd name="connsiteY0" fmla="*/ 1897 h 10000"/>
                  <a:gd name="connsiteX1" fmla="*/ 5723 w 9723"/>
                  <a:gd name="connsiteY1" fmla="*/ 6915 h 10000"/>
                  <a:gd name="connsiteX2" fmla="*/ 5344 w 9723"/>
                  <a:gd name="connsiteY2" fmla="*/ 7114 h 10000"/>
                  <a:gd name="connsiteX3" fmla="*/ 5027 w 9723"/>
                  <a:gd name="connsiteY3" fmla="*/ 6907 h 10000"/>
                  <a:gd name="connsiteX4" fmla="*/ 4566 w 9723"/>
                  <a:gd name="connsiteY4" fmla="*/ 6781 h 10000"/>
                  <a:gd name="connsiteX5" fmla="*/ 4336 w 9723"/>
                  <a:gd name="connsiteY5" fmla="*/ 7064 h 10000"/>
                  <a:gd name="connsiteX6" fmla="*/ 3769 w 9723"/>
                  <a:gd name="connsiteY6" fmla="*/ 7281 h 10000"/>
                  <a:gd name="connsiteX7" fmla="*/ 3405 w 9723"/>
                  <a:gd name="connsiteY7" fmla="*/ 7279 h 10000"/>
                  <a:gd name="connsiteX8" fmla="*/ 2610 w 9723"/>
                  <a:gd name="connsiteY8" fmla="*/ 7095 h 10000"/>
                  <a:gd name="connsiteX9" fmla="*/ 2397 w 9723"/>
                  <a:gd name="connsiteY9" fmla="*/ 7195 h 10000"/>
                  <a:gd name="connsiteX10" fmla="*/ 1866 w 9723"/>
                  <a:gd name="connsiteY10" fmla="*/ 6973 h 10000"/>
                  <a:gd name="connsiteX11" fmla="*/ 1632 w 9723"/>
                  <a:gd name="connsiteY11" fmla="*/ 6638 h 10000"/>
                  <a:gd name="connsiteX12" fmla="*/ 1242 w 9723"/>
                  <a:gd name="connsiteY12" fmla="*/ 6729 h 10000"/>
                  <a:gd name="connsiteX13" fmla="*/ 1136 w 9723"/>
                  <a:gd name="connsiteY13" fmla="*/ 6927 h 10000"/>
                  <a:gd name="connsiteX14" fmla="*/ 724 w 9723"/>
                  <a:gd name="connsiteY14" fmla="*/ 7011 h 10000"/>
                  <a:gd name="connsiteX15" fmla="*/ 452 w 9723"/>
                  <a:gd name="connsiteY15" fmla="*/ 7004 h 10000"/>
                  <a:gd name="connsiteX16" fmla="*/ 302 w 9723"/>
                  <a:gd name="connsiteY16" fmla="*/ 7161 h 10000"/>
                  <a:gd name="connsiteX17" fmla="*/ 49 w 9723"/>
                  <a:gd name="connsiteY17" fmla="*/ 6913 h 10000"/>
                  <a:gd name="connsiteX18" fmla="*/ 0 w 9723"/>
                  <a:gd name="connsiteY18" fmla="*/ 7363 h 10000"/>
                  <a:gd name="connsiteX19" fmla="*/ 92 w 9723"/>
                  <a:gd name="connsiteY19" fmla="*/ 7428 h 10000"/>
                  <a:gd name="connsiteX20" fmla="*/ 462 w 9723"/>
                  <a:gd name="connsiteY20" fmla="*/ 7460 h 10000"/>
                  <a:gd name="connsiteX21" fmla="*/ 509 w 9723"/>
                  <a:gd name="connsiteY21" fmla="*/ 7588 h 10000"/>
                  <a:gd name="connsiteX22" fmla="*/ 922 w 9723"/>
                  <a:gd name="connsiteY22" fmla="*/ 7621 h 10000"/>
                  <a:gd name="connsiteX23" fmla="*/ 1154 w 9723"/>
                  <a:gd name="connsiteY23" fmla="*/ 7749 h 10000"/>
                  <a:gd name="connsiteX24" fmla="*/ 1198 w 9723"/>
                  <a:gd name="connsiteY24" fmla="*/ 7974 h 10000"/>
                  <a:gd name="connsiteX25" fmla="*/ 1938 w 9723"/>
                  <a:gd name="connsiteY25" fmla="*/ 8360 h 10000"/>
                  <a:gd name="connsiteX26" fmla="*/ 2122 w 9723"/>
                  <a:gd name="connsiteY26" fmla="*/ 8746 h 10000"/>
                  <a:gd name="connsiteX27" fmla="*/ 2627 w 9723"/>
                  <a:gd name="connsiteY27" fmla="*/ 8939 h 10000"/>
                  <a:gd name="connsiteX28" fmla="*/ 2812 w 9723"/>
                  <a:gd name="connsiteY28" fmla="*/ 9196 h 10000"/>
                  <a:gd name="connsiteX29" fmla="*/ 3180 w 9723"/>
                  <a:gd name="connsiteY29" fmla="*/ 9518 h 10000"/>
                  <a:gd name="connsiteX30" fmla="*/ 3458 w 9723"/>
                  <a:gd name="connsiteY30" fmla="*/ 9614 h 10000"/>
                  <a:gd name="connsiteX31" fmla="*/ 3642 w 9723"/>
                  <a:gd name="connsiteY31" fmla="*/ 9518 h 10000"/>
                  <a:gd name="connsiteX32" fmla="*/ 4102 w 9723"/>
                  <a:gd name="connsiteY32" fmla="*/ 9550 h 10000"/>
                  <a:gd name="connsiteX33" fmla="*/ 4287 w 9723"/>
                  <a:gd name="connsiteY33" fmla="*/ 9486 h 10000"/>
                  <a:gd name="connsiteX34" fmla="*/ 5115 w 9723"/>
                  <a:gd name="connsiteY34" fmla="*/ 9968 h 10000"/>
                  <a:gd name="connsiteX35" fmla="*/ 5163 w 9723"/>
                  <a:gd name="connsiteY35" fmla="*/ 9968 h 10000"/>
                  <a:gd name="connsiteX36" fmla="*/ 5254 w 9723"/>
                  <a:gd name="connsiteY36" fmla="*/ 9904 h 10000"/>
                  <a:gd name="connsiteX37" fmla="*/ 5850 w 9723"/>
                  <a:gd name="connsiteY37" fmla="*/ 9904 h 10000"/>
                  <a:gd name="connsiteX38" fmla="*/ 5945 w 9723"/>
                  <a:gd name="connsiteY38" fmla="*/ 10000 h 10000"/>
                  <a:gd name="connsiteX39" fmla="*/ 6452 w 9723"/>
                  <a:gd name="connsiteY39" fmla="*/ 9871 h 10000"/>
                  <a:gd name="connsiteX40" fmla="*/ 6911 w 9723"/>
                  <a:gd name="connsiteY40" fmla="*/ 9871 h 10000"/>
                  <a:gd name="connsiteX41" fmla="*/ 7235 w 9723"/>
                  <a:gd name="connsiteY41" fmla="*/ 9743 h 10000"/>
                  <a:gd name="connsiteX42" fmla="*/ 7605 w 9723"/>
                  <a:gd name="connsiteY42" fmla="*/ 9486 h 10000"/>
                  <a:gd name="connsiteX43" fmla="*/ 8572 w 9723"/>
                  <a:gd name="connsiteY43" fmla="*/ 9486 h 10000"/>
                  <a:gd name="connsiteX44" fmla="*/ 8572 w 9723"/>
                  <a:gd name="connsiteY44" fmla="*/ 9132 h 10000"/>
                  <a:gd name="connsiteX45" fmla="*/ 8066 w 9723"/>
                  <a:gd name="connsiteY45" fmla="*/ 8971 h 10000"/>
                  <a:gd name="connsiteX46" fmla="*/ 7788 w 9723"/>
                  <a:gd name="connsiteY46" fmla="*/ 8457 h 10000"/>
                  <a:gd name="connsiteX47" fmla="*/ 7421 w 9723"/>
                  <a:gd name="connsiteY47" fmla="*/ 8264 h 10000"/>
                  <a:gd name="connsiteX48" fmla="*/ 7188 w 9723"/>
                  <a:gd name="connsiteY48" fmla="*/ 8006 h 10000"/>
                  <a:gd name="connsiteX49" fmla="*/ 6590 w 9723"/>
                  <a:gd name="connsiteY49" fmla="*/ 7814 h 10000"/>
                  <a:gd name="connsiteX50" fmla="*/ 6728 w 9723"/>
                  <a:gd name="connsiteY50" fmla="*/ 7749 h 10000"/>
                  <a:gd name="connsiteX51" fmla="*/ 6728 w 9723"/>
                  <a:gd name="connsiteY51" fmla="*/ 7588 h 10000"/>
                  <a:gd name="connsiteX52" fmla="*/ 7144 w 9723"/>
                  <a:gd name="connsiteY52" fmla="*/ 7588 h 10000"/>
                  <a:gd name="connsiteX53" fmla="*/ 7373 w 9723"/>
                  <a:gd name="connsiteY53" fmla="*/ 7460 h 10000"/>
                  <a:gd name="connsiteX54" fmla="*/ 7421 w 9723"/>
                  <a:gd name="connsiteY54" fmla="*/ 6527 h 10000"/>
                  <a:gd name="connsiteX55" fmla="*/ 7465 w 9723"/>
                  <a:gd name="connsiteY55" fmla="*/ 6559 h 10000"/>
                  <a:gd name="connsiteX56" fmla="*/ 7301 w 9723"/>
                  <a:gd name="connsiteY56" fmla="*/ 6618 h 10000"/>
                  <a:gd name="connsiteX57" fmla="*/ 7237 w 9723"/>
                  <a:gd name="connsiteY57" fmla="*/ 6745 h 10000"/>
                  <a:gd name="connsiteX58" fmla="*/ 6825 w 9723"/>
                  <a:gd name="connsiteY58" fmla="*/ 6497 h 10000"/>
                  <a:gd name="connsiteX59" fmla="*/ 6751 w 9723"/>
                  <a:gd name="connsiteY59" fmla="*/ 5828 h 10000"/>
                  <a:gd name="connsiteX60" fmla="*/ 6310 w 9723"/>
                  <a:gd name="connsiteY60" fmla="*/ 6118 h 10000"/>
                  <a:gd name="connsiteX61" fmla="*/ 6317 w 9723"/>
                  <a:gd name="connsiteY61" fmla="*/ 6462 h 10000"/>
                  <a:gd name="connsiteX62" fmla="*/ 5962 w 9723"/>
                  <a:gd name="connsiteY62" fmla="*/ 6670 h 10000"/>
                  <a:gd name="connsiteX63" fmla="*/ 9723 w 9723"/>
                  <a:gd name="connsiteY63" fmla="*/ 2347 h 10000"/>
                  <a:gd name="connsiteX64" fmla="*/ 9584 w 9723"/>
                  <a:gd name="connsiteY64" fmla="*/ 2219 h 10000"/>
                  <a:gd name="connsiteX65" fmla="*/ 9495 w 9723"/>
                  <a:gd name="connsiteY65" fmla="*/ 1736 h 10000"/>
                  <a:gd name="connsiteX66" fmla="*/ 9495 w 9723"/>
                  <a:gd name="connsiteY66" fmla="*/ 1061 h 10000"/>
                  <a:gd name="connsiteX67" fmla="*/ 9262 w 9723"/>
                  <a:gd name="connsiteY67" fmla="*/ 836 h 10000"/>
                  <a:gd name="connsiteX68" fmla="*/ 9216 w 9723"/>
                  <a:gd name="connsiteY68" fmla="*/ 611 h 10000"/>
                  <a:gd name="connsiteX69" fmla="*/ 8848 w 9723"/>
                  <a:gd name="connsiteY69" fmla="*/ 289 h 10000"/>
                  <a:gd name="connsiteX70" fmla="*/ 8525 w 9723"/>
                  <a:gd name="connsiteY70" fmla="*/ 161 h 10000"/>
                  <a:gd name="connsiteX71" fmla="*/ 8342 w 9723"/>
                  <a:gd name="connsiteY71" fmla="*/ 0 h 10000"/>
                  <a:gd name="connsiteX72" fmla="*/ 8066 w 9723"/>
                  <a:gd name="connsiteY72" fmla="*/ 161 h 10000"/>
                  <a:gd name="connsiteX73" fmla="*/ 7880 w 9723"/>
                  <a:gd name="connsiteY73" fmla="*/ 129 h 10000"/>
                  <a:gd name="connsiteX74" fmla="*/ 7740 w 9723"/>
                  <a:gd name="connsiteY74" fmla="*/ 418 h 10000"/>
                  <a:gd name="connsiteX75" fmla="*/ 7373 w 9723"/>
                  <a:gd name="connsiteY75" fmla="*/ 482 h 10000"/>
                  <a:gd name="connsiteX76" fmla="*/ 7281 w 9723"/>
                  <a:gd name="connsiteY76" fmla="*/ 707 h 10000"/>
                  <a:gd name="connsiteX77" fmla="*/ 6958 w 9723"/>
                  <a:gd name="connsiteY77" fmla="*/ 707 h 10000"/>
                  <a:gd name="connsiteX78" fmla="*/ 6682 w 9723"/>
                  <a:gd name="connsiteY78" fmla="*/ 611 h 10000"/>
                  <a:gd name="connsiteX79" fmla="*/ 6083 w 9723"/>
                  <a:gd name="connsiteY79" fmla="*/ 611 h 10000"/>
                  <a:gd name="connsiteX80" fmla="*/ 5484 w 9723"/>
                  <a:gd name="connsiteY80" fmla="*/ 611 h 10000"/>
                  <a:gd name="connsiteX81" fmla="*/ 5530 w 9723"/>
                  <a:gd name="connsiteY81" fmla="*/ 482 h 10000"/>
                  <a:gd name="connsiteX82" fmla="*/ 5438 w 9723"/>
                  <a:gd name="connsiteY82" fmla="*/ 482 h 10000"/>
                  <a:gd name="connsiteX83" fmla="*/ 5392 w 9723"/>
                  <a:gd name="connsiteY83" fmla="*/ 611 h 10000"/>
                  <a:gd name="connsiteX84" fmla="*/ 4838 w 9723"/>
                  <a:gd name="connsiteY84" fmla="*/ 611 h 10000"/>
                  <a:gd name="connsiteX85" fmla="*/ 4287 w 9723"/>
                  <a:gd name="connsiteY85" fmla="*/ 611 h 10000"/>
                  <a:gd name="connsiteX86" fmla="*/ 3735 w 9723"/>
                  <a:gd name="connsiteY86" fmla="*/ 611 h 10000"/>
                  <a:gd name="connsiteX87" fmla="*/ 3180 w 9723"/>
                  <a:gd name="connsiteY87" fmla="*/ 611 h 10000"/>
                  <a:gd name="connsiteX88" fmla="*/ 2675 w 9723"/>
                  <a:gd name="connsiteY88" fmla="*/ 611 h 10000"/>
                  <a:gd name="connsiteX89" fmla="*/ 2122 w 9723"/>
                  <a:gd name="connsiteY89" fmla="*/ 611 h 10000"/>
                  <a:gd name="connsiteX90" fmla="*/ 1614 w 9723"/>
                  <a:gd name="connsiteY90" fmla="*/ 611 h 10000"/>
                  <a:gd name="connsiteX91" fmla="*/ 1061 w 9723"/>
                  <a:gd name="connsiteY91" fmla="*/ 611 h 10000"/>
                  <a:gd name="connsiteX92" fmla="*/ 1061 w 9723"/>
                  <a:gd name="connsiteY92" fmla="*/ 1061 h 10000"/>
                  <a:gd name="connsiteX93" fmla="*/ 1061 w 9723"/>
                  <a:gd name="connsiteY93" fmla="*/ 1640 h 10000"/>
                  <a:gd name="connsiteX94" fmla="*/ 370 w 9723"/>
                  <a:gd name="connsiteY94" fmla="*/ 1640 h 10000"/>
                  <a:gd name="connsiteX95" fmla="*/ 370 w 9723"/>
                  <a:gd name="connsiteY95" fmla="*/ 1897 h 10000"/>
                  <a:gd name="connsiteX0" fmla="*/ 381 w 9857"/>
                  <a:gd name="connsiteY0" fmla="*/ 1897 h 10000"/>
                  <a:gd name="connsiteX1" fmla="*/ 5886 w 9857"/>
                  <a:gd name="connsiteY1" fmla="*/ 6915 h 10000"/>
                  <a:gd name="connsiteX2" fmla="*/ 5496 w 9857"/>
                  <a:gd name="connsiteY2" fmla="*/ 7114 h 10000"/>
                  <a:gd name="connsiteX3" fmla="*/ 5170 w 9857"/>
                  <a:gd name="connsiteY3" fmla="*/ 6907 h 10000"/>
                  <a:gd name="connsiteX4" fmla="*/ 4696 w 9857"/>
                  <a:gd name="connsiteY4" fmla="*/ 6781 h 10000"/>
                  <a:gd name="connsiteX5" fmla="*/ 4460 w 9857"/>
                  <a:gd name="connsiteY5" fmla="*/ 7064 h 10000"/>
                  <a:gd name="connsiteX6" fmla="*/ 3876 w 9857"/>
                  <a:gd name="connsiteY6" fmla="*/ 7281 h 10000"/>
                  <a:gd name="connsiteX7" fmla="*/ 3502 w 9857"/>
                  <a:gd name="connsiteY7" fmla="*/ 7279 h 10000"/>
                  <a:gd name="connsiteX8" fmla="*/ 2684 w 9857"/>
                  <a:gd name="connsiteY8" fmla="*/ 7095 h 10000"/>
                  <a:gd name="connsiteX9" fmla="*/ 2465 w 9857"/>
                  <a:gd name="connsiteY9" fmla="*/ 7195 h 10000"/>
                  <a:gd name="connsiteX10" fmla="*/ 1919 w 9857"/>
                  <a:gd name="connsiteY10" fmla="*/ 6973 h 10000"/>
                  <a:gd name="connsiteX11" fmla="*/ 1678 w 9857"/>
                  <a:gd name="connsiteY11" fmla="*/ 6638 h 10000"/>
                  <a:gd name="connsiteX12" fmla="*/ 1277 w 9857"/>
                  <a:gd name="connsiteY12" fmla="*/ 6729 h 10000"/>
                  <a:gd name="connsiteX13" fmla="*/ 1168 w 9857"/>
                  <a:gd name="connsiteY13" fmla="*/ 6927 h 10000"/>
                  <a:gd name="connsiteX14" fmla="*/ 745 w 9857"/>
                  <a:gd name="connsiteY14" fmla="*/ 7011 h 10000"/>
                  <a:gd name="connsiteX15" fmla="*/ 465 w 9857"/>
                  <a:gd name="connsiteY15" fmla="*/ 7004 h 10000"/>
                  <a:gd name="connsiteX16" fmla="*/ 311 w 9857"/>
                  <a:gd name="connsiteY16" fmla="*/ 7161 h 10000"/>
                  <a:gd name="connsiteX17" fmla="*/ 50 w 9857"/>
                  <a:gd name="connsiteY17" fmla="*/ 6913 h 10000"/>
                  <a:gd name="connsiteX18" fmla="*/ 0 w 9857"/>
                  <a:gd name="connsiteY18" fmla="*/ 7363 h 10000"/>
                  <a:gd name="connsiteX19" fmla="*/ 95 w 9857"/>
                  <a:gd name="connsiteY19" fmla="*/ 7428 h 10000"/>
                  <a:gd name="connsiteX20" fmla="*/ 475 w 9857"/>
                  <a:gd name="connsiteY20" fmla="*/ 7460 h 10000"/>
                  <a:gd name="connsiteX21" fmla="*/ 524 w 9857"/>
                  <a:gd name="connsiteY21" fmla="*/ 7588 h 10000"/>
                  <a:gd name="connsiteX22" fmla="*/ 948 w 9857"/>
                  <a:gd name="connsiteY22" fmla="*/ 7621 h 10000"/>
                  <a:gd name="connsiteX23" fmla="*/ 1187 w 9857"/>
                  <a:gd name="connsiteY23" fmla="*/ 7749 h 10000"/>
                  <a:gd name="connsiteX24" fmla="*/ 1232 w 9857"/>
                  <a:gd name="connsiteY24" fmla="*/ 7974 h 10000"/>
                  <a:gd name="connsiteX25" fmla="*/ 1993 w 9857"/>
                  <a:gd name="connsiteY25" fmla="*/ 8360 h 10000"/>
                  <a:gd name="connsiteX26" fmla="*/ 2182 w 9857"/>
                  <a:gd name="connsiteY26" fmla="*/ 8746 h 10000"/>
                  <a:gd name="connsiteX27" fmla="*/ 2702 w 9857"/>
                  <a:gd name="connsiteY27" fmla="*/ 8939 h 10000"/>
                  <a:gd name="connsiteX28" fmla="*/ 2892 w 9857"/>
                  <a:gd name="connsiteY28" fmla="*/ 9196 h 10000"/>
                  <a:gd name="connsiteX29" fmla="*/ 3271 w 9857"/>
                  <a:gd name="connsiteY29" fmla="*/ 9518 h 10000"/>
                  <a:gd name="connsiteX30" fmla="*/ 3557 w 9857"/>
                  <a:gd name="connsiteY30" fmla="*/ 9614 h 10000"/>
                  <a:gd name="connsiteX31" fmla="*/ 3746 w 9857"/>
                  <a:gd name="connsiteY31" fmla="*/ 9518 h 10000"/>
                  <a:gd name="connsiteX32" fmla="*/ 4219 w 9857"/>
                  <a:gd name="connsiteY32" fmla="*/ 9550 h 10000"/>
                  <a:gd name="connsiteX33" fmla="*/ 4409 w 9857"/>
                  <a:gd name="connsiteY33" fmla="*/ 9486 h 10000"/>
                  <a:gd name="connsiteX34" fmla="*/ 5261 w 9857"/>
                  <a:gd name="connsiteY34" fmla="*/ 9968 h 10000"/>
                  <a:gd name="connsiteX35" fmla="*/ 5310 w 9857"/>
                  <a:gd name="connsiteY35" fmla="*/ 9968 h 10000"/>
                  <a:gd name="connsiteX36" fmla="*/ 5404 w 9857"/>
                  <a:gd name="connsiteY36" fmla="*/ 9904 h 10000"/>
                  <a:gd name="connsiteX37" fmla="*/ 6017 w 9857"/>
                  <a:gd name="connsiteY37" fmla="*/ 9904 h 10000"/>
                  <a:gd name="connsiteX38" fmla="*/ 6114 w 9857"/>
                  <a:gd name="connsiteY38" fmla="*/ 10000 h 10000"/>
                  <a:gd name="connsiteX39" fmla="*/ 6636 w 9857"/>
                  <a:gd name="connsiteY39" fmla="*/ 9871 h 10000"/>
                  <a:gd name="connsiteX40" fmla="*/ 7108 w 9857"/>
                  <a:gd name="connsiteY40" fmla="*/ 9871 h 10000"/>
                  <a:gd name="connsiteX41" fmla="*/ 7441 w 9857"/>
                  <a:gd name="connsiteY41" fmla="*/ 9743 h 10000"/>
                  <a:gd name="connsiteX42" fmla="*/ 7822 w 9857"/>
                  <a:gd name="connsiteY42" fmla="*/ 9486 h 10000"/>
                  <a:gd name="connsiteX43" fmla="*/ 8816 w 9857"/>
                  <a:gd name="connsiteY43" fmla="*/ 9486 h 10000"/>
                  <a:gd name="connsiteX44" fmla="*/ 8816 w 9857"/>
                  <a:gd name="connsiteY44" fmla="*/ 9132 h 10000"/>
                  <a:gd name="connsiteX45" fmla="*/ 8296 w 9857"/>
                  <a:gd name="connsiteY45" fmla="*/ 8971 h 10000"/>
                  <a:gd name="connsiteX46" fmla="*/ 8010 w 9857"/>
                  <a:gd name="connsiteY46" fmla="*/ 8457 h 10000"/>
                  <a:gd name="connsiteX47" fmla="*/ 7632 w 9857"/>
                  <a:gd name="connsiteY47" fmla="*/ 8264 h 10000"/>
                  <a:gd name="connsiteX48" fmla="*/ 7393 w 9857"/>
                  <a:gd name="connsiteY48" fmla="*/ 8006 h 10000"/>
                  <a:gd name="connsiteX49" fmla="*/ 6778 w 9857"/>
                  <a:gd name="connsiteY49" fmla="*/ 7814 h 10000"/>
                  <a:gd name="connsiteX50" fmla="*/ 6920 w 9857"/>
                  <a:gd name="connsiteY50" fmla="*/ 7749 h 10000"/>
                  <a:gd name="connsiteX51" fmla="*/ 6920 w 9857"/>
                  <a:gd name="connsiteY51" fmla="*/ 7588 h 10000"/>
                  <a:gd name="connsiteX52" fmla="*/ 7348 w 9857"/>
                  <a:gd name="connsiteY52" fmla="*/ 7588 h 10000"/>
                  <a:gd name="connsiteX53" fmla="*/ 7583 w 9857"/>
                  <a:gd name="connsiteY53" fmla="*/ 7460 h 10000"/>
                  <a:gd name="connsiteX54" fmla="*/ 7632 w 9857"/>
                  <a:gd name="connsiteY54" fmla="*/ 6527 h 10000"/>
                  <a:gd name="connsiteX55" fmla="*/ 7678 w 9857"/>
                  <a:gd name="connsiteY55" fmla="*/ 6559 h 10000"/>
                  <a:gd name="connsiteX56" fmla="*/ 7509 w 9857"/>
                  <a:gd name="connsiteY56" fmla="*/ 6618 h 10000"/>
                  <a:gd name="connsiteX57" fmla="*/ 7443 w 9857"/>
                  <a:gd name="connsiteY57" fmla="*/ 6745 h 10000"/>
                  <a:gd name="connsiteX58" fmla="*/ 7019 w 9857"/>
                  <a:gd name="connsiteY58" fmla="*/ 6497 h 10000"/>
                  <a:gd name="connsiteX59" fmla="*/ 6943 w 9857"/>
                  <a:gd name="connsiteY59" fmla="*/ 5828 h 10000"/>
                  <a:gd name="connsiteX60" fmla="*/ 6490 w 9857"/>
                  <a:gd name="connsiteY60" fmla="*/ 6118 h 10000"/>
                  <a:gd name="connsiteX61" fmla="*/ 6497 w 9857"/>
                  <a:gd name="connsiteY61" fmla="*/ 6462 h 10000"/>
                  <a:gd name="connsiteX62" fmla="*/ 6132 w 9857"/>
                  <a:gd name="connsiteY62" fmla="*/ 6670 h 10000"/>
                  <a:gd name="connsiteX63" fmla="*/ 9857 w 9857"/>
                  <a:gd name="connsiteY63" fmla="*/ 2219 h 10000"/>
                  <a:gd name="connsiteX64" fmla="*/ 9766 w 9857"/>
                  <a:gd name="connsiteY64" fmla="*/ 1736 h 10000"/>
                  <a:gd name="connsiteX65" fmla="*/ 9766 w 9857"/>
                  <a:gd name="connsiteY65" fmla="*/ 1061 h 10000"/>
                  <a:gd name="connsiteX66" fmla="*/ 9526 w 9857"/>
                  <a:gd name="connsiteY66" fmla="*/ 836 h 10000"/>
                  <a:gd name="connsiteX67" fmla="*/ 9479 w 9857"/>
                  <a:gd name="connsiteY67" fmla="*/ 611 h 10000"/>
                  <a:gd name="connsiteX68" fmla="*/ 9100 w 9857"/>
                  <a:gd name="connsiteY68" fmla="*/ 289 h 10000"/>
                  <a:gd name="connsiteX69" fmla="*/ 8768 w 9857"/>
                  <a:gd name="connsiteY69" fmla="*/ 161 h 10000"/>
                  <a:gd name="connsiteX70" fmla="*/ 8580 w 9857"/>
                  <a:gd name="connsiteY70" fmla="*/ 0 h 10000"/>
                  <a:gd name="connsiteX71" fmla="*/ 8296 w 9857"/>
                  <a:gd name="connsiteY71" fmla="*/ 161 h 10000"/>
                  <a:gd name="connsiteX72" fmla="*/ 8104 w 9857"/>
                  <a:gd name="connsiteY72" fmla="*/ 129 h 10000"/>
                  <a:gd name="connsiteX73" fmla="*/ 7961 w 9857"/>
                  <a:gd name="connsiteY73" fmla="*/ 418 h 10000"/>
                  <a:gd name="connsiteX74" fmla="*/ 7583 w 9857"/>
                  <a:gd name="connsiteY74" fmla="*/ 482 h 10000"/>
                  <a:gd name="connsiteX75" fmla="*/ 7488 w 9857"/>
                  <a:gd name="connsiteY75" fmla="*/ 707 h 10000"/>
                  <a:gd name="connsiteX76" fmla="*/ 7156 w 9857"/>
                  <a:gd name="connsiteY76" fmla="*/ 707 h 10000"/>
                  <a:gd name="connsiteX77" fmla="*/ 6872 w 9857"/>
                  <a:gd name="connsiteY77" fmla="*/ 611 h 10000"/>
                  <a:gd name="connsiteX78" fmla="*/ 6256 w 9857"/>
                  <a:gd name="connsiteY78" fmla="*/ 611 h 10000"/>
                  <a:gd name="connsiteX79" fmla="*/ 5640 w 9857"/>
                  <a:gd name="connsiteY79" fmla="*/ 611 h 10000"/>
                  <a:gd name="connsiteX80" fmla="*/ 5688 w 9857"/>
                  <a:gd name="connsiteY80" fmla="*/ 482 h 10000"/>
                  <a:gd name="connsiteX81" fmla="*/ 5593 w 9857"/>
                  <a:gd name="connsiteY81" fmla="*/ 482 h 10000"/>
                  <a:gd name="connsiteX82" fmla="*/ 5546 w 9857"/>
                  <a:gd name="connsiteY82" fmla="*/ 611 h 10000"/>
                  <a:gd name="connsiteX83" fmla="*/ 4976 w 9857"/>
                  <a:gd name="connsiteY83" fmla="*/ 611 h 10000"/>
                  <a:gd name="connsiteX84" fmla="*/ 4409 w 9857"/>
                  <a:gd name="connsiteY84" fmla="*/ 611 h 10000"/>
                  <a:gd name="connsiteX85" fmla="*/ 3841 w 9857"/>
                  <a:gd name="connsiteY85" fmla="*/ 611 h 10000"/>
                  <a:gd name="connsiteX86" fmla="*/ 3271 w 9857"/>
                  <a:gd name="connsiteY86" fmla="*/ 611 h 10000"/>
                  <a:gd name="connsiteX87" fmla="*/ 2751 w 9857"/>
                  <a:gd name="connsiteY87" fmla="*/ 611 h 10000"/>
                  <a:gd name="connsiteX88" fmla="*/ 2182 w 9857"/>
                  <a:gd name="connsiteY88" fmla="*/ 611 h 10000"/>
                  <a:gd name="connsiteX89" fmla="*/ 1660 w 9857"/>
                  <a:gd name="connsiteY89" fmla="*/ 611 h 10000"/>
                  <a:gd name="connsiteX90" fmla="*/ 1091 w 9857"/>
                  <a:gd name="connsiteY90" fmla="*/ 611 h 10000"/>
                  <a:gd name="connsiteX91" fmla="*/ 1091 w 9857"/>
                  <a:gd name="connsiteY91" fmla="*/ 1061 h 10000"/>
                  <a:gd name="connsiteX92" fmla="*/ 1091 w 9857"/>
                  <a:gd name="connsiteY92" fmla="*/ 1640 h 10000"/>
                  <a:gd name="connsiteX93" fmla="*/ 381 w 9857"/>
                  <a:gd name="connsiteY93" fmla="*/ 1640 h 10000"/>
                  <a:gd name="connsiteX94" fmla="*/ 381 w 9857"/>
                  <a:gd name="connsiteY94" fmla="*/ 1897 h 10000"/>
                  <a:gd name="connsiteX0" fmla="*/ 387 w 9908"/>
                  <a:gd name="connsiteY0" fmla="*/ 1897 h 10000"/>
                  <a:gd name="connsiteX1" fmla="*/ 5971 w 9908"/>
                  <a:gd name="connsiteY1" fmla="*/ 6915 h 10000"/>
                  <a:gd name="connsiteX2" fmla="*/ 5576 w 9908"/>
                  <a:gd name="connsiteY2" fmla="*/ 7114 h 10000"/>
                  <a:gd name="connsiteX3" fmla="*/ 5245 w 9908"/>
                  <a:gd name="connsiteY3" fmla="*/ 6907 h 10000"/>
                  <a:gd name="connsiteX4" fmla="*/ 4764 w 9908"/>
                  <a:gd name="connsiteY4" fmla="*/ 6781 h 10000"/>
                  <a:gd name="connsiteX5" fmla="*/ 4525 w 9908"/>
                  <a:gd name="connsiteY5" fmla="*/ 7064 h 10000"/>
                  <a:gd name="connsiteX6" fmla="*/ 3932 w 9908"/>
                  <a:gd name="connsiteY6" fmla="*/ 7281 h 10000"/>
                  <a:gd name="connsiteX7" fmla="*/ 3553 w 9908"/>
                  <a:gd name="connsiteY7" fmla="*/ 7279 h 10000"/>
                  <a:gd name="connsiteX8" fmla="*/ 2723 w 9908"/>
                  <a:gd name="connsiteY8" fmla="*/ 7095 h 10000"/>
                  <a:gd name="connsiteX9" fmla="*/ 2501 w 9908"/>
                  <a:gd name="connsiteY9" fmla="*/ 7195 h 10000"/>
                  <a:gd name="connsiteX10" fmla="*/ 1947 w 9908"/>
                  <a:gd name="connsiteY10" fmla="*/ 6973 h 10000"/>
                  <a:gd name="connsiteX11" fmla="*/ 1702 w 9908"/>
                  <a:gd name="connsiteY11" fmla="*/ 6638 h 10000"/>
                  <a:gd name="connsiteX12" fmla="*/ 1296 w 9908"/>
                  <a:gd name="connsiteY12" fmla="*/ 6729 h 10000"/>
                  <a:gd name="connsiteX13" fmla="*/ 1185 w 9908"/>
                  <a:gd name="connsiteY13" fmla="*/ 6927 h 10000"/>
                  <a:gd name="connsiteX14" fmla="*/ 756 w 9908"/>
                  <a:gd name="connsiteY14" fmla="*/ 7011 h 10000"/>
                  <a:gd name="connsiteX15" fmla="*/ 472 w 9908"/>
                  <a:gd name="connsiteY15" fmla="*/ 7004 h 10000"/>
                  <a:gd name="connsiteX16" fmla="*/ 316 w 9908"/>
                  <a:gd name="connsiteY16" fmla="*/ 7161 h 10000"/>
                  <a:gd name="connsiteX17" fmla="*/ 51 w 9908"/>
                  <a:gd name="connsiteY17" fmla="*/ 6913 h 10000"/>
                  <a:gd name="connsiteX18" fmla="*/ 0 w 9908"/>
                  <a:gd name="connsiteY18" fmla="*/ 7363 h 10000"/>
                  <a:gd name="connsiteX19" fmla="*/ 96 w 9908"/>
                  <a:gd name="connsiteY19" fmla="*/ 7428 h 10000"/>
                  <a:gd name="connsiteX20" fmla="*/ 482 w 9908"/>
                  <a:gd name="connsiteY20" fmla="*/ 7460 h 10000"/>
                  <a:gd name="connsiteX21" fmla="*/ 532 w 9908"/>
                  <a:gd name="connsiteY21" fmla="*/ 7588 h 10000"/>
                  <a:gd name="connsiteX22" fmla="*/ 962 w 9908"/>
                  <a:gd name="connsiteY22" fmla="*/ 7621 h 10000"/>
                  <a:gd name="connsiteX23" fmla="*/ 1204 w 9908"/>
                  <a:gd name="connsiteY23" fmla="*/ 7749 h 10000"/>
                  <a:gd name="connsiteX24" fmla="*/ 1250 w 9908"/>
                  <a:gd name="connsiteY24" fmla="*/ 7974 h 10000"/>
                  <a:gd name="connsiteX25" fmla="*/ 2022 w 9908"/>
                  <a:gd name="connsiteY25" fmla="*/ 8360 h 10000"/>
                  <a:gd name="connsiteX26" fmla="*/ 2214 w 9908"/>
                  <a:gd name="connsiteY26" fmla="*/ 8746 h 10000"/>
                  <a:gd name="connsiteX27" fmla="*/ 2741 w 9908"/>
                  <a:gd name="connsiteY27" fmla="*/ 8939 h 10000"/>
                  <a:gd name="connsiteX28" fmla="*/ 2934 w 9908"/>
                  <a:gd name="connsiteY28" fmla="*/ 9196 h 10000"/>
                  <a:gd name="connsiteX29" fmla="*/ 3318 w 9908"/>
                  <a:gd name="connsiteY29" fmla="*/ 9518 h 10000"/>
                  <a:gd name="connsiteX30" fmla="*/ 3609 w 9908"/>
                  <a:gd name="connsiteY30" fmla="*/ 9614 h 10000"/>
                  <a:gd name="connsiteX31" fmla="*/ 3800 w 9908"/>
                  <a:gd name="connsiteY31" fmla="*/ 9518 h 10000"/>
                  <a:gd name="connsiteX32" fmla="*/ 4280 w 9908"/>
                  <a:gd name="connsiteY32" fmla="*/ 9550 h 10000"/>
                  <a:gd name="connsiteX33" fmla="*/ 4473 w 9908"/>
                  <a:gd name="connsiteY33" fmla="*/ 9486 h 10000"/>
                  <a:gd name="connsiteX34" fmla="*/ 5337 w 9908"/>
                  <a:gd name="connsiteY34" fmla="*/ 9968 h 10000"/>
                  <a:gd name="connsiteX35" fmla="*/ 5387 w 9908"/>
                  <a:gd name="connsiteY35" fmla="*/ 9968 h 10000"/>
                  <a:gd name="connsiteX36" fmla="*/ 5482 w 9908"/>
                  <a:gd name="connsiteY36" fmla="*/ 9904 h 10000"/>
                  <a:gd name="connsiteX37" fmla="*/ 6104 w 9908"/>
                  <a:gd name="connsiteY37" fmla="*/ 9904 h 10000"/>
                  <a:gd name="connsiteX38" fmla="*/ 6203 w 9908"/>
                  <a:gd name="connsiteY38" fmla="*/ 10000 h 10000"/>
                  <a:gd name="connsiteX39" fmla="*/ 6732 w 9908"/>
                  <a:gd name="connsiteY39" fmla="*/ 9871 h 10000"/>
                  <a:gd name="connsiteX40" fmla="*/ 7211 w 9908"/>
                  <a:gd name="connsiteY40" fmla="*/ 9871 h 10000"/>
                  <a:gd name="connsiteX41" fmla="*/ 7549 w 9908"/>
                  <a:gd name="connsiteY41" fmla="*/ 9743 h 10000"/>
                  <a:gd name="connsiteX42" fmla="*/ 7935 w 9908"/>
                  <a:gd name="connsiteY42" fmla="*/ 9486 h 10000"/>
                  <a:gd name="connsiteX43" fmla="*/ 8944 w 9908"/>
                  <a:gd name="connsiteY43" fmla="*/ 9486 h 10000"/>
                  <a:gd name="connsiteX44" fmla="*/ 8944 w 9908"/>
                  <a:gd name="connsiteY44" fmla="*/ 9132 h 10000"/>
                  <a:gd name="connsiteX45" fmla="*/ 8416 w 9908"/>
                  <a:gd name="connsiteY45" fmla="*/ 8971 h 10000"/>
                  <a:gd name="connsiteX46" fmla="*/ 8126 w 9908"/>
                  <a:gd name="connsiteY46" fmla="*/ 8457 h 10000"/>
                  <a:gd name="connsiteX47" fmla="*/ 7743 w 9908"/>
                  <a:gd name="connsiteY47" fmla="*/ 8264 h 10000"/>
                  <a:gd name="connsiteX48" fmla="*/ 7500 w 9908"/>
                  <a:gd name="connsiteY48" fmla="*/ 8006 h 10000"/>
                  <a:gd name="connsiteX49" fmla="*/ 6876 w 9908"/>
                  <a:gd name="connsiteY49" fmla="*/ 7814 h 10000"/>
                  <a:gd name="connsiteX50" fmla="*/ 7020 w 9908"/>
                  <a:gd name="connsiteY50" fmla="*/ 7749 h 10000"/>
                  <a:gd name="connsiteX51" fmla="*/ 7020 w 9908"/>
                  <a:gd name="connsiteY51" fmla="*/ 7588 h 10000"/>
                  <a:gd name="connsiteX52" fmla="*/ 7455 w 9908"/>
                  <a:gd name="connsiteY52" fmla="*/ 7588 h 10000"/>
                  <a:gd name="connsiteX53" fmla="*/ 7693 w 9908"/>
                  <a:gd name="connsiteY53" fmla="*/ 7460 h 10000"/>
                  <a:gd name="connsiteX54" fmla="*/ 7743 w 9908"/>
                  <a:gd name="connsiteY54" fmla="*/ 6527 h 10000"/>
                  <a:gd name="connsiteX55" fmla="*/ 7789 w 9908"/>
                  <a:gd name="connsiteY55" fmla="*/ 6559 h 10000"/>
                  <a:gd name="connsiteX56" fmla="*/ 7618 w 9908"/>
                  <a:gd name="connsiteY56" fmla="*/ 6618 h 10000"/>
                  <a:gd name="connsiteX57" fmla="*/ 7551 w 9908"/>
                  <a:gd name="connsiteY57" fmla="*/ 6745 h 10000"/>
                  <a:gd name="connsiteX58" fmla="*/ 7121 w 9908"/>
                  <a:gd name="connsiteY58" fmla="*/ 6497 h 10000"/>
                  <a:gd name="connsiteX59" fmla="*/ 7044 w 9908"/>
                  <a:gd name="connsiteY59" fmla="*/ 5828 h 10000"/>
                  <a:gd name="connsiteX60" fmla="*/ 6584 w 9908"/>
                  <a:gd name="connsiteY60" fmla="*/ 6118 h 10000"/>
                  <a:gd name="connsiteX61" fmla="*/ 6591 w 9908"/>
                  <a:gd name="connsiteY61" fmla="*/ 6462 h 10000"/>
                  <a:gd name="connsiteX62" fmla="*/ 6221 w 9908"/>
                  <a:gd name="connsiteY62" fmla="*/ 6670 h 10000"/>
                  <a:gd name="connsiteX63" fmla="*/ 9908 w 9908"/>
                  <a:gd name="connsiteY63" fmla="*/ 1736 h 10000"/>
                  <a:gd name="connsiteX64" fmla="*/ 9908 w 9908"/>
                  <a:gd name="connsiteY64" fmla="*/ 1061 h 10000"/>
                  <a:gd name="connsiteX65" fmla="*/ 9664 w 9908"/>
                  <a:gd name="connsiteY65" fmla="*/ 836 h 10000"/>
                  <a:gd name="connsiteX66" fmla="*/ 9617 w 9908"/>
                  <a:gd name="connsiteY66" fmla="*/ 611 h 10000"/>
                  <a:gd name="connsiteX67" fmla="*/ 9232 w 9908"/>
                  <a:gd name="connsiteY67" fmla="*/ 289 h 10000"/>
                  <a:gd name="connsiteX68" fmla="*/ 8895 w 9908"/>
                  <a:gd name="connsiteY68" fmla="*/ 161 h 10000"/>
                  <a:gd name="connsiteX69" fmla="*/ 8704 w 9908"/>
                  <a:gd name="connsiteY69" fmla="*/ 0 h 10000"/>
                  <a:gd name="connsiteX70" fmla="*/ 8416 w 9908"/>
                  <a:gd name="connsiteY70" fmla="*/ 161 h 10000"/>
                  <a:gd name="connsiteX71" fmla="*/ 8222 w 9908"/>
                  <a:gd name="connsiteY71" fmla="*/ 129 h 10000"/>
                  <a:gd name="connsiteX72" fmla="*/ 8076 w 9908"/>
                  <a:gd name="connsiteY72" fmla="*/ 418 h 10000"/>
                  <a:gd name="connsiteX73" fmla="*/ 7693 w 9908"/>
                  <a:gd name="connsiteY73" fmla="*/ 482 h 10000"/>
                  <a:gd name="connsiteX74" fmla="*/ 7597 w 9908"/>
                  <a:gd name="connsiteY74" fmla="*/ 707 h 10000"/>
                  <a:gd name="connsiteX75" fmla="*/ 7260 w 9908"/>
                  <a:gd name="connsiteY75" fmla="*/ 707 h 10000"/>
                  <a:gd name="connsiteX76" fmla="*/ 6972 w 9908"/>
                  <a:gd name="connsiteY76" fmla="*/ 611 h 10000"/>
                  <a:gd name="connsiteX77" fmla="*/ 6347 w 9908"/>
                  <a:gd name="connsiteY77" fmla="*/ 611 h 10000"/>
                  <a:gd name="connsiteX78" fmla="*/ 5722 w 9908"/>
                  <a:gd name="connsiteY78" fmla="*/ 611 h 10000"/>
                  <a:gd name="connsiteX79" fmla="*/ 5771 w 9908"/>
                  <a:gd name="connsiteY79" fmla="*/ 482 h 10000"/>
                  <a:gd name="connsiteX80" fmla="*/ 5674 w 9908"/>
                  <a:gd name="connsiteY80" fmla="*/ 482 h 10000"/>
                  <a:gd name="connsiteX81" fmla="*/ 5626 w 9908"/>
                  <a:gd name="connsiteY81" fmla="*/ 611 h 10000"/>
                  <a:gd name="connsiteX82" fmla="*/ 5048 w 9908"/>
                  <a:gd name="connsiteY82" fmla="*/ 611 h 10000"/>
                  <a:gd name="connsiteX83" fmla="*/ 4473 w 9908"/>
                  <a:gd name="connsiteY83" fmla="*/ 611 h 10000"/>
                  <a:gd name="connsiteX84" fmla="*/ 3897 w 9908"/>
                  <a:gd name="connsiteY84" fmla="*/ 611 h 10000"/>
                  <a:gd name="connsiteX85" fmla="*/ 3318 w 9908"/>
                  <a:gd name="connsiteY85" fmla="*/ 611 h 10000"/>
                  <a:gd name="connsiteX86" fmla="*/ 2791 w 9908"/>
                  <a:gd name="connsiteY86" fmla="*/ 611 h 10000"/>
                  <a:gd name="connsiteX87" fmla="*/ 2214 w 9908"/>
                  <a:gd name="connsiteY87" fmla="*/ 611 h 10000"/>
                  <a:gd name="connsiteX88" fmla="*/ 1684 w 9908"/>
                  <a:gd name="connsiteY88" fmla="*/ 611 h 10000"/>
                  <a:gd name="connsiteX89" fmla="*/ 1107 w 9908"/>
                  <a:gd name="connsiteY89" fmla="*/ 611 h 10000"/>
                  <a:gd name="connsiteX90" fmla="*/ 1107 w 9908"/>
                  <a:gd name="connsiteY90" fmla="*/ 1061 h 10000"/>
                  <a:gd name="connsiteX91" fmla="*/ 1107 w 9908"/>
                  <a:gd name="connsiteY91" fmla="*/ 1640 h 10000"/>
                  <a:gd name="connsiteX92" fmla="*/ 387 w 9908"/>
                  <a:gd name="connsiteY92" fmla="*/ 1640 h 10000"/>
                  <a:gd name="connsiteX93" fmla="*/ 387 w 9908"/>
                  <a:gd name="connsiteY93" fmla="*/ 1897 h 10000"/>
                  <a:gd name="connsiteX0" fmla="*/ 391 w 10000"/>
                  <a:gd name="connsiteY0" fmla="*/ 1897 h 10000"/>
                  <a:gd name="connsiteX1" fmla="*/ 6026 w 10000"/>
                  <a:gd name="connsiteY1" fmla="*/ 6915 h 10000"/>
                  <a:gd name="connsiteX2" fmla="*/ 5628 w 10000"/>
                  <a:gd name="connsiteY2" fmla="*/ 7114 h 10000"/>
                  <a:gd name="connsiteX3" fmla="*/ 5294 w 10000"/>
                  <a:gd name="connsiteY3" fmla="*/ 6907 h 10000"/>
                  <a:gd name="connsiteX4" fmla="*/ 4808 w 10000"/>
                  <a:gd name="connsiteY4" fmla="*/ 6781 h 10000"/>
                  <a:gd name="connsiteX5" fmla="*/ 4567 w 10000"/>
                  <a:gd name="connsiteY5" fmla="*/ 7064 h 10000"/>
                  <a:gd name="connsiteX6" fmla="*/ 3969 w 10000"/>
                  <a:gd name="connsiteY6" fmla="*/ 7281 h 10000"/>
                  <a:gd name="connsiteX7" fmla="*/ 3586 w 10000"/>
                  <a:gd name="connsiteY7" fmla="*/ 7279 h 10000"/>
                  <a:gd name="connsiteX8" fmla="*/ 2748 w 10000"/>
                  <a:gd name="connsiteY8" fmla="*/ 7095 h 10000"/>
                  <a:gd name="connsiteX9" fmla="*/ 2524 w 10000"/>
                  <a:gd name="connsiteY9" fmla="*/ 7195 h 10000"/>
                  <a:gd name="connsiteX10" fmla="*/ 1965 w 10000"/>
                  <a:gd name="connsiteY10" fmla="*/ 6973 h 10000"/>
                  <a:gd name="connsiteX11" fmla="*/ 1718 w 10000"/>
                  <a:gd name="connsiteY11" fmla="*/ 6638 h 10000"/>
                  <a:gd name="connsiteX12" fmla="*/ 1308 w 10000"/>
                  <a:gd name="connsiteY12" fmla="*/ 6729 h 10000"/>
                  <a:gd name="connsiteX13" fmla="*/ 1196 w 10000"/>
                  <a:gd name="connsiteY13" fmla="*/ 6927 h 10000"/>
                  <a:gd name="connsiteX14" fmla="*/ 763 w 10000"/>
                  <a:gd name="connsiteY14" fmla="*/ 7011 h 10000"/>
                  <a:gd name="connsiteX15" fmla="*/ 476 w 10000"/>
                  <a:gd name="connsiteY15" fmla="*/ 7004 h 10000"/>
                  <a:gd name="connsiteX16" fmla="*/ 319 w 10000"/>
                  <a:gd name="connsiteY16" fmla="*/ 7161 h 10000"/>
                  <a:gd name="connsiteX17" fmla="*/ 51 w 10000"/>
                  <a:gd name="connsiteY17" fmla="*/ 6913 h 10000"/>
                  <a:gd name="connsiteX18" fmla="*/ 0 w 10000"/>
                  <a:gd name="connsiteY18" fmla="*/ 7363 h 10000"/>
                  <a:gd name="connsiteX19" fmla="*/ 97 w 10000"/>
                  <a:gd name="connsiteY19" fmla="*/ 7428 h 10000"/>
                  <a:gd name="connsiteX20" fmla="*/ 486 w 10000"/>
                  <a:gd name="connsiteY20" fmla="*/ 7460 h 10000"/>
                  <a:gd name="connsiteX21" fmla="*/ 537 w 10000"/>
                  <a:gd name="connsiteY21" fmla="*/ 7588 h 10000"/>
                  <a:gd name="connsiteX22" fmla="*/ 971 w 10000"/>
                  <a:gd name="connsiteY22" fmla="*/ 7621 h 10000"/>
                  <a:gd name="connsiteX23" fmla="*/ 1215 w 10000"/>
                  <a:gd name="connsiteY23" fmla="*/ 7749 h 10000"/>
                  <a:gd name="connsiteX24" fmla="*/ 1262 w 10000"/>
                  <a:gd name="connsiteY24" fmla="*/ 7974 h 10000"/>
                  <a:gd name="connsiteX25" fmla="*/ 2041 w 10000"/>
                  <a:gd name="connsiteY25" fmla="*/ 8360 h 10000"/>
                  <a:gd name="connsiteX26" fmla="*/ 2235 w 10000"/>
                  <a:gd name="connsiteY26" fmla="*/ 8746 h 10000"/>
                  <a:gd name="connsiteX27" fmla="*/ 2766 w 10000"/>
                  <a:gd name="connsiteY27" fmla="*/ 8939 h 10000"/>
                  <a:gd name="connsiteX28" fmla="*/ 2961 w 10000"/>
                  <a:gd name="connsiteY28" fmla="*/ 9196 h 10000"/>
                  <a:gd name="connsiteX29" fmla="*/ 3349 w 10000"/>
                  <a:gd name="connsiteY29" fmla="*/ 9518 h 10000"/>
                  <a:gd name="connsiteX30" fmla="*/ 3643 w 10000"/>
                  <a:gd name="connsiteY30" fmla="*/ 9614 h 10000"/>
                  <a:gd name="connsiteX31" fmla="*/ 3835 w 10000"/>
                  <a:gd name="connsiteY31" fmla="*/ 9518 h 10000"/>
                  <a:gd name="connsiteX32" fmla="*/ 4320 w 10000"/>
                  <a:gd name="connsiteY32" fmla="*/ 9550 h 10000"/>
                  <a:gd name="connsiteX33" fmla="*/ 4515 w 10000"/>
                  <a:gd name="connsiteY33" fmla="*/ 9486 h 10000"/>
                  <a:gd name="connsiteX34" fmla="*/ 5387 w 10000"/>
                  <a:gd name="connsiteY34" fmla="*/ 9968 h 10000"/>
                  <a:gd name="connsiteX35" fmla="*/ 5437 w 10000"/>
                  <a:gd name="connsiteY35" fmla="*/ 9968 h 10000"/>
                  <a:gd name="connsiteX36" fmla="*/ 5533 w 10000"/>
                  <a:gd name="connsiteY36" fmla="*/ 9904 h 10000"/>
                  <a:gd name="connsiteX37" fmla="*/ 6161 w 10000"/>
                  <a:gd name="connsiteY37" fmla="*/ 9904 h 10000"/>
                  <a:gd name="connsiteX38" fmla="*/ 6261 w 10000"/>
                  <a:gd name="connsiteY38" fmla="*/ 10000 h 10000"/>
                  <a:gd name="connsiteX39" fmla="*/ 6795 w 10000"/>
                  <a:gd name="connsiteY39" fmla="*/ 9871 h 10000"/>
                  <a:gd name="connsiteX40" fmla="*/ 7278 w 10000"/>
                  <a:gd name="connsiteY40" fmla="*/ 9871 h 10000"/>
                  <a:gd name="connsiteX41" fmla="*/ 7619 w 10000"/>
                  <a:gd name="connsiteY41" fmla="*/ 9743 h 10000"/>
                  <a:gd name="connsiteX42" fmla="*/ 8009 w 10000"/>
                  <a:gd name="connsiteY42" fmla="*/ 9486 h 10000"/>
                  <a:gd name="connsiteX43" fmla="*/ 9027 w 10000"/>
                  <a:gd name="connsiteY43" fmla="*/ 9486 h 10000"/>
                  <a:gd name="connsiteX44" fmla="*/ 9027 w 10000"/>
                  <a:gd name="connsiteY44" fmla="*/ 9132 h 10000"/>
                  <a:gd name="connsiteX45" fmla="*/ 8494 w 10000"/>
                  <a:gd name="connsiteY45" fmla="*/ 8971 h 10000"/>
                  <a:gd name="connsiteX46" fmla="*/ 8201 w 10000"/>
                  <a:gd name="connsiteY46" fmla="*/ 8457 h 10000"/>
                  <a:gd name="connsiteX47" fmla="*/ 7815 w 10000"/>
                  <a:gd name="connsiteY47" fmla="*/ 8264 h 10000"/>
                  <a:gd name="connsiteX48" fmla="*/ 7570 w 10000"/>
                  <a:gd name="connsiteY48" fmla="*/ 8006 h 10000"/>
                  <a:gd name="connsiteX49" fmla="*/ 6940 w 10000"/>
                  <a:gd name="connsiteY49" fmla="*/ 7814 h 10000"/>
                  <a:gd name="connsiteX50" fmla="*/ 7085 w 10000"/>
                  <a:gd name="connsiteY50" fmla="*/ 7749 h 10000"/>
                  <a:gd name="connsiteX51" fmla="*/ 7085 w 10000"/>
                  <a:gd name="connsiteY51" fmla="*/ 7588 h 10000"/>
                  <a:gd name="connsiteX52" fmla="*/ 7524 w 10000"/>
                  <a:gd name="connsiteY52" fmla="*/ 7588 h 10000"/>
                  <a:gd name="connsiteX53" fmla="*/ 7764 w 10000"/>
                  <a:gd name="connsiteY53" fmla="*/ 7460 h 10000"/>
                  <a:gd name="connsiteX54" fmla="*/ 7815 w 10000"/>
                  <a:gd name="connsiteY54" fmla="*/ 6527 h 10000"/>
                  <a:gd name="connsiteX55" fmla="*/ 7861 w 10000"/>
                  <a:gd name="connsiteY55" fmla="*/ 6559 h 10000"/>
                  <a:gd name="connsiteX56" fmla="*/ 7689 w 10000"/>
                  <a:gd name="connsiteY56" fmla="*/ 6618 h 10000"/>
                  <a:gd name="connsiteX57" fmla="*/ 7621 w 10000"/>
                  <a:gd name="connsiteY57" fmla="*/ 6745 h 10000"/>
                  <a:gd name="connsiteX58" fmla="*/ 7187 w 10000"/>
                  <a:gd name="connsiteY58" fmla="*/ 6497 h 10000"/>
                  <a:gd name="connsiteX59" fmla="*/ 7109 w 10000"/>
                  <a:gd name="connsiteY59" fmla="*/ 5828 h 10000"/>
                  <a:gd name="connsiteX60" fmla="*/ 6645 w 10000"/>
                  <a:gd name="connsiteY60" fmla="*/ 6118 h 10000"/>
                  <a:gd name="connsiteX61" fmla="*/ 6652 w 10000"/>
                  <a:gd name="connsiteY61" fmla="*/ 6462 h 10000"/>
                  <a:gd name="connsiteX62" fmla="*/ 6279 w 10000"/>
                  <a:gd name="connsiteY62" fmla="*/ 6670 h 10000"/>
                  <a:gd name="connsiteX63" fmla="*/ 10000 w 10000"/>
                  <a:gd name="connsiteY63" fmla="*/ 1061 h 10000"/>
                  <a:gd name="connsiteX64" fmla="*/ 9754 w 10000"/>
                  <a:gd name="connsiteY64" fmla="*/ 836 h 10000"/>
                  <a:gd name="connsiteX65" fmla="*/ 9706 w 10000"/>
                  <a:gd name="connsiteY65" fmla="*/ 611 h 10000"/>
                  <a:gd name="connsiteX66" fmla="*/ 9318 w 10000"/>
                  <a:gd name="connsiteY66" fmla="*/ 289 h 10000"/>
                  <a:gd name="connsiteX67" fmla="*/ 8978 w 10000"/>
                  <a:gd name="connsiteY67" fmla="*/ 161 h 10000"/>
                  <a:gd name="connsiteX68" fmla="*/ 8785 w 10000"/>
                  <a:gd name="connsiteY68" fmla="*/ 0 h 10000"/>
                  <a:gd name="connsiteX69" fmla="*/ 8494 w 10000"/>
                  <a:gd name="connsiteY69" fmla="*/ 161 h 10000"/>
                  <a:gd name="connsiteX70" fmla="*/ 8298 w 10000"/>
                  <a:gd name="connsiteY70" fmla="*/ 129 h 10000"/>
                  <a:gd name="connsiteX71" fmla="*/ 8151 w 10000"/>
                  <a:gd name="connsiteY71" fmla="*/ 418 h 10000"/>
                  <a:gd name="connsiteX72" fmla="*/ 7764 w 10000"/>
                  <a:gd name="connsiteY72" fmla="*/ 482 h 10000"/>
                  <a:gd name="connsiteX73" fmla="*/ 7668 w 10000"/>
                  <a:gd name="connsiteY73" fmla="*/ 707 h 10000"/>
                  <a:gd name="connsiteX74" fmla="*/ 7327 w 10000"/>
                  <a:gd name="connsiteY74" fmla="*/ 707 h 10000"/>
                  <a:gd name="connsiteX75" fmla="*/ 7037 w 10000"/>
                  <a:gd name="connsiteY75" fmla="*/ 611 h 10000"/>
                  <a:gd name="connsiteX76" fmla="*/ 6406 w 10000"/>
                  <a:gd name="connsiteY76" fmla="*/ 611 h 10000"/>
                  <a:gd name="connsiteX77" fmla="*/ 5775 w 10000"/>
                  <a:gd name="connsiteY77" fmla="*/ 611 h 10000"/>
                  <a:gd name="connsiteX78" fmla="*/ 5825 w 10000"/>
                  <a:gd name="connsiteY78" fmla="*/ 482 h 10000"/>
                  <a:gd name="connsiteX79" fmla="*/ 5727 w 10000"/>
                  <a:gd name="connsiteY79" fmla="*/ 482 h 10000"/>
                  <a:gd name="connsiteX80" fmla="*/ 5678 w 10000"/>
                  <a:gd name="connsiteY80" fmla="*/ 611 h 10000"/>
                  <a:gd name="connsiteX81" fmla="*/ 5095 w 10000"/>
                  <a:gd name="connsiteY81" fmla="*/ 611 h 10000"/>
                  <a:gd name="connsiteX82" fmla="*/ 4515 w 10000"/>
                  <a:gd name="connsiteY82" fmla="*/ 611 h 10000"/>
                  <a:gd name="connsiteX83" fmla="*/ 3933 w 10000"/>
                  <a:gd name="connsiteY83" fmla="*/ 611 h 10000"/>
                  <a:gd name="connsiteX84" fmla="*/ 3349 w 10000"/>
                  <a:gd name="connsiteY84" fmla="*/ 611 h 10000"/>
                  <a:gd name="connsiteX85" fmla="*/ 2817 w 10000"/>
                  <a:gd name="connsiteY85" fmla="*/ 611 h 10000"/>
                  <a:gd name="connsiteX86" fmla="*/ 2235 w 10000"/>
                  <a:gd name="connsiteY86" fmla="*/ 611 h 10000"/>
                  <a:gd name="connsiteX87" fmla="*/ 1700 w 10000"/>
                  <a:gd name="connsiteY87" fmla="*/ 611 h 10000"/>
                  <a:gd name="connsiteX88" fmla="*/ 1117 w 10000"/>
                  <a:gd name="connsiteY88" fmla="*/ 611 h 10000"/>
                  <a:gd name="connsiteX89" fmla="*/ 1117 w 10000"/>
                  <a:gd name="connsiteY89" fmla="*/ 1061 h 10000"/>
                  <a:gd name="connsiteX90" fmla="*/ 1117 w 10000"/>
                  <a:gd name="connsiteY90" fmla="*/ 1640 h 10000"/>
                  <a:gd name="connsiteX91" fmla="*/ 391 w 10000"/>
                  <a:gd name="connsiteY91" fmla="*/ 1640 h 10000"/>
                  <a:gd name="connsiteX92" fmla="*/ 391 w 10000"/>
                  <a:gd name="connsiteY92" fmla="*/ 1897 h 10000"/>
                  <a:gd name="connsiteX0" fmla="*/ 391 w 9754"/>
                  <a:gd name="connsiteY0" fmla="*/ 1897 h 10000"/>
                  <a:gd name="connsiteX1" fmla="*/ 6026 w 9754"/>
                  <a:gd name="connsiteY1" fmla="*/ 6915 h 10000"/>
                  <a:gd name="connsiteX2" fmla="*/ 5628 w 9754"/>
                  <a:gd name="connsiteY2" fmla="*/ 7114 h 10000"/>
                  <a:gd name="connsiteX3" fmla="*/ 5294 w 9754"/>
                  <a:gd name="connsiteY3" fmla="*/ 6907 h 10000"/>
                  <a:gd name="connsiteX4" fmla="*/ 4808 w 9754"/>
                  <a:gd name="connsiteY4" fmla="*/ 6781 h 10000"/>
                  <a:gd name="connsiteX5" fmla="*/ 4567 w 9754"/>
                  <a:gd name="connsiteY5" fmla="*/ 7064 h 10000"/>
                  <a:gd name="connsiteX6" fmla="*/ 3969 w 9754"/>
                  <a:gd name="connsiteY6" fmla="*/ 7281 h 10000"/>
                  <a:gd name="connsiteX7" fmla="*/ 3586 w 9754"/>
                  <a:gd name="connsiteY7" fmla="*/ 7279 h 10000"/>
                  <a:gd name="connsiteX8" fmla="*/ 2748 w 9754"/>
                  <a:gd name="connsiteY8" fmla="*/ 7095 h 10000"/>
                  <a:gd name="connsiteX9" fmla="*/ 2524 w 9754"/>
                  <a:gd name="connsiteY9" fmla="*/ 7195 h 10000"/>
                  <a:gd name="connsiteX10" fmla="*/ 1965 w 9754"/>
                  <a:gd name="connsiteY10" fmla="*/ 6973 h 10000"/>
                  <a:gd name="connsiteX11" fmla="*/ 1718 w 9754"/>
                  <a:gd name="connsiteY11" fmla="*/ 6638 h 10000"/>
                  <a:gd name="connsiteX12" fmla="*/ 1308 w 9754"/>
                  <a:gd name="connsiteY12" fmla="*/ 6729 h 10000"/>
                  <a:gd name="connsiteX13" fmla="*/ 1196 w 9754"/>
                  <a:gd name="connsiteY13" fmla="*/ 6927 h 10000"/>
                  <a:gd name="connsiteX14" fmla="*/ 763 w 9754"/>
                  <a:gd name="connsiteY14" fmla="*/ 7011 h 10000"/>
                  <a:gd name="connsiteX15" fmla="*/ 476 w 9754"/>
                  <a:gd name="connsiteY15" fmla="*/ 7004 h 10000"/>
                  <a:gd name="connsiteX16" fmla="*/ 319 w 9754"/>
                  <a:gd name="connsiteY16" fmla="*/ 7161 h 10000"/>
                  <a:gd name="connsiteX17" fmla="*/ 51 w 9754"/>
                  <a:gd name="connsiteY17" fmla="*/ 6913 h 10000"/>
                  <a:gd name="connsiteX18" fmla="*/ 0 w 9754"/>
                  <a:gd name="connsiteY18" fmla="*/ 7363 h 10000"/>
                  <a:gd name="connsiteX19" fmla="*/ 97 w 9754"/>
                  <a:gd name="connsiteY19" fmla="*/ 7428 h 10000"/>
                  <a:gd name="connsiteX20" fmla="*/ 486 w 9754"/>
                  <a:gd name="connsiteY20" fmla="*/ 7460 h 10000"/>
                  <a:gd name="connsiteX21" fmla="*/ 537 w 9754"/>
                  <a:gd name="connsiteY21" fmla="*/ 7588 h 10000"/>
                  <a:gd name="connsiteX22" fmla="*/ 971 w 9754"/>
                  <a:gd name="connsiteY22" fmla="*/ 7621 h 10000"/>
                  <a:gd name="connsiteX23" fmla="*/ 1215 w 9754"/>
                  <a:gd name="connsiteY23" fmla="*/ 7749 h 10000"/>
                  <a:gd name="connsiteX24" fmla="*/ 1262 w 9754"/>
                  <a:gd name="connsiteY24" fmla="*/ 7974 h 10000"/>
                  <a:gd name="connsiteX25" fmla="*/ 2041 w 9754"/>
                  <a:gd name="connsiteY25" fmla="*/ 8360 h 10000"/>
                  <a:gd name="connsiteX26" fmla="*/ 2235 w 9754"/>
                  <a:gd name="connsiteY26" fmla="*/ 8746 h 10000"/>
                  <a:gd name="connsiteX27" fmla="*/ 2766 w 9754"/>
                  <a:gd name="connsiteY27" fmla="*/ 8939 h 10000"/>
                  <a:gd name="connsiteX28" fmla="*/ 2961 w 9754"/>
                  <a:gd name="connsiteY28" fmla="*/ 9196 h 10000"/>
                  <a:gd name="connsiteX29" fmla="*/ 3349 w 9754"/>
                  <a:gd name="connsiteY29" fmla="*/ 9518 h 10000"/>
                  <a:gd name="connsiteX30" fmla="*/ 3643 w 9754"/>
                  <a:gd name="connsiteY30" fmla="*/ 9614 h 10000"/>
                  <a:gd name="connsiteX31" fmla="*/ 3835 w 9754"/>
                  <a:gd name="connsiteY31" fmla="*/ 9518 h 10000"/>
                  <a:gd name="connsiteX32" fmla="*/ 4320 w 9754"/>
                  <a:gd name="connsiteY32" fmla="*/ 9550 h 10000"/>
                  <a:gd name="connsiteX33" fmla="*/ 4515 w 9754"/>
                  <a:gd name="connsiteY33" fmla="*/ 9486 h 10000"/>
                  <a:gd name="connsiteX34" fmla="*/ 5387 w 9754"/>
                  <a:gd name="connsiteY34" fmla="*/ 9968 h 10000"/>
                  <a:gd name="connsiteX35" fmla="*/ 5437 w 9754"/>
                  <a:gd name="connsiteY35" fmla="*/ 9968 h 10000"/>
                  <a:gd name="connsiteX36" fmla="*/ 5533 w 9754"/>
                  <a:gd name="connsiteY36" fmla="*/ 9904 h 10000"/>
                  <a:gd name="connsiteX37" fmla="*/ 6161 w 9754"/>
                  <a:gd name="connsiteY37" fmla="*/ 9904 h 10000"/>
                  <a:gd name="connsiteX38" fmla="*/ 6261 w 9754"/>
                  <a:gd name="connsiteY38" fmla="*/ 10000 h 10000"/>
                  <a:gd name="connsiteX39" fmla="*/ 6795 w 9754"/>
                  <a:gd name="connsiteY39" fmla="*/ 9871 h 10000"/>
                  <a:gd name="connsiteX40" fmla="*/ 7278 w 9754"/>
                  <a:gd name="connsiteY40" fmla="*/ 9871 h 10000"/>
                  <a:gd name="connsiteX41" fmla="*/ 7619 w 9754"/>
                  <a:gd name="connsiteY41" fmla="*/ 9743 h 10000"/>
                  <a:gd name="connsiteX42" fmla="*/ 8009 w 9754"/>
                  <a:gd name="connsiteY42" fmla="*/ 9486 h 10000"/>
                  <a:gd name="connsiteX43" fmla="*/ 9027 w 9754"/>
                  <a:gd name="connsiteY43" fmla="*/ 9486 h 10000"/>
                  <a:gd name="connsiteX44" fmla="*/ 9027 w 9754"/>
                  <a:gd name="connsiteY44" fmla="*/ 9132 h 10000"/>
                  <a:gd name="connsiteX45" fmla="*/ 8494 w 9754"/>
                  <a:gd name="connsiteY45" fmla="*/ 8971 h 10000"/>
                  <a:gd name="connsiteX46" fmla="*/ 8201 w 9754"/>
                  <a:gd name="connsiteY46" fmla="*/ 8457 h 10000"/>
                  <a:gd name="connsiteX47" fmla="*/ 7815 w 9754"/>
                  <a:gd name="connsiteY47" fmla="*/ 8264 h 10000"/>
                  <a:gd name="connsiteX48" fmla="*/ 7570 w 9754"/>
                  <a:gd name="connsiteY48" fmla="*/ 8006 h 10000"/>
                  <a:gd name="connsiteX49" fmla="*/ 6940 w 9754"/>
                  <a:gd name="connsiteY49" fmla="*/ 7814 h 10000"/>
                  <a:gd name="connsiteX50" fmla="*/ 7085 w 9754"/>
                  <a:gd name="connsiteY50" fmla="*/ 7749 h 10000"/>
                  <a:gd name="connsiteX51" fmla="*/ 7085 w 9754"/>
                  <a:gd name="connsiteY51" fmla="*/ 7588 h 10000"/>
                  <a:gd name="connsiteX52" fmla="*/ 7524 w 9754"/>
                  <a:gd name="connsiteY52" fmla="*/ 7588 h 10000"/>
                  <a:gd name="connsiteX53" fmla="*/ 7764 w 9754"/>
                  <a:gd name="connsiteY53" fmla="*/ 7460 h 10000"/>
                  <a:gd name="connsiteX54" fmla="*/ 7815 w 9754"/>
                  <a:gd name="connsiteY54" fmla="*/ 6527 h 10000"/>
                  <a:gd name="connsiteX55" fmla="*/ 7861 w 9754"/>
                  <a:gd name="connsiteY55" fmla="*/ 6559 h 10000"/>
                  <a:gd name="connsiteX56" fmla="*/ 7689 w 9754"/>
                  <a:gd name="connsiteY56" fmla="*/ 6618 h 10000"/>
                  <a:gd name="connsiteX57" fmla="*/ 7621 w 9754"/>
                  <a:gd name="connsiteY57" fmla="*/ 6745 h 10000"/>
                  <a:gd name="connsiteX58" fmla="*/ 7187 w 9754"/>
                  <a:gd name="connsiteY58" fmla="*/ 6497 h 10000"/>
                  <a:gd name="connsiteX59" fmla="*/ 7109 w 9754"/>
                  <a:gd name="connsiteY59" fmla="*/ 5828 h 10000"/>
                  <a:gd name="connsiteX60" fmla="*/ 6645 w 9754"/>
                  <a:gd name="connsiteY60" fmla="*/ 6118 h 10000"/>
                  <a:gd name="connsiteX61" fmla="*/ 6652 w 9754"/>
                  <a:gd name="connsiteY61" fmla="*/ 6462 h 10000"/>
                  <a:gd name="connsiteX62" fmla="*/ 6279 w 9754"/>
                  <a:gd name="connsiteY62" fmla="*/ 6670 h 10000"/>
                  <a:gd name="connsiteX63" fmla="*/ 9754 w 9754"/>
                  <a:gd name="connsiteY63" fmla="*/ 836 h 10000"/>
                  <a:gd name="connsiteX64" fmla="*/ 9706 w 9754"/>
                  <a:gd name="connsiteY64" fmla="*/ 611 h 10000"/>
                  <a:gd name="connsiteX65" fmla="*/ 9318 w 9754"/>
                  <a:gd name="connsiteY65" fmla="*/ 289 h 10000"/>
                  <a:gd name="connsiteX66" fmla="*/ 8978 w 9754"/>
                  <a:gd name="connsiteY66" fmla="*/ 161 h 10000"/>
                  <a:gd name="connsiteX67" fmla="*/ 8785 w 9754"/>
                  <a:gd name="connsiteY67" fmla="*/ 0 h 10000"/>
                  <a:gd name="connsiteX68" fmla="*/ 8494 w 9754"/>
                  <a:gd name="connsiteY68" fmla="*/ 161 h 10000"/>
                  <a:gd name="connsiteX69" fmla="*/ 8298 w 9754"/>
                  <a:gd name="connsiteY69" fmla="*/ 129 h 10000"/>
                  <a:gd name="connsiteX70" fmla="*/ 8151 w 9754"/>
                  <a:gd name="connsiteY70" fmla="*/ 418 h 10000"/>
                  <a:gd name="connsiteX71" fmla="*/ 7764 w 9754"/>
                  <a:gd name="connsiteY71" fmla="*/ 482 h 10000"/>
                  <a:gd name="connsiteX72" fmla="*/ 7668 w 9754"/>
                  <a:gd name="connsiteY72" fmla="*/ 707 h 10000"/>
                  <a:gd name="connsiteX73" fmla="*/ 7327 w 9754"/>
                  <a:gd name="connsiteY73" fmla="*/ 707 h 10000"/>
                  <a:gd name="connsiteX74" fmla="*/ 7037 w 9754"/>
                  <a:gd name="connsiteY74" fmla="*/ 611 h 10000"/>
                  <a:gd name="connsiteX75" fmla="*/ 6406 w 9754"/>
                  <a:gd name="connsiteY75" fmla="*/ 611 h 10000"/>
                  <a:gd name="connsiteX76" fmla="*/ 5775 w 9754"/>
                  <a:gd name="connsiteY76" fmla="*/ 611 h 10000"/>
                  <a:gd name="connsiteX77" fmla="*/ 5825 w 9754"/>
                  <a:gd name="connsiteY77" fmla="*/ 482 h 10000"/>
                  <a:gd name="connsiteX78" fmla="*/ 5727 w 9754"/>
                  <a:gd name="connsiteY78" fmla="*/ 482 h 10000"/>
                  <a:gd name="connsiteX79" fmla="*/ 5678 w 9754"/>
                  <a:gd name="connsiteY79" fmla="*/ 611 h 10000"/>
                  <a:gd name="connsiteX80" fmla="*/ 5095 w 9754"/>
                  <a:gd name="connsiteY80" fmla="*/ 611 h 10000"/>
                  <a:gd name="connsiteX81" fmla="*/ 4515 w 9754"/>
                  <a:gd name="connsiteY81" fmla="*/ 611 h 10000"/>
                  <a:gd name="connsiteX82" fmla="*/ 3933 w 9754"/>
                  <a:gd name="connsiteY82" fmla="*/ 611 h 10000"/>
                  <a:gd name="connsiteX83" fmla="*/ 3349 w 9754"/>
                  <a:gd name="connsiteY83" fmla="*/ 611 h 10000"/>
                  <a:gd name="connsiteX84" fmla="*/ 2817 w 9754"/>
                  <a:gd name="connsiteY84" fmla="*/ 611 h 10000"/>
                  <a:gd name="connsiteX85" fmla="*/ 2235 w 9754"/>
                  <a:gd name="connsiteY85" fmla="*/ 611 h 10000"/>
                  <a:gd name="connsiteX86" fmla="*/ 1700 w 9754"/>
                  <a:gd name="connsiteY86" fmla="*/ 611 h 10000"/>
                  <a:gd name="connsiteX87" fmla="*/ 1117 w 9754"/>
                  <a:gd name="connsiteY87" fmla="*/ 611 h 10000"/>
                  <a:gd name="connsiteX88" fmla="*/ 1117 w 9754"/>
                  <a:gd name="connsiteY88" fmla="*/ 1061 h 10000"/>
                  <a:gd name="connsiteX89" fmla="*/ 1117 w 9754"/>
                  <a:gd name="connsiteY89" fmla="*/ 1640 h 10000"/>
                  <a:gd name="connsiteX90" fmla="*/ 391 w 9754"/>
                  <a:gd name="connsiteY90" fmla="*/ 1640 h 10000"/>
                  <a:gd name="connsiteX91" fmla="*/ 391 w 9754"/>
                  <a:gd name="connsiteY91" fmla="*/ 1897 h 10000"/>
                  <a:gd name="connsiteX0" fmla="*/ 401 w 9951"/>
                  <a:gd name="connsiteY0" fmla="*/ 1897 h 10000"/>
                  <a:gd name="connsiteX1" fmla="*/ 6178 w 9951"/>
                  <a:gd name="connsiteY1" fmla="*/ 6915 h 10000"/>
                  <a:gd name="connsiteX2" fmla="*/ 5770 w 9951"/>
                  <a:gd name="connsiteY2" fmla="*/ 7114 h 10000"/>
                  <a:gd name="connsiteX3" fmla="*/ 5428 w 9951"/>
                  <a:gd name="connsiteY3" fmla="*/ 6907 h 10000"/>
                  <a:gd name="connsiteX4" fmla="*/ 4929 w 9951"/>
                  <a:gd name="connsiteY4" fmla="*/ 6781 h 10000"/>
                  <a:gd name="connsiteX5" fmla="*/ 4682 w 9951"/>
                  <a:gd name="connsiteY5" fmla="*/ 7064 h 10000"/>
                  <a:gd name="connsiteX6" fmla="*/ 4069 w 9951"/>
                  <a:gd name="connsiteY6" fmla="*/ 7281 h 10000"/>
                  <a:gd name="connsiteX7" fmla="*/ 3676 w 9951"/>
                  <a:gd name="connsiteY7" fmla="*/ 7279 h 10000"/>
                  <a:gd name="connsiteX8" fmla="*/ 2817 w 9951"/>
                  <a:gd name="connsiteY8" fmla="*/ 7095 h 10000"/>
                  <a:gd name="connsiteX9" fmla="*/ 2588 w 9951"/>
                  <a:gd name="connsiteY9" fmla="*/ 7195 h 10000"/>
                  <a:gd name="connsiteX10" fmla="*/ 2015 w 9951"/>
                  <a:gd name="connsiteY10" fmla="*/ 6973 h 10000"/>
                  <a:gd name="connsiteX11" fmla="*/ 1761 w 9951"/>
                  <a:gd name="connsiteY11" fmla="*/ 6638 h 10000"/>
                  <a:gd name="connsiteX12" fmla="*/ 1341 w 9951"/>
                  <a:gd name="connsiteY12" fmla="*/ 6729 h 10000"/>
                  <a:gd name="connsiteX13" fmla="*/ 1226 w 9951"/>
                  <a:gd name="connsiteY13" fmla="*/ 6927 h 10000"/>
                  <a:gd name="connsiteX14" fmla="*/ 782 w 9951"/>
                  <a:gd name="connsiteY14" fmla="*/ 7011 h 10000"/>
                  <a:gd name="connsiteX15" fmla="*/ 488 w 9951"/>
                  <a:gd name="connsiteY15" fmla="*/ 7004 h 10000"/>
                  <a:gd name="connsiteX16" fmla="*/ 327 w 9951"/>
                  <a:gd name="connsiteY16" fmla="*/ 7161 h 10000"/>
                  <a:gd name="connsiteX17" fmla="*/ 52 w 9951"/>
                  <a:gd name="connsiteY17" fmla="*/ 6913 h 10000"/>
                  <a:gd name="connsiteX18" fmla="*/ 0 w 9951"/>
                  <a:gd name="connsiteY18" fmla="*/ 7363 h 10000"/>
                  <a:gd name="connsiteX19" fmla="*/ 99 w 9951"/>
                  <a:gd name="connsiteY19" fmla="*/ 7428 h 10000"/>
                  <a:gd name="connsiteX20" fmla="*/ 498 w 9951"/>
                  <a:gd name="connsiteY20" fmla="*/ 7460 h 10000"/>
                  <a:gd name="connsiteX21" fmla="*/ 551 w 9951"/>
                  <a:gd name="connsiteY21" fmla="*/ 7588 h 10000"/>
                  <a:gd name="connsiteX22" fmla="*/ 995 w 9951"/>
                  <a:gd name="connsiteY22" fmla="*/ 7621 h 10000"/>
                  <a:gd name="connsiteX23" fmla="*/ 1246 w 9951"/>
                  <a:gd name="connsiteY23" fmla="*/ 7749 h 10000"/>
                  <a:gd name="connsiteX24" fmla="*/ 1294 w 9951"/>
                  <a:gd name="connsiteY24" fmla="*/ 7974 h 10000"/>
                  <a:gd name="connsiteX25" fmla="*/ 2092 w 9951"/>
                  <a:gd name="connsiteY25" fmla="*/ 8360 h 10000"/>
                  <a:gd name="connsiteX26" fmla="*/ 2291 w 9951"/>
                  <a:gd name="connsiteY26" fmla="*/ 8746 h 10000"/>
                  <a:gd name="connsiteX27" fmla="*/ 2836 w 9951"/>
                  <a:gd name="connsiteY27" fmla="*/ 8939 h 10000"/>
                  <a:gd name="connsiteX28" fmla="*/ 3036 w 9951"/>
                  <a:gd name="connsiteY28" fmla="*/ 9196 h 10000"/>
                  <a:gd name="connsiteX29" fmla="*/ 3433 w 9951"/>
                  <a:gd name="connsiteY29" fmla="*/ 9518 h 10000"/>
                  <a:gd name="connsiteX30" fmla="*/ 3735 w 9951"/>
                  <a:gd name="connsiteY30" fmla="*/ 9614 h 10000"/>
                  <a:gd name="connsiteX31" fmla="*/ 3932 w 9951"/>
                  <a:gd name="connsiteY31" fmla="*/ 9518 h 10000"/>
                  <a:gd name="connsiteX32" fmla="*/ 4429 w 9951"/>
                  <a:gd name="connsiteY32" fmla="*/ 9550 h 10000"/>
                  <a:gd name="connsiteX33" fmla="*/ 4629 w 9951"/>
                  <a:gd name="connsiteY33" fmla="*/ 9486 h 10000"/>
                  <a:gd name="connsiteX34" fmla="*/ 5523 w 9951"/>
                  <a:gd name="connsiteY34" fmla="*/ 9968 h 10000"/>
                  <a:gd name="connsiteX35" fmla="*/ 5574 w 9951"/>
                  <a:gd name="connsiteY35" fmla="*/ 9968 h 10000"/>
                  <a:gd name="connsiteX36" fmla="*/ 5673 w 9951"/>
                  <a:gd name="connsiteY36" fmla="*/ 9904 h 10000"/>
                  <a:gd name="connsiteX37" fmla="*/ 6316 w 9951"/>
                  <a:gd name="connsiteY37" fmla="*/ 9904 h 10000"/>
                  <a:gd name="connsiteX38" fmla="*/ 6419 w 9951"/>
                  <a:gd name="connsiteY38" fmla="*/ 10000 h 10000"/>
                  <a:gd name="connsiteX39" fmla="*/ 6966 w 9951"/>
                  <a:gd name="connsiteY39" fmla="*/ 9871 h 10000"/>
                  <a:gd name="connsiteX40" fmla="*/ 7462 w 9951"/>
                  <a:gd name="connsiteY40" fmla="*/ 9871 h 10000"/>
                  <a:gd name="connsiteX41" fmla="*/ 7811 w 9951"/>
                  <a:gd name="connsiteY41" fmla="*/ 9743 h 10000"/>
                  <a:gd name="connsiteX42" fmla="*/ 8211 w 9951"/>
                  <a:gd name="connsiteY42" fmla="*/ 9486 h 10000"/>
                  <a:gd name="connsiteX43" fmla="*/ 9255 w 9951"/>
                  <a:gd name="connsiteY43" fmla="*/ 9486 h 10000"/>
                  <a:gd name="connsiteX44" fmla="*/ 9255 w 9951"/>
                  <a:gd name="connsiteY44" fmla="*/ 9132 h 10000"/>
                  <a:gd name="connsiteX45" fmla="*/ 8708 w 9951"/>
                  <a:gd name="connsiteY45" fmla="*/ 8971 h 10000"/>
                  <a:gd name="connsiteX46" fmla="*/ 8408 w 9951"/>
                  <a:gd name="connsiteY46" fmla="*/ 8457 h 10000"/>
                  <a:gd name="connsiteX47" fmla="*/ 8012 w 9951"/>
                  <a:gd name="connsiteY47" fmla="*/ 8264 h 10000"/>
                  <a:gd name="connsiteX48" fmla="*/ 7761 w 9951"/>
                  <a:gd name="connsiteY48" fmla="*/ 8006 h 10000"/>
                  <a:gd name="connsiteX49" fmla="*/ 7115 w 9951"/>
                  <a:gd name="connsiteY49" fmla="*/ 7814 h 10000"/>
                  <a:gd name="connsiteX50" fmla="*/ 7264 w 9951"/>
                  <a:gd name="connsiteY50" fmla="*/ 7749 h 10000"/>
                  <a:gd name="connsiteX51" fmla="*/ 7264 w 9951"/>
                  <a:gd name="connsiteY51" fmla="*/ 7588 h 10000"/>
                  <a:gd name="connsiteX52" fmla="*/ 7714 w 9951"/>
                  <a:gd name="connsiteY52" fmla="*/ 7588 h 10000"/>
                  <a:gd name="connsiteX53" fmla="*/ 7960 w 9951"/>
                  <a:gd name="connsiteY53" fmla="*/ 7460 h 10000"/>
                  <a:gd name="connsiteX54" fmla="*/ 8012 w 9951"/>
                  <a:gd name="connsiteY54" fmla="*/ 6527 h 10000"/>
                  <a:gd name="connsiteX55" fmla="*/ 8059 w 9951"/>
                  <a:gd name="connsiteY55" fmla="*/ 6559 h 10000"/>
                  <a:gd name="connsiteX56" fmla="*/ 7883 w 9951"/>
                  <a:gd name="connsiteY56" fmla="*/ 6618 h 10000"/>
                  <a:gd name="connsiteX57" fmla="*/ 7813 w 9951"/>
                  <a:gd name="connsiteY57" fmla="*/ 6745 h 10000"/>
                  <a:gd name="connsiteX58" fmla="*/ 7368 w 9951"/>
                  <a:gd name="connsiteY58" fmla="*/ 6497 h 10000"/>
                  <a:gd name="connsiteX59" fmla="*/ 7288 w 9951"/>
                  <a:gd name="connsiteY59" fmla="*/ 5828 h 10000"/>
                  <a:gd name="connsiteX60" fmla="*/ 6813 w 9951"/>
                  <a:gd name="connsiteY60" fmla="*/ 6118 h 10000"/>
                  <a:gd name="connsiteX61" fmla="*/ 6820 w 9951"/>
                  <a:gd name="connsiteY61" fmla="*/ 6462 h 10000"/>
                  <a:gd name="connsiteX62" fmla="*/ 6437 w 9951"/>
                  <a:gd name="connsiteY62" fmla="*/ 6670 h 10000"/>
                  <a:gd name="connsiteX63" fmla="*/ 9951 w 9951"/>
                  <a:gd name="connsiteY63" fmla="*/ 611 h 10000"/>
                  <a:gd name="connsiteX64" fmla="*/ 9553 w 9951"/>
                  <a:gd name="connsiteY64" fmla="*/ 289 h 10000"/>
                  <a:gd name="connsiteX65" fmla="*/ 9204 w 9951"/>
                  <a:gd name="connsiteY65" fmla="*/ 161 h 10000"/>
                  <a:gd name="connsiteX66" fmla="*/ 9007 w 9951"/>
                  <a:gd name="connsiteY66" fmla="*/ 0 h 10000"/>
                  <a:gd name="connsiteX67" fmla="*/ 8708 w 9951"/>
                  <a:gd name="connsiteY67" fmla="*/ 161 h 10000"/>
                  <a:gd name="connsiteX68" fmla="*/ 8507 w 9951"/>
                  <a:gd name="connsiteY68" fmla="*/ 129 h 10000"/>
                  <a:gd name="connsiteX69" fmla="*/ 8357 w 9951"/>
                  <a:gd name="connsiteY69" fmla="*/ 418 h 10000"/>
                  <a:gd name="connsiteX70" fmla="*/ 7960 w 9951"/>
                  <a:gd name="connsiteY70" fmla="*/ 482 h 10000"/>
                  <a:gd name="connsiteX71" fmla="*/ 7861 w 9951"/>
                  <a:gd name="connsiteY71" fmla="*/ 707 h 10000"/>
                  <a:gd name="connsiteX72" fmla="*/ 7512 w 9951"/>
                  <a:gd name="connsiteY72" fmla="*/ 707 h 10000"/>
                  <a:gd name="connsiteX73" fmla="*/ 7214 w 9951"/>
                  <a:gd name="connsiteY73" fmla="*/ 611 h 10000"/>
                  <a:gd name="connsiteX74" fmla="*/ 6568 w 9951"/>
                  <a:gd name="connsiteY74" fmla="*/ 611 h 10000"/>
                  <a:gd name="connsiteX75" fmla="*/ 5921 w 9951"/>
                  <a:gd name="connsiteY75" fmla="*/ 611 h 10000"/>
                  <a:gd name="connsiteX76" fmla="*/ 5972 w 9951"/>
                  <a:gd name="connsiteY76" fmla="*/ 482 h 10000"/>
                  <a:gd name="connsiteX77" fmla="*/ 5871 w 9951"/>
                  <a:gd name="connsiteY77" fmla="*/ 482 h 10000"/>
                  <a:gd name="connsiteX78" fmla="*/ 5821 w 9951"/>
                  <a:gd name="connsiteY78" fmla="*/ 611 h 10000"/>
                  <a:gd name="connsiteX79" fmla="*/ 5223 w 9951"/>
                  <a:gd name="connsiteY79" fmla="*/ 611 h 10000"/>
                  <a:gd name="connsiteX80" fmla="*/ 4629 w 9951"/>
                  <a:gd name="connsiteY80" fmla="*/ 611 h 10000"/>
                  <a:gd name="connsiteX81" fmla="*/ 4032 w 9951"/>
                  <a:gd name="connsiteY81" fmla="*/ 611 h 10000"/>
                  <a:gd name="connsiteX82" fmla="*/ 3433 w 9951"/>
                  <a:gd name="connsiteY82" fmla="*/ 611 h 10000"/>
                  <a:gd name="connsiteX83" fmla="*/ 2888 w 9951"/>
                  <a:gd name="connsiteY83" fmla="*/ 611 h 10000"/>
                  <a:gd name="connsiteX84" fmla="*/ 2291 w 9951"/>
                  <a:gd name="connsiteY84" fmla="*/ 611 h 10000"/>
                  <a:gd name="connsiteX85" fmla="*/ 1743 w 9951"/>
                  <a:gd name="connsiteY85" fmla="*/ 611 h 10000"/>
                  <a:gd name="connsiteX86" fmla="*/ 1145 w 9951"/>
                  <a:gd name="connsiteY86" fmla="*/ 611 h 10000"/>
                  <a:gd name="connsiteX87" fmla="*/ 1145 w 9951"/>
                  <a:gd name="connsiteY87" fmla="*/ 1061 h 10000"/>
                  <a:gd name="connsiteX88" fmla="*/ 1145 w 9951"/>
                  <a:gd name="connsiteY88" fmla="*/ 1640 h 10000"/>
                  <a:gd name="connsiteX89" fmla="*/ 401 w 9951"/>
                  <a:gd name="connsiteY89" fmla="*/ 1640 h 10000"/>
                  <a:gd name="connsiteX90" fmla="*/ 401 w 9951"/>
                  <a:gd name="connsiteY90" fmla="*/ 1897 h 10000"/>
                  <a:gd name="connsiteX0" fmla="*/ 403 w 9600"/>
                  <a:gd name="connsiteY0" fmla="*/ 1897 h 10000"/>
                  <a:gd name="connsiteX1" fmla="*/ 6208 w 9600"/>
                  <a:gd name="connsiteY1" fmla="*/ 6915 h 10000"/>
                  <a:gd name="connsiteX2" fmla="*/ 5798 w 9600"/>
                  <a:gd name="connsiteY2" fmla="*/ 7114 h 10000"/>
                  <a:gd name="connsiteX3" fmla="*/ 5455 w 9600"/>
                  <a:gd name="connsiteY3" fmla="*/ 6907 h 10000"/>
                  <a:gd name="connsiteX4" fmla="*/ 4953 w 9600"/>
                  <a:gd name="connsiteY4" fmla="*/ 6781 h 10000"/>
                  <a:gd name="connsiteX5" fmla="*/ 4705 w 9600"/>
                  <a:gd name="connsiteY5" fmla="*/ 7064 h 10000"/>
                  <a:gd name="connsiteX6" fmla="*/ 4089 w 9600"/>
                  <a:gd name="connsiteY6" fmla="*/ 7281 h 10000"/>
                  <a:gd name="connsiteX7" fmla="*/ 3694 w 9600"/>
                  <a:gd name="connsiteY7" fmla="*/ 7279 h 10000"/>
                  <a:gd name="connsiteX8" fmla="*/ 2831 w 9600"/>
                  <a:gd name="connsiteY8" fmla="*/ 7095 h 10000"/>
                  <a:gd name="connsiteX9" fmla="*/ 2601 w 9600"/>
                  <a:gd name="connsiteY9" fmla="*/ 7195 h 10000"/>
                  <a:gd name="connsiteX10" fmla="*/ 2025 w 9600"/>
                  <a:gd name="connsiteY10" fmla="*/ 6973 h 10000"/>
                  <a:gd name="connsiteX11" fmla="*/ 1770 w 9600"/>
                  <a:gd name="connsiteY11" fmla="*/ 6638 h 10000"/>
                  <a:gd name="connsiteX12" fmla="*/ 1348 w 9600"/>
                  <a:gd name="connsiteY12" fmla="*/ 6729 h 10000"/>
                  <a:gd name="connsiteX13" fmla="*/ 1232 w 9600"/>
                  <a:gd name="connsiteY13" fmla="*/ 6927 h 10000"/>
                  <a:gd name="connsiteX14" fmla="*/ 786 w 9600"/>
                  <a:gd name="connsiteY14" fmla="*/ 7011 h 10000"/>
                  <a:gd name="connsiteX15" fmla="*/ 490 w 9600"/>
                  <a:gd name="connsiteY15" fmla="*/ 7004 h 10000"/>
                  <a:gd name="connsiteX16" fmla="*/ 329 w 9600"/>
                  <a:gd name="connsiteY16" fmla="*/ 7161 h 10000"/>
                  <a:gd name="connsiteX17" fmla="*/ 52 w 9600"/>
                  <a:gd name="connsiteY17" fmla="*/ 6913 h 10000"/>
                  <a:gd name="connsiteX18" fmla="*/ 0 w 9600"/>
                  <a:gd name="connsiteY18" fmla="*/ 7363 h 10000"/>
                  <a:gd name="connsiteX19" fmla="*/ 99 w 9600"/>
                  <a:gd name="connsiteY19" fmla="*/ 7428 h 10000"/>
                  <a:gd name="connsiteX20" fmla="*/ 500 w 9600"/>
                  <a:gd name="connsiteY20" fmla="*/ 7460 h 10000"/>
                  <a:gd name="connsiteX21" fmla="*/ 554 w 9600"/>
                  <a:gd name="connsiteY21" fmla="*/ 7588 h 10000"/>
                  <a:gd name="connsiteX22" fmla="*/ 1000 w 9600"/>
                  <a:gd name="connsiteY22" fmla="*/ 7621 h 10000"/>
                  <a:gd name="connsiteX23" fmla="*/ 1252 w 9600"/>
                  <a:gd name="connsiteY23" fmla="*/ 7749 h 10000"/>
                  <a:gd name="connsiteX24" fmla="*/ 1300 w 9600"/>
                  <a:gd name="connsiteY24" fmla="*/ 7974 h 10000"/>
                  <a:gd name="connsiteX25" fmla="*/ 2102 w 9600"/>
                  <a:gd name="connsiteY25" fmla="*/ 8360 h 10000"/>
                  <a:gd name="connsiteX26" fmla="*/ 2302 w 9600"/>
                  <a:gd name="connsiteY26" fmla="*/ 8746 h 10000"/>
                  <a:gd name="connsiteX27" fmla="*/ 2850 w 9600"/>
                  <a:gd name="connsiteY27" fmla="*/ 8939 h 10000"/>
                  <a:gd name="connsiteX28" fmla="*/ 3051 w 9600"/>
                  <a:gd name="connsiteY28" fmla="*/ 9196 h 10000"/>
                  <a:gd name="connsiteX29" fmla="*/ 3450 w 9600"/>
                  <a:gd name="connsiteY29" fmla="*/ 9518 h 10000"/>
                  <a:gd name="connsiteX30" fmla="*/ 3753 w 9600"/>
                  <a:gd name="connsiteY30" fmla="*/ 9614 h 10000"/>
                  <a:gd name="connsiteX31" fmla="*/ 3951 w 9600"/>
                  <a:gd name="connsiteY31" fmla="*/ 9518 h 10000"/>
                  <a:gd name="connsiteX32" fmla="*/ 4451 w 9600"/>
                  <a:gd name="connsiteY32" fmla="*/ 9550 h 10000"/>
                  <a:gd name="connsiteX33" fmla="*/ 4652 w 9600"/>
                  <a:gd name="connsiteY33" fmla="*/ 9486 h 10000"/>
                  <a:gd name="connsiteX34" fmla="*/ 5550 w 9600"/>
                  <a:gd name="connsiteY34" fmla="*/ 9968 h 10000"/>
                  <a:gd name="connsiteX35" fmla="*/ 5601 w 9600"/>
                  <a:gd name="connsiteY35" fmla="*/ 9968 h 10000"/>
                  <a:gd name="connsiteX36" fmla="*/ 5701 w 9600"/>
                  <a:gd name="connsiteY36" fmla="*/ 9904 h 10000"/>
                  <a:gd name="connsiteX37" fmla="*/ 6347 w 9600"/>
                  <a:gd name="connsiteY37" fmla="*/ 9904 h 10000"/>
                  <a:gd name="connsiteX38" fmla="*/ 6451 w 9600"/>
                  <a:gd name="connsiteY38" fmla="*/ 10000 h 10000"/>
                  <a:gd name="connsiteX39" fmla="*/ 7000 w 9600"/>
                  <a:gd name="connsiteY39" fmla="*/ 9871 h 10000"/>
                  <a:gd name="connsiteX40" fmla="*/ 7499 w 9600"/>
                  <a:gd name="connsiteY40" fmla="*/ 9871 h 10000"/>
                  <a:gd name="connsiteX41" fmla="*/ 7849 w 9600"/>
                  <a:gd name="connsiteY41" fmla="*/ 9743 h 10000"/>
                  <a:gd name="connsiteX42" fmla="*/ 8251 w 9600"/>
                  <a:gd name="connsiteY42" fmla="*/ 9486 h 10000"/>
                  <a:gd name="connsiteX43" fmla="*/ 9301 w 9600"/>
                  <a:gd name="connsiteY43" fmla="*/ 9486 h 10000"/>
                  <a:gd name="connsiteX44" fmla="*/ 9301 w 9600"/>
                  <a:gd name="connsiteY44" fmla="*/ 9132 h 10000"/>
                  <a:gd name="connsiteX45" fmla="*/ 8751 w 9600"/>
                  <a:gd name="connsiteY45" fmla="*/ 8971 h 10000"/>
                  <a:gd name="connsiteX46" fmla="*/ 8449 w 9600"/>
                  <a:gd name="connsiteY46" fmla="*/ 8457 h 10000"/>
                  <a:gd name="connsiteX47" fmla="*/ 8051 w 9600"/>
                  <a:gd name="connsiteY47" fmla="*/ 8264 h 10000"/>
                  <a:gd name="connsiteX48" fmla="*/ 7799 w 9600"/>
                  <a:gd name="connsiteY48" fmla="*/ 8006 h 10000"/>
                  <a:gd name="connsiteX49" fmla="*/ 7150 w 9600"/>
                  <a:gd name="connsiteY49" fmla="*/ 7814 h 10000"/>
                  <a:gd name="connsiteX50" fmla="*/ 7300 w 9600"/>
                  <a:gd name="connsiteY50" fmla="*/ 7749 h 10000"/>
                  <a:gd name="connsiteX51" fmla="*/ 7300 w 9600"/>
                  <a:gd name="connsiteY51" fmla="*/ 7588 h 10000"/>
                  <a:gd name="connsiteX52" fmla="*/ 7752 w 9600"/>
                  <a:gd name="connsiteY52" fmla="*/ 7588 h 10000"/>
                  <a:gd name="connsiteX53" fmla="*/ 7999 w 9600"/>
                  <a:gd name="connsiteY53" fmla="*/ 7460 h 10000"/>
                  <a:gd name="connsiteX54" fmla="*/ 8051 w 9600"/>
                  <a:gd name="connsiteY54" fmla="*/ 6527 h 10000"/>
                  <a:gd name="connsiteX55" fmla="*/ 8099 w 9600"/>
                  <a:gd name="connsiteY55" fmla="*/ 6559 h 10000"/>
                  <a:gd name="connsiteX56" fmla="*/ 7922 w 9600"/>
                  <a:gd name="connsiteY56" fmla="*/ 6618 h 10000"/>
                  <a:gd name="connsiteX57" fmla="*/ 7851 w 9600"/>
                  <a:gd name="connsiteY57" fmla="*/ 6745 h 10000"/>
                  <a:gd name="connsiteX58" fmla="*/ 7404 w 9600"/>
                  <a:gd name="connsiteY58" fmla="*/ 6497 h 10000"/>
                  <a:gd name="connsiteX59" fmla="*/ 7324 w 9600"/>
                  <a:gd name="connsiteY59" fmla="*/ 5828 h 10000"/>
                  <a:gd name="connsiteX60" fmla="*/ 6847 w 9600"/>
                  <a:gd name="connsiteY60" fmla="*/ 6118 h 10000"/>
                  <a:gd name="connsiteX61" fmla="*/ 6854 w 9600"/>
                  <a:gd name="connsiteY61" fmla="*/ 6462 h 10000"/>
                  <a:gd name="connsiteX62" fmla="*/ 6469 w 9600"/>
                  <a:gd name="connsiteY62" fmla="*/ 6670 h 10000"/>
                  <a:gd name="connsiteX63" fmla="*/ 9600 w 9600"/>
                  <a:gd name="connsiteY63" fmla="*/ 289 h 10000"/>
                  <a:gd name="connsiteX64" fmla="*/ 9249 w 9600"/>
                  <a:gd name="connsiteY64" fmla="*/ 161 h 10000"/>
                  <a:gd name="connsiteX65" fmla="*/ 9051 w 9600"/>
                  <a:gd name="connsiteY65" fmla="*/ 0 h 10000"/>
                  <a:gd name="connsiteX66" fmla="*/ 8751 w 9600"/>
                  <a:gd name="connsiteY66" fmla="*/ 161 h 10000"/>
                  <a:gd name="connsiteX67" fmla="*/ 8549 w 9600"/>
                  <a:gd name="connsiteY67" fmla="*/ 129 h 10000"/>
                  <a:gd name="connsiteX68" fmla="*/ 8398 w 9600"/>
                  <a:gd name="connsiteY68" fmla="*/ 418 h 10000"/>
                  <a:gd name="connsiteX69" fmla="*/ 7999 w 9600"/>
                  <a:gd name="connsiteY69" fmla="*/ 482 h 10000"/>
                  <a:gd name="connsiteX70" fmla="*/ 7900 w 9600"/>
                  <a:gd name="connsiteY70" fmla="*/ 707 h 10000"/>
                  <a:gd name="connsiteX71" fmla="*/ 7549 w 9600"/>
                  <a:gd name="connsiteY71" fmla="*/ 707 h 10000"/>
                  <a:gd name="connsiteX72" fmla="*/ 7250 w 9600"/>
                  <a:gd name="connsiteY72" fmla="*/ 611 h 10000"/>
                  <a:gd name="connsiteX73" fmla="*/ 6600 w 9600"/>
                  <a:gd name="connsiteY73" fmla="*/ 611 h 10000"/>
                  <a:gd name="connsiteX74" fmla="*/ 5950 w 9600"/>
                  <a:gd name="connsiteY74" fmla="*/ 611 h 10000"/>
                  <a:gd name="connsiteX75" fmla="*/ 6001 w 9600"/>
                  <a:gd name="connsiteY75" fmla="*/ 482 h 10000"/>
                  <a:gd name="connsiteX76" fmla="*/ 5900 w 9600"/>
                  <a:gd name="connsiteY76" fmla="*/ 482 h 10000"/>
                  <a:gd name="connsiteX77" fmla="*/ 5850 w 9600"/>
                  <a:gd name="connsiteY77" fmla="*/ 611 h 10000"/>
                  <a:gd name="connsiteX78" fmla="*/ 5249 w 9600"/>
                  <a:gd name="connsiteY78" fmla="*/ 611 h 10000"/>
                  <a:gd name="connsiteX79" fmla="*/ 4652 w 9600"/>
                  <a:gd name="connsiteY79" fmla="*/ 611 h 10000"/>
                  <a:gd name="connsiteX80" fmla="*/ 4052 w 9600"/>
                  <a:gd name="connsiteY80" fmla="*/ 611 h 10000"/>
                  <a:gd name="connsiteX81" fmla="*/ 3450 w 9600"/>
                  <a:gd name="connsiteY81" fmla="*/ 611 h 10000"/>
                  <a:gd name="connsiteX82" fmla="*/ 2902 w 9600"/>
                  <a:gd name="connsiteY82" fmla="*/ 611 h 10000"/>
                  <a:gd name="connsiteX83" fmla="*/ 2302 w 9600"/>
                  <a:gd name="connsiteY83" fmla="*/ 611 h 10000"/>
                  <a:gd name="connsiteX84" fmla="*/ 1752 w 9600"/>
                  <a:gd name="connsiteY84" fmla="*/ 611 h 10000"/>
                  <a:gd name="connsiteX85" fmla="*/ 1151 w 9600"/>
                  <a:gd name="connsiteY85" fmla="*/ 611 h 10000"/>
                  <a:gd name="connsiteX86" fmla="*/ 1151 w 9600"/>
                  <a:gd name="connsiteY86" fmla="*/ 1061 h 10000"/>
                  <a:gd name="connsiteX87" fmla="*/ 1151 w 9600"/>
                  <a:gd name="connsiteY87" fmla="*/ 1640 h 10000"/>
                  <a:gd name="connsiteX88" fmla="*/ 403 w 9600"/>
                  <a:gd name="connsiteY88" fmla="*/ 1640 h 10000"/>
                  <a:gd name="connsiteX89" fmla="*/ 403 w 9600"/>
                  <a:gd name="connsiteY89" fmla="*/ 1897 h 10000"/>
                  <a:gd name="connsiteX0" fmla="*/ 420 w 9689"/>
                  <a:gd name="connsiteY0" fmla="*/ 1897 h 10000"/>
                  <a:gd name="connsiteX1" fmla="*/ 6467 w 9689"/>
                  <a:gd name="connsiteY1" fmla="*/ 6915 h 10000"/>
                  <a:gd name="connsiteX2" fmla="*/ 6040 w 9689"/>
                  <a:gd name="connsiteY2" fmla="*/ 7114 h 10000"/>
                  <a:gd name="connsiteX3" fmla="*/ 5682 w 9689"/>
                  <a:gd name="connsiteY3" fmla="*/ 6907 h 10000"/>
                  <a:gd name="connsiteX4" fmla="*/ 5159 w 9689"/>
                  <a:gd name="connsiteY4" fmla="*/ 6781 h 10000"/>
                  <a:gd name="connsiteX5" fmla="*/ 4901 w 9689"/>
                  <a:gd name="connsiteY5" fmla="*/ 7064 h 10000"/>
                  <a:gd name="connsiteX6" fmla="*/ 4259 w 9689"/>
                  <a:gd name="connsiteY6" fmla="*/ 7281 h 10000"/>
                  <a:gd name="connsiteX7" fmla="*/ 3848 w 9689"/>
                  <a:gd name="connsiteY7" fmla="*/ 7279 h 10000"/>
                  <a:gd name="connsiteX8" fmla="*/ 2949 w 9689"/>
                  <a:gd name="connsiteY8" fmla="*/ 7095 h 10000"/>
                  <a:gd name="connsiteX9" fmla="*/ 2709 w 9689"/>
                  <a:gd name="connsiteY9" fmla="*/ 7195 h 10000"/>
                  <a:gd name="connsiteX10" fmla="*/ 2109 w 9689"/>
                  <a:gd name="connsiteY10" fmla="*/ 6973 h 10000"/>
                  <a:gd name="connsiteX11" fmla="*/ 1844 w 9689"/>
                  <a:gd name="connsiteY11" fmla="*/ 6638 h 10000"/>
                  <a:gd name="connsiteX12" fmla="*/ 1404 w 9689"/>
                  <a:gd name="connsiteY12" fmla="*/ 6729 h 10000"/>
                  <a:gd name="connsiteX13" fmla="*/ 1283 w 9689"/>
                  <a:gd name="connsiteY13" fmla="*/ 6927 h 10000"/>
                  <a:gd name="connsiteX14" fmla="*/ 819 w 9689"/>
                  <a:gd name="connsiteY14" fmla="*/ 7011 h 10000"/>
                  <a:gd name="connsiteX15" fmla="*/ 510 w 9689"/>
                  <a:gd name="connsiteY15" fmla="*/ 7004 h 10000"/>
                  <a:gd name="connsiteX16" fmla="*/ 343 w 9689"/>
                  <a:gd name="connsiteY16" fmla="*/ 7161 h 10000"/>
                  <a:gd name="connsiteX17" fmla="*/ 54 w 9689"/>
                  <a:gd name="connsiteY17" fmla="*/ 6913 h 10000"/>
                  <a:gd name="connsiteX18" fmla="*/ 0 w 9689"/>
                  <a:gd name="connsiteY18" fmla="*/ 7363 h 10000"/>
                  <a:gd name="connsiteX19" fmla="*/ 103 w 9689"/>
                  <a:gd name="connsiteY19" fmla="*/ 7428 h 10000"/>
                  <a:gd name="connsiteX20" fmla="*/ 521 w 9689"/>
                  <a:gd name="connsiteY20" fmla="*/ 7460 h 10000"/>
                  <a:gd name="connsiteX21" fmla="*/ 577 w 9689"/>
                  <a:gd name="connsiteY21" fmla="*/ 7588 h 10000"/>
                  <a:gd name="connsiteX22" fmla="*/ 1042 w 9689"/>
                  <a:gd name="connsiteY22" fmla="*/ 7621 h 10000"/>
                  <a:gd name="connsiteX23" fmla="*/ 1304 w 9689"/>
                  <a:gd name="connsiteY23" fmla="*/ 7749 h 10000"/>
                  <a:gd name="connsiteX24" fmla="*/ 1354 w 9689"/>
                  <a:gd name="connsiteY24" fmla="*/ 7974 h 10000"/>
                  <a:gd name="connsiteX25" fmla="*/ 2190 w 9689"/>
                  <a:gd name="connsiteY25" fmla="*/ 8360 h 10000"/>
                  <a:gd name="connsiteX26" fmla="*/ 2398 w 9689"/>
                  <a:gd name="connsiteY26" fmla="*/ 8746 h 10000"/>
                  <a:gd name="connsiteX27" fmla="*/ 2969 w 9689"/>
                  <a:gd name="connsiteY27" fmla="*/ 8939 h 10000"/>
                  <a:gd name="connsiteX28" fmla="*/ 3178 w 9689"/>
                  <a:gd name="connsiteY28" fmla="*/ 9196 h 10000"/>
                  <a:gd name="connsiteX29" fmla="*/ 3594 w 9689"/>
                  <a:gd name="connsiteY29" fmla="*/ 9518 h 10000"/>
                  <a:gd name="connsiteX30" fmla="*/ 3909 w 9689"/>
                  <a:gd name="connsiteY30" fmla="*/ 9614 h 10000"/>
                  <a:gd name="connsiteX31" fmla="*/ 4116 w 9689"/>
                  <a:gd name="connsiteY31" fmla="*/ 9518 h 10000"/>
                  <a:gd name="connsiteX32" fmla="*/ 4636 w 9689"/>
                  <a:gd name="connsiteY32" fmla="*/ 9550 h 10000"/>
                  <a:gd name="connsiteX33" fmla="*/ 4846 w 9689"/>
                  <a:gd name="connsiteY33" fmla="*/ 9486 h 10000"/>
                  <a:gd name="connsiteX34" fmla="*/ 5781 w 9689"/>
                  <a:gd name="connsiteY34" fmla="*/ 9968 h 10000"/>
                  <a:gd name="connsiteX35" fmla="*/ 5834 w 9689"/>
                  <a:gd name="connsiteY35" fmla="*/ 9968 h 10000"/>
                  <a:gd name="connsiteX36" fmla="*/ 5939 w 9689"/>
                  <a:gd name="connsiteY36" fmla="*/ 9904 h 10000"/>
                  <a:gd name="connsiteX37" fmla="*/ 6611 w 9689"/>
                  <a:gd name="connsiteY37" fmla="*/ 9904 h 10000"/>
                  <a:gd name="connsiteX38" fmla="*/ 6720 w 9689"/>
                  <a:gd name="connsiteY38" fmla="*/ 10000 h 10000"/>
                  <a:gd name="connsiteX39" fmla="*/ 7292 w 9689"/>
                  <a:gd name="connsiteY39" fmla="*/ 9871 h 10000"/>
                  <a:gd name="connsiteX40" fmla="*/ 7811 w 9689"/>
                  <a:gd name="connsiteY40" fmla="*/ 9871 h 10000"/>
                  <a:gd name="connsiteX41" fmla="*/ 8176 w 9689"/>
                  <a:gd name="connsiteY41" fmla="*/ 9743 h 10000"/>
                  <a:gd name="connsiteX42" fmla="*/ 8595 w 9689"/>
                  <a:gd name="connsiteY42" fmla="*/ 9486 h 10000"/>
                  <a:gd name="connsiteX43" fmla="*/ 9689 w 9689"/>
                  <a:gd name="connsiteY43" fmla="*/ 9486 h 10000"/>
                  <a:gd name="connsiteX44" fmla="*/ 9689 w 9689"/>
                  <a:gd name="connsiteY44" fmla="*/ 9132 h 10000"/>
                  <a:gd name="connsiteX45" fmla="*/ 9116 w 9689"/>
                  <a:gd name="connsiteY45" fmla="*/ 8971 h 10000"/>
                  <a:gd name="connsiteX46" fmla="*/ 8801 w 9689"/>
                  <a:gd name="connsiteY46" fmla="*/ 8457 h 10000"/>
                  <a:gd name="connsiteX47" fmla="*/ 8386 w 9689"/>
                  <a:gd name="connsiteY47" fmla="*/ 8264 h 10000"/>
                  <a:gd name="connsiteX48" fmla="*/ 8124 w 9689"/>
                  <a:gd name="connsiteY48" fmla="*/ 8006 h 10000"/>
                  <a:gd name="connsiteX49" fmla="*/ 7448 w 9689"/>
                  <a:gd name="connsiteY49" fmla="*/ 7814 h 10000"/>
                  <a:gd name="connsiteX50" fmla="*/ 7604 w 9689"/>
                  <a:gd name="connsiteY50" fmla="*/ 7749 h 10000"/>
                  <a:gd name="connsiteX51" fmla="*/ 7604 w 9689"/>
                  <a:gd name="connsiteY51" fmla="*/ 7588 h 10000"/>
                  <a:gd name="connsiteX52" fmla="*/ 8075 w 9689"/>
                  <a:gd name="connsiteY52" fmla="*/ 7588 h 10000"/>
                  <a:gd name="connsiteX53" fmla="*/ 8332 w 9689"/>
                  <a:gd name="connsiteY53" fmla="*/ 7460 h 10000"/>
                  <a:gd name="connsiteX54" fmla="*/ 8386 w 9689"/>
                  <a:gd name="connsiteY54" fmla="*/ 6527 h 10000"/>
                  <a:gd name="connsiteX55" fmla="*/ 8436 w 9689"/>
                  <a:gd name="connsiteY55" fmla="*/ 6559 h 10000"/>
                  <a:gd name="connsiteX56" fmla="*/ 8252 w 9689"/>
                  <a:gd name="connsiteY56" fmla="*/ 6618 h 10000"/>
                  <a:gd name="connsiteX57" fmla="*/ 8178 w 9689"/>
                  <a:gd name="connsiteY57" fmla="*/ 6745 h 10000"/>
                  <a:gd name="connsiteX58" fmla="*/ 7713 w 9689"/>
                  <a:gd name="connsiteY58" fmla="*/ 6497 h 10000"/>
                  <a:gd name="connsiteX59" fmla="*/ 7629 w 9689"/>
                  <a:gd name="connsiteY59" fmla="*/ 5828 h 10000"/>
                  <a:gd name="connsiteX60" fmla="*/ 7132 w 9689"/>
                  <a:gd name="connsiteY60" fmla="*/ 6118 h 10000"/>
                  <a:gd name="connsiteX61" fmla="*/ 7140 w 9689"/>
                  <a:gd name="connsiteY61" fmla="*/ 6462 h 10000"/>
                  <a:gd name="connsiteX62" fmla="*/ 6739 w 9689"/>
                  <a:gd name="connsiteY62" fmla="*/ 6670 h 10000"/>
                  <a:gd name="connsiteX63" fmla="*/ 9634 w 9689"/>
                  <a:gd name="connsiteY63" fmla="*/ 161 h 10000"/>
                  <a:gd name="connsiteX64" fmla="*/ 9428 w 9689"/>
                  <a:gd name="connsiteY64" fmla="*/ 0 h 10000"/>
                  <a:gd name="connsiteX65" fmla="*/ 9116 w 9689"/>
                  <a:gd name="connsiteY65" fmla="*/ 161 h 10000"/>
                  <a:gd name="connsiteX66" fmla="*/ 8905 w 9689"/>
                  <a:gd name="connsiteY66" fmla="*/ 129 h 10000"/>
                  <a:gd name="connsiteX67" fmla="*/ 8748 w 9689"/>
                  <a:gd name="connsiteY67" fmla="*/ 418 h 10000"/>
                  <a:gd name="connsiteX68" fmla="*/ 8332 w 9689"/>
                  <a:gd name="connsiteY68" fmla="*/ 482 h 10000"/>
                  <a:gd name="connsiteX69" fmla="*/ 8229 w 9689"/>
                  <a:gd name="connsiteY69" fmla="*/ 707 h 10000"/>
                  <a:gd name="connsiteX70" fmla="*/ 7864 w 9689"/>
                  <a:gd name="connsiteY70" fmla="*/ 707 h 10000"/>
                  <a:gd name="connsiteX71" fmla="*/ 7552 w 9689"/>
                  <a:gd name="connsiteY71" fmla="*/ 611 h 10000"/>
                  <a:gd name="connsiteX72" fmla="*/ 6875 w 9689"/>
                  <a:gd name="connsiteY72" fmla="*/ 611 h 10000"/>
                  <a:gd name="connsiteX73" fmla="*/ 6198 w 9689"/>
                  <a:gd name="connsiteY73" fmla="*/ 611 h 10000"/>
                  <a:gd name="connsiteX74" fmla="*/ 6251 w 9689"/>
                  <a:gd name="connsiteY74" fmla="*/ 482 h 10000"/>
                  <a:gd name="connsiteX75" fmla="*/ 6146 w 9689"/>
                  <a:gd name="connsiteY75" fmla="*/ 482 h 10000"/>
                  <a:gd name="connsiteX76" fmla="*/ 6094 w 9689"/>
                  <a:gd name="connsiteY76" fmla="*/ 611 h 10000"/>
                  <a:gd name="connsiteX77" fmla="*/ 5468 w 9689"/>
                  <a:gd name="connsiteY77" fmla="*/ 611 h 10000"/>
                  <a:gd name="connsiteX78" fmla="*/ 4846 w 9689"/>
                  <a:gd name="connsiteY78" fmla="*/ 611 h 10000"/>
                  <a:gd name="connsiteX79" fmla="*/ 4221 w 9689"/>
                  <a:gd name="connsiteY79" fmla="*/ 611 h 10000"/>
                  <a:gd name="connsiteX80" fmla="*/ 3594 w 9689"/>
                  <a:gd name="connsiteY80" fmla="*/ 611 h 10000"/>
                  <a:gd name="connsiteX81" fmla="*/ 3023 w 9689"/>
                  <a:gd name="connsiteY81" fmla="*/ 611 h 10000"/>
                  <a:gd name="connsiteX82" fmla="*/ 2398 w 9689"/>
                  <a:gd name="connsiteY82" fmla="*/ 611 h 10000"/>
                  <a:gd name="connsiteX83" fmla="*/ 1825 w 9689"/>
                  <a:gd name="connsiteY83" fmla="*/ 611 h 10000"/>
                  <a:gd name="connsiteX84" fmla="*/ 1199 w 9689"/>
                  <a:gd name="connsiteY84" fmla="*/ 611 h 10000"/>
                  <a:gd name="connsiteX85" fmla="*/ 1199 w 9689"/>
                  <a:gd name="connsiteY85" fmla="*/ 1061 h 10000"/>
                  <a:gd name="connsiteX86" fmla="*/ 1199 w 9689"/>
                  <a:gd name="connsiteY86" fmla="*/ 1640 h 10000"/>
                  <a:gd name="connsiteX87" fmla="*/ 420 w 9689"/>
                  <a:gd name="connsiteY87" fmla="*/ 1640 h 10000"/>
                  <a:gd name="connsiteX88" fmla="*/ 420 w 9689"/>
                  <a:gd name="connsiteY88" fmla="*/ 1897 h 10000"/>
                  <a:gd name="connsiteX0" fmla="*/ 433 w 10000"/>
                  <a:gd name="connsiteY0" fmla="*/ 1897 h 10000"/>
                  <a:gd name="connsiteX1" fmla="*/ 6675 w 10000"/>
                  <a:gd name="connsiteY1" fmla="*/ 6915 h 10000"/>
                  <a:gd name="connsiteX2" fmla="*/ 6234 w 10000"/>
                  <a:gd name="connsiteY2" fmla="*/ 7114 h 10000"/>
                  <a:gd name="connsiteX3" fmla="*/ 5864 w 10000"/>
                  <a:gd name="connsiteY3" fmla="*/ 6907 h 10000"/>
                  <a:gd name="connsiteX4" fmla="*/ 5325 w 10000"/>
                  <a:gd name="connsiteY4" fmla="*/ 6781 h 10000"/>
                  <a:gd name="connsiteX5" fmla="*/ 5058 w 10000"/>
                  <a:gd name="connsiteY5" fmla="*/ 7064 h 10000"/>
                  <a:gd name="connsiteX6" fmla="*/ 4396 w 10000"/>
                  <a:gd name="connsiteY6" fmla="*/ 7281 h 10000"/>
                  <a:gd name="connsiteX7" fmla="*/ 3972 w 10000"/>
                  <a:gd name="connsiteY7" fmla="*/ 7279 h 10000"/>
                  <a:gd name="connsiteX8" fmla="*/ 3044 w 10000"/>
                  <a:gd name="connsiteY8" fmla="*/ 7095 h 10000"/>
                  <a:gd name="connsiteX9" fmla="*/ 2796 w 10000"/>
                  <a:gd name="connsiteY9" fmla="*/ 7195 h 10000"/>
                  <a:gd name="connsiteX10" fmla="*/ 2177 w 10000"/>
                  <a:gd name="connsiteY10" fmla="*/ 6973 h 10000"/>
                  <a:gd name="connsiteX11" fmla="*/ 1903 w 10000"/>
                  <a:gd name="connsiteY11" fmla="*/ 6638 h 10000"/>
                  <a:gd name="connsiteX12" fmla="*/ 1449 w 10000"/>
                  <a:gd name="connsiteY12" fmla="*/ 6729 h 10000"/>
                  <a:gd name="connsiteX13" fmla="*/ 1324 w 10000"/>
                  <a:gd name="connsiteY13" fmla="*/ 6927 h 10000"/>
                  <a:gd name="connsiteX14" fmla="*/ 845 w 10000"/>
                  <a:gd name="connsiteY14" fmla="*/ 7011 h 10000"/>
                  <a:gd name="connsiteX15" fmla="*/ 526 w 10000"/>
                  <a:gd name="connsiteY15" fmla="*/ 7004 h 10000"/>
                  <a:gd name="connsiteX16" fmla="*/ 354 w 10000"/>
                  <a:gd name="connsiteY16" fmla="*/ 7161 h 10000"/>
                  <a:gd name="connsiteX17" fmla="*/ 56 w 10000"/>
                  <a:gd name="connsiteY17" fmla="*/ 6913 h 10000"/>
                  <a:gd name="connsiteX18" fmla="*/ 0 w 10000"/>
                  <a:gd name="connsiteY18" fmla="*/ 7363 h 10000"/>
                  <a:gd name="connsiteX19" fmla="*/ 106 w 10000"/>
                  <a:gd name="connsiteY19" fmla="*/ 7428 h 10000"/>
                  <a:gd name="connsiteX20" fmla="*/ 538 w 10000"/>
                  <a:gd name="connsiteY20" fmla="*/ 7460 h 10000"/>
                  <a:gd name="connsiteX21" fmla="*/ 596 w 10000"/>
                  <a:gd name="connsiteY21" fmla="*/ 7588 h 10000"/>
                  <a:gd name="connsiteX22" fmla="*/ 1075 w 10000"/>
                  <a:gd name="connsiteY22" fmla="*/ 7621 h 10000"/>
                  <a:gd name="connsiteX23" fmla="*/ 1346 w 10000"/>
                  <a:gd name="connsiteY23" fmla="*/ 7749 h 10000"/>
                  <a:gd name="connsiteX24" fmla="*/ 1397 w 10000"/>
                  <a:gd name="connsiteY24" fmla="*/ 7974 h 10000"/>
                  <a:gd name="connsiteX25" fmla="*/ 2260 w 10000"/>
                  <a:gd name="connsiteY25" fmla="*/ 8360 h 10000"/>
                  <a:gd name="connsiteX26" fmla="*/ 2475 w 10000"/>
                  <a:gd name="connsiteY26" fmla="*/ 8746 h 10000"/>
                  <a:gd name="connsiteX27" fmla="*/ 3064 w 10000"/>
                  <a:gd name="connsiteY27" fmla="*/ 8939 h 10000"/>
                  <a:gd name="connsiteX28" fmla="*/ 3280 w 10000"/>
                  <a:gd name="connsiteY28" fmla="*/ 9196 h 10000"/>
                  <a:gd name="connsiteX29" fmla="*/ 3709 w 10000"/>
                  <a:gd name="connsiteY29" fmla="*/ 9518 h 10000"/>
                  <a:gd name="connsiteX30" fmla="*/ 4034 w 10000"/>
                  <a:gd name="connsiteY30" fmla="*/ 9614 h 10000"/>
                  <a:gd name="connsiteX31" fmla="*/ 4248 w 10000"/>
                  <a:gd name="connsiteY31" fmla="*/ 9518 h 10000"/>
                  <a:gd name="connsiteX32" fmla="*/ 4785 w 10000"/>
                  <a:gd name="connsiteY32" fmla="*/ 9550 h 10000"/>
                  <a:gd name="connsiteX33" fmla="*/ 5002 w 10000"/>
                  <a:gd name="connsiteY33" fmla="*/ 9486 h 10000"/>
                  <a:gd name="connsiteX34" fmla="*/ 5967 w 10000"/>
                  <a:gd name="connsiteY34" fmla="*/ 9968 h 10000"/>
                  <a:gd name="connsiteX35" fmla="*/ 6021 w 10000"/>
                  <a:gd name="connsiteY35" fmla="*/ 9968 h 10000"/>
                  <a:gd name="connsiteX36" fmla="*/ 6130 w 10000"/>
                  <a:gd name="connsiteY36" fmla="*/ 9904 h 10000"/>
                  <a:gd name="connsiteX37" fmla="*/ 6823 w 10000"/>
                  <a:gd name="connsiteY37" fmla="*/ 9904 h 10000"/>
                  <a:gd name="connsiteX38" fmla="*/ 6936 w 10000"/>
                  <a:gd name="connsiteY38" fmla="*/ 10000 h 10000"/>
                  <a:gd name="connsiteX39" fmla="*/ 7526 w 10000"/>
                  <a:gd name="connsiteY39" fmla="*/ 9871 h 10000"/>
                  <a:gd name="connsiteX40" fmla="*/ 8062 w 10000"/>
                  <a:gd name="connsiteY40" fmla="*/ 9871 h 10000"/>
                  <a:gd name="connsiteX41" fmla="*/ 8438 w 10000"/>
                  <a:gd name="connsiteY41" fmla="*/ 9743 h 10000"/>
                  <a:gd name="connsiteX42" fmla="*/ 8871 w 10000"/>
                  <a:gd name="connsiteY42" fmla="*/ 9486 h 10000"/>
                  <a:gd name="connsiteX43" fmla="*/ 10000 w 10000"/>
                  <a:gd name="connsiteY43" fmla="*/ 9486 h 10000"/>
                  <a:gd name="connsiteX44" fmla="*/ 10000 w 10000"/>
                  <a:gd name="connsiteY44" fmla="*/ 9132 h 10000"/>
                  <a:gd name="connsiteX45" fmla="*/ 9409 w 10000"/>
                  <a:gd name="connsiteY45" fmla="*/ 8971 h 10000"/>
                  <a:gd name="connsiteX46" fmla="*/ 9083 w 10000"/>
                  <a:gd name="connsiteY46" fmla="*/ 8457 h 10000"/>
                  <a:gd name="connsiteX47" fmla="*/ 8655 w 10000"/>
                  <a:gd name="connsiteY47" fmla="*/ 8264 h 10000"/>
                  <a:gd name="connsiteX48" fmla="*/ 8385 w 10000"/>
                  <a:gd name="connsiteY48" fmla="*/ 8006 h 10000"/>
                  <a:gd name="connsiteX49" fmla="*/ 7687 w 10000"/>
                  <a:gd name="connsiteY49" fmla="*/ 7814 h 10000"/>
                  <a:gd name="connsiteX50" fmla="*/ 7848 w 10000"/>
                  <a:gd name="connsiteY50" fmla="*/ 7749 h 10000"/>
                  <a:gd name="connsiteX51" fmla="*/ 7848 w 10000"/>
                  <a:gd name="connsiteY51" fmla="*/ 7588 h 10000"/>
                  <a:gd name="connsiteX52" fmla="*/ 8334 w 10000"/>
                  <a:gd name="connsiteY52" fmla="*/ 7588 h 10000"/>
                  <a:gd name="connsiteX53" fmla="*/ 8599 w 10000"/>
                  <a:gd name="connsiteY53" fmla="*/ 7460 h 10000"/>
                  <a:gd name="connsiteX54" fmla="*/ 8655 w 10000"/>
                  <a:gd name="connsiteY54" fmla="*/ 6527 h 10000"/>
                  <a:gd name="connsiteX55" fmla="*/ 8707 w 10000"/>
                  <a:gd name="connsiteY55" fmla="*/ 6559 h 10000"/>
                  <a:gd name="connsiteX56" fmla="*/ 8517 w 10000"/>
                  <a:gd name="connsiteY56" fmla="*/ 6618 h 10000"/>
                  <a:gd name="connsiteX57" fmla="*/ 8440 w 10000"/>
                  <a:gd name="connsiteY57" fmla="*/ 6745 h 10000"/>
                  <a:gd name="connsiteX58" fmla="*/ 7961 w 10000"/>
                  <a:gd name="connsiteY58" fmla="*/ 6497 h 10000"/>
                  <a:gd name="connsiteX59" fmla="*/ 7874 w 10000"/>
                  <a:gd name="connsiteY59" fmla="*/ 5828 h 10000"/>
                  <a:gd name="connsiteX60" fmla="*/ 7361 w 10000"/>
                  <a:gd name="connsiteY60" fmla="*/ 6118 h 10000"/>
                  <a:gd name="connsiteX61" fmla="*/ 7369 w 10000"/>
                  <a:gd name="connsiteY61" fmla="*/ 6462 h 10000"/>
                  <a:gd name="connsiteX62" fmla="*/ 6955 w 10000"/>
                  <a:gd name="connsiteY62" fmla="*/ 6670 h 10000"/>
                  <a:gd name="connsiteX63" fmla="*/ 9731 w 10000"/>
                  <a:gd name="connsiteY63" fmla="*/ 0 h 10000"/>
                  <a:gd name="connsiteX64" fmla="*/ 9409 w 10000"/>
                  <a:gd name="connsiteY64" fmla="*/ 161 h 10000"/>
                  <a:gd name="connsiteX65" fmla="*/ 9191 w 10000"/>
                  <a:gd name="connsiteY65" fmla="*/ 129 h 10000"/>
                  <a:gd name="connsiteX66" fmla="*/ 9029 w 10000"/>
                  <a:gd name="connsiteY66" fmla="*/ 418 h 10000"/>
                  <a:gd name="connsiteX67" fmla="*/ 8599 w 10000"/>
                  <a:gd name="connsiteY67" fmla="*/ 482 h 10000"/>
                  <a:gd name="connsiteX68" fmla="*/ 8493 w 10000"/>
                  <a:gd name="connsiteY68" fmla="*/ 707 h 10000"/>
                  <a:gd name="connsiteX69" fmla="*/ 8116 w 10000"/>
                  <a:gd name="connsiteY69" fmla="*/ 707 h 10000"/>
                  <a:gd name="connsiteX70" fmla="*/ 7794 w 10000"/>
                  <a:gd name="connsiteY70" fmla="*/ 611 h 10000"/>
                  <a:gd name="connsiteX71" fmla="*/ 7096 w 10000"/>
                  <a:gd name="connsiteY71" fmla="*/ 611 h 10000"/>
                  <a:gd name="connsiteX72" fmla="*/ 6397 w 10000"/>
                  <a:gd name="connsiteY72" fmla="*/ 611 h 10000"/>
                  <a:gd name="connsiteX73" fmla="*/ 6452 w 10000"/>
                  <a:gd name="connsiteY73" fmla="*/ 482 h 10000"/>
                  <a:gd name="connsiteX74" fmla="*/ 6343 w 10000"/>
                  <a:gd name="connsiteY74" fmla="*/ 482 h 10000"/>
                  <a:gd name="connsiteX75" fmla="*/ 6290 w 10000"/>
                  <a:gd name="connsiteY75" fmla="*/ 611 h 10000"/>
                  <a:gd name="connsiteX76" fmla="*/ 5644 w 10000"/>
                  <a:gd name="connsiteY76" fmla="*/ 611 h 10000"/>
                  <a:gd name="connsiteX77" fmla="*/ 5002 w 10000"/>
                  <a:gd name="connsiteY77" fmla="*/ 611 h 10000"/>
                  <a:gd name="connsiteX78" fmla="*/ 4356 w 10000"/>
                  <a:gd name="connsiteY78" fmla="*/ 611 h 10000"/>
                  <a:gd name="connsiteX79" fmla="*/ 3709 w 10000"/>
                  <a:gd name="connsiteY79" fmla="*/ 611 h 10000"/>
                  <a:gd name="connsiteX80" fmla="*/ 3120 w 10000"/>
                  <a:gd name="connsiteY80" fmla="*/ 611 h 10000"/>
                  <a:gd name="connsiteX81" fmla="*/ 2475 w 10000"/>
                  <a:gd name="connsiteY81" fmla="*/ 611 h 10000"/>
                  <a:gd name="connsiteX82" fmla="*/ 1884 w 10000"/>
                  <a:gd name="connsiteY82" fmla="*/ 611 h 10000"/>
                  <a:gd name="connsiteX83" fmla="*/ 1237 w 10000"/>
                  <a:gd name="connsiteY83" fmla="*/ 611 h 10000"/>
                  <a:gd name="connsiteX84" fmla="*/ 1237 w 10000"/>
                  <a:gd name="connsiteY84" fmla="*/ 1061 h 10000"/>
                  <a:gd name="connsiteX85" fmla="*/ 1237 w 10000"/>
                  <a:gd name="connsiteY85" fmla="*/ 1640 h 10000"/>
                  <a:gd name="connsiteX86" fmla="*/ 433 w 10000"/>
                  <a:gd name="connsiteY86" fmla="*/ 1640 h 10000"/>
                  <a:gd name="connsiteX87" fmla="*/ 433 w 10000"/>
                  <a:gd name="connsiteY87" fmla="*/ 1897 h 10000"/>
                  <a:gd name="connsiteX0" fmla="*/ 433 w 10000"/>
                  <a:gd name="connsiteY0" fmla="*/ 1768 h 9871"/>
                  <a:gd name="connsiteX1" fmla="*/ 6675 w 10000"/>
                  <a:gd name="connsiteY1" fmla="*/ 6786 h 9871"/>
                  <a:gd name="connsiteX2" fmla="*/ 6234 w 10000"/>
                  <a:gd name="connsiteY2" fmla="*/ 6985 h 9871"/>
                  <a:gd name="connsiteX3" fmla="*/ 5864 w 10000"/>
                  <a:gd name="connsiteY3" fmla="*/ 6778 h 9871"/>
                  <a:gd name="connsiteX4" fmla="*/ 5325 w 10000"/>
                  <a:gd name="connsiteY4" fmla="*/ 6652 h 9871"/>
                  <a:gd name="connsiteX5" fmla="*/ 5058 w 10000"/>
                  <a:gd name="connsiteY5" fmla="*/ 6935 h 9871"/>
                  <a:gd name="connsiteX6" fmla="*/ 4396 w 10000"/>
                  <a:gd name="connsiteY6" fmla="*/ 7152 h 9871"/>
                  <a:gd name="connsiteX7" fmla="*/ 3972 w 10000"/>
                  <a:gd name="connsiteY7" fmla="*/ 7150 h 9871"/>
                  <a:gd name="connsiteX8" fmla="*/ 3044 w 10000"/>
                  <a:gd name="connsiteY8" fmla="*/ 6966 h 9871"/>
                  <a:gd name="connsiteX9" fmla="*/ 2796 w 10000"/>
                  <a:gd name="connsiteY9" fmla="*/ 7066 h 9871"/>
                  <a:gd name="connsiteX10" fmla="*/ 2177 w 10000"/>
                  <a:gd name="connsiteY10" fmla="*/ 6844 h 9871"/>
                  <a:gd name="connsiteX11" fmla="*/ 1903 w 10000"/>
                  <a:gd name="connsiteY11" fmla="*/ 6509 h 9871"/>
                  <a:gd name="connsiteX12" fmla="*/ 1449 w 10000"/>
                  <a:gd name="connsiteY12" fmla="*/ 6600 h 9871"/>
                  <a:gd name="connsiteX13" fmla="*/ 1324 w 10000"/>
                  <a:gd name="connsiteY13" fmla="*/ 6798 h 9871"/>
                  <a:gd name="connsiteX14" fmla="*/ 845 w 10000"/>
                  <a:gd name="connsiteY14" fmla="*/ 6882 h 9871"/>
                  <a:gd name="connsiteX15" fmla="*/ 526 w 10000"/>
                  <a:gd name="connsiteY15" fmla="*/ 6875 h 9871"/>
                  <a:gd name="connsiteX16" fmla="*/ 354 w 10000"/>
                  <a:gd name="connsiteY16" fmla="*/ 7032 h 9871"/>
                  <a:gd name="connsiteX17" fmla="*/ 56 w 10000"/>
                  <a:gd name="connsiteY17" fmla="*/ 6784 h 9871"/>
                  <a:gd name="connsiteX18" fmla="*/ 0 w 10000"/>
                  <a:gd name="connsiteY18" fmla="*/ 7234 h 9871"/>
                  <a:gd name="connsiteX19" fmla="*/ 106 w 10000"/>
                  <a:gd name="connsiteY19" fmla="*/ 7299 h 9871"/>
                  <a:gd name="connsiteX20" fmla="*/ 538 w 10000"/>
                  <a:gd name="connsiteY20" fmla="*/ 7331 h 9871"/>
                  <a:gd name="connsiteX21" fmla="*/ 596 w 10000"/>
                  <a:gd name="connsiteY21" fmla="*/ 7459 h 9871"/>
                  <a:gd name="connsiteX22" fmla="*/ 1075 w 10000"/>
                  <a:gd name="connsiteY22" fmla="*/ 7492 h 9871"/>
                  <a:gd name="connsiteX23" fmla="*/ 1346 w 10000"/>
                  <a:gd name="connsiteY23" fmla="*/ 7620 h 9871"/>
                  <a:gd name="connsiteX24" fmla="*/ 1397 w 10000"/>
                  <a:gd name="connsiteY24" fmla="*/ 7845 h 9871"/>
                  <a:gd name="connsiteX25" fmla="*/ 2260 w 10000"/>
                  <a:gd name="connsiteY25" fmla="*/ 8231 h 9871"/>
                  <a:gd name="connsiteX26" fmla="*/ 2475 w 10000"/>
                  <a:gd name="connsiteY26" fmla="*/ 8617 h 9871"/>
                  <a:gd name="connsiteX27" fmla="*/ 3064 w 10000"/>
                  <a:gd name="connsiteY27" fmla="*/ 8810 h 9871"/>
                  <a:gd name="connsiteX28" fmla="*/ 3280 w 10000"/>
                  <a:gd name="connsiteY28" fmla="*/ 9067 h 9871"/>
                  <a:gd name="connsiteX29" fmla="*/ 3709 w 10000"/>
                  <a:gd name="connsiteY29" fmla="*/ 9389 h 9871"/>
                  <a:gd name="connsiteX30" fmla="*/ 4034 w 10000"/>
                  <a:gd name="connsiteY30" fmla="*/ 9485 h 9871"/>
                  <a:gd name="connsiteX31" fmla="*/ 4248 w 10000"/>
                  <a:gd name="connsiteY31" fmla="*/ 9389 h 9871"/>
                  <a:gd name="connsiteX32" fmla="*/ 4785 w 10000"/>
                  <a:gd name="connsiteY32" fmla="*/ 9421 h 9871"/>
                  <a:gd name="connsiteX33" fmla="*/ 5002 w 10000"/>
                  <a:gd name="connsiteY33" fmla="*/ 9357 h 9871"/>
                  <a:gd name="connsiteX34" fmla="*/ 5967 w 10000"/>
                  <a:gd name="connsiteY34" fmla="*/ 9839 h 9871"/>
                  <a:gd name="connsiteX35" fmla="*/ 6021 w 10000"/>
                  <a:gd name="connsiteY35" fmla="*/ 9839 h 9871"/>
                  <a:gd name="connsiteX36" fmla="*/ 6130 w 10000"/>
                  <a:gd name="connsiteY36" fmla="*/ 9775 h 9871"/>
                  <a:gd name="connsiteX37" fmla="*/ 6823 w 10000"/>
                  <a:gd name="connsiteY37" fmla="*/ 9775 h 9871"/>
                  <a:gd name="connsiteX38" fmla="*/ 6936 w 10000"/>
                  <a:gd name="connsiteY38" fmla="*/ 9871 h 9871"/>
                  <a:gd name="connsiteX39" fmla="*/ 7526 w 10000"/>
                  <a:gd name="connsiteY39" fmla="*/ 9742 h 9871"/>
                  <a:gd name="connsiteX40" fmla="*/ 8062 w 10000"/>
                  <a:gd name="connsiteY40" fmla="*/ 9742 h 9871"/>
                  <a:gd name="connsiteX41" fmla="*/ 8438 w 10000"/>
                  <a:gd name="connsiteY41" fmla="*/ 9614 h 9871"/>
                  <a:gd name="connsiteX42" fmla="*/ 8871 w 10000"/>
                  <a:gd name="connsiteY42" fmla="*/ 9357 h 9871"/>
                  <a:gd name="connsiteX43" fmla="*/ 10000 w 10000"/>
                  <a:gd name="connsiteY43" fmla="*/ 9357 h 9871"/>
                  <a:gd name="connsiteX44" fmla="*/ 10000 w 10000"/>
                  <a:gd name="connsiteY44" fmla="*/ 9003 h 9871"/>
                  <a:gd name="connsiteX45" fmla="*/ 9409 w 10000"/>
                  <a:gd name="connsiteY45" fmla="*/ 8842 h 9871"/>
                  <a:gd name="connsiteX46" fmla="*/ 9083 w 10000"/>
                  <a:gd name="connsiteY46" fmla="*/ 8328 h 9871"/>
                  <a:gd name="connsiteX47" fmla="*/ 8655 w 10000"/>
                  <a:gd name="connsiteY47" fmla="*/ 8135 h 9871"/>
                  <a:gd name="connsiteX48" fmla="*/ 8385 w 10000"/>
                  <a:gd name="connsiteY48" fmla="*/ 7877 h 9871"/>
                  <a:gd name="connsiteX49" fmla="*/ 7687 w 10000"/>
                  <a:gd name="connsiteY49" fmla="*/ 7685 h 9871"/>
                  <a:gd name="connsiteX50" fmla="*/ 7848 w 10000"/>
                  <a:gd name="connsiteY50" fmla="*/ 7620 h 9871"/>
                  <a:gd name="connsiteX51" fmla="*/ 7848 w 10000"/>
                  <a:gd name="connsiteY51" fmla="*/ 7459 h 9871"/>
                  <a:gd name="connsiteX52" fmla="*/ 8334 w 10000"/>
                  <a:gd name="connsiteY52" fmla="*/ 7459 h 9871"/>
                  <a:gd name="connsiteX53" fmla="*/ 8599 w 10000"/>
                  <a:gd name="connsiteY53" fmla="*/ 7331 h 9871"/>
                  <a:gd name="connsiteX54" fmla="*/ 8655 w 10000"/>
                  <a:gd name="connsiteY54" fmla="*/ 6398 h 9871"/>
                  <a:gd name="connsiteX55" fmla="*/ 8707 w 10000"/>
                  <a:gd name="connsiteY55" fmla="*/ 6430 h 9871"/>
                  <a:gd name="connsiteX56" fmla="*/ 8517 w 10000"/>
                  <a:gd name="connsiteY56" fmla="*/ 6489 h 9871"/>
                  <a:gd name="connsiteX57" fmla="*/ 8440 w 10000"/>
                  <a:gd name="connsiteY57" fmla="*/ 6616 h 9871"/>
                  <a:gd name="connsiteX58" fmla="*/ 7961 w 10000"/>
                  <a:gd name="connsiteY58" fmla="*/ 6368 h 9871"/>
                  <a:gd name="connsiteX59" fmla="*/ 7874 w 10000"/>
                  <a:gd name="connsiteY59" fmla="*/ 5699 h 9871"/>
                  <a:gd name="connsiteX60" fmla="*/ 7361 w 10000"/>
                  <a:gd name="connsiteY60" fmla="*/ 5989 h 9871"/>
                  <a:gd name="connsiteX61" fmla="*/ 7369 w 10000"/>
                  <a:gd name="connsiteY61" fmla="*/ 6333 h 9871"/>
                  <a:gd name="connsiteX62" fmla="*/ 6955 w 10000"/>
                  <a:gd name="connsiteY62" fmla="*/ 6541 h 9871"/>
                  <a:gd name="connsiteX63" fmla="*/ 9409 w 10000"/>
                  <a:gd name="connsiteY63" fmla="*/ 32 h 9871"/>
                  <a:gd name="connsiteX64" fmla="*/ 9191 w 10000"/>
                  <a:gd name="connsiteY64" fmla="*/ 0 h 9871"/>
                  <a:gd name="connsiteX65" fmla="*/ 9029 w 10000"/>
                  <a:gd name="connsiteY65" fmla="*/ 289 h 9871"/>
                  <a:gd name="connsiteX66" fmla="*/ 8599 w 10000"/>
                  <a:gd name="connsiteY66" fmla="*/ 353 h 9871"/>
                  <a:gd name="connsiteX67" fmla="*/ 8493 w 10000"/>
                  <a:gd name="connsiteY67" fmla="*/ 578 h 9871"/>
                  <a:gd name="connsiteX68" fmla="*/ 8116 w 10000"/>
                  <a:gd name="connsiteY68" fmla="*/ 578 h 9871"/>
                  <a:gd name="connsiteX69" fmla="*/ 7794 w 10000"/>
                  <a:gd name="connsiteY69" fmla="*/ 482 h 9871"/>
                  <a:gd name="connsiteX70" fmla="*/ 7096 w 10000"/>
                  <a:gd name="connsiteY70" fmla="*/ 482 h 9871"/>
                  <a:gd name="connsiteX71" fmla="*/ 6397 w 10000"/>
                  <a:gd name="connsiteY71" fmla="*/ 482 h 9871"/>
                  <a:gd name="connsiteX72" fmla="*/ 6452 w 10000"/>
                  <a:gd name="connsiteY72" fmla="*/ 353 h 9871"/>
                  <a:gd name="connsiteX73" fmla="*/ 6343 w 10000"/>
                  <a:gd name="connsiteY73" fmla="*/ 353 h 9871"/>
                  <a:gd name="connsiteX74" fmla="*/ 6290 w 10000"/>
                  <a:gd name="connsiteY74" fmla="*/ 482 h 9871"/>
                  <a:gd name="connsiteX75" fmla="*/ 5644 w 10000"/>
                  <a:gd name="connsiteY75" fmla="*/ 482 h 9871"/>
                  <a:gd name="connsiteX76" fmla="*/ 5002 w 10000"/>
                  <a:gd name="connsiteY76" fmla="*/ 482 h 9871"/>
                  <a:gd name="connsiteX77" fmla="*/ 4356 w 10000"/>
                  <a:gd name="connsiteY77" fmla="*/ 482 h 9871"/>
                  <a:gd name="connsiteX78" fmla="*/ 3709 w 10000"/>
                  <a:gd name="connsiteY78" fmla="*/ 482 h 9871"/>
                  <a:gd name="connsiteX79" fmla="*/ 3120 w 10000"/>
                  <a:gd name="connsiteY79" fmla="*/ 482 h 9871"/>
                  <a:gd name="connsiteX80" fmla="*/ 2475 w 10000"/>
                  <a:gd name="connsiteY80" fmla="*/ 482 h 9871"/>
                  <a:gd name="connsiteX81" fmla="*/ 1884 w 10000"/>
                  <a:gd name="connsiteY81" fmla="*/ 482 h 9871"/>
                  <a:gd name="connsiteX82" fmla="*/ 1237 w 10000"/>
                  <a:gd name="connsiteY82" fmla="*/ 482 h 9871"/>
                  <a:gd name="connsiteX83" fmla="*/ 1237 w 10000"/>
                  <a:gd name="connsiteY83" fmla="*/ 932 h 9871"/>
                  <a:gd name="connsiteX84" fmla="*/ 1237 w 10000"/>
                  <a:gd name="connsiteY84" fmla="*/ 1511 h 9871"/>
                  <a:gd name="connsiteX85" fmla="*/ 433 w 10000"/>
                  <a:gd name="connsiteY85" fmla="*/ 1511 h 9871"/>
                  <a:gd name="connsiteX86" fmla="*/ 433 w 10000"/>
                  <a:gd name="connsiteY86" fmla="*/ 1768 h 9871"/>
                  <a:gd name="connsiteX0" fmla="*/ 433 w 10000"/>
                  <a:gd name="connsiteY0" fmla="*/ 1791 h 10000"/>
                  <a:gd name="connsiteX1" fmla="*/ 6675 w 10000"/>
                  <a:gd name="connsiteY1" fmla="*/ 6875 h 10000"/>
                  <a:gd name="connsiteX2" fmla="*/ 6234 w 10000"/>
                  <a:gd name="connsiteY2" fmla="*/ 7076 h 10000"/>
                  <a:gd name="connsiteX3" fmla="*/ 5864 w 10000"/>
                  <a:gd name="connsiteY3" fmla="*/ 6867 h 10000"/>
                  <a:gd name="connsiteX4" fmla="*/ 5325 w 10000"/>
                  <a:gd name="connsiteY4" fmla="*/ 6739 h 10000"/>
                  <a:gd name="connsiteX5" fmla="*/ 5058 w 10000"/>
                  <a:gd name="connsiteY5" fmla="*/ 7026 h 10000"/>
                  <a:gd name="connsiteX6" fmla="*/ 4396 w 10000"/>
                  <a:gd name="connsiteY6" fmla="*/ 7245 h 10000"/>
                  <a:gd name="connsiteX7" fmla="*/ 3972 w 10000"/>
                  <a:gd name="connsiteY7" fmla="*/ 7243 h 10000"/>
                  <a:gd name="connsiteX8" fmla="*/ 3044 w 10000"/>
                  <a:gd name="connsiteY8" fmla="*/ 7057 h 10000"/>
                  <a:gd name="connsiteX9" fmla="*/ 2796 w 10000"/>
                  <a:gd name="connsiteY9" fmla="*/ 7158 h 10000"/>
                  <a:gd name="connsiteX10" fmla="*/ 2177 w 10000"/>
                  <a:gd name="connsiteY10" fmla="*/ 6933 h 10000"/>
                  <a:gd name="connsiteX11" fmla="*/ 1903 w 10000"/>
                  <a:gd name="connsiteY11" fmla="*/ 6594 h 10000"/>
                  <a:gd name="connsiteX12" fmla="*/ 1449 w 10000"/>
                  <a:gd name="connsiteY12" fmla="*/ 6686 h 10000"/>
                  <a:gd name="connsiteX13" fmla="*/ 1324 w 10000"/>
                  <a:gd name="connsiteY13" fmla="*/ 6887 h 10000"/>
                  <a:gd name="connsiteX14" fmla="*/ 845 w 10000"/>
                  <a:gd name="connsiteY14" fmla="*/ 6972 h 10000"/>
                  <a:gd name="connsiteX15" fmla="*/ 526 w 10000"/>
                  <a:gd name="connsiteY15" fmla="*/ 6965 h 10000"/>
                  <a:gd name="connsiteX16" fmla="*/ 354 w 10000"/>
                  <a:gd name="connsiteY16" fmla="*/ 7124 h 10000"/>
                  <a:gd name="connsiteX17" fmla="*/ 56 w 10000"/>
                  <a:gd name="connsiteY17" fmla="*/ 6873 h 10000"/>
                  <a:gd name="connsiteX18" fmla="*/ 0 w 10000"/>
                  <a:gd name="connsiteY18" fmla="*/ 7329 h 10000"/>
                  <a:gd name="connsiteX19" fmla="*/ 106 w 10000"/>
                  <a:gd name="connsiteY19" fmla="*/ 7394 h 10000"/>
                  <a:gd name="connsiteX20" fmla="*/ 538 w 10000"/>
                  <a:gd name="connsiteY20" fmla="*/ 7427 h 10000"/>
                  <a:gd name="connsiteX21" fmla="*/ 596 w 10000"/>
                  <a:gd name="connsiteY21" fmla="*/ 7556 h 10000"/>
                  <a:gd name="connsiteX22" fmla="*/ 1075 w 10000"/>
                  <a:gd name="connsiteY22" fmla="*/ 7590 h 10000"/>
                  <a:gd name="connsiteX23" fmla="*/ 1346 w 10000"/>
                  <a:gd name="connsiteY23" fmla="*/ 7720 h 10000"/>
                  <a:gd name="connsiteX24" fmla="*/ 1397 w 10000"/>
                  <a:gd name="connsiteY24" fmla="*/ 7948 h 10000"/>
                  <a:gd name="connsiteX25" fmla="*/ 2260 w 10000"/>
                  <a:gd name="connsiteY25" fmla="*/ 8339 h 10000"/>
                  <a:gd name="connsiteX26" fmla="*/ 2475 w 10000"/>
                  <a:gd name="connsiteY26" fmla="*/ 8730 h 10000"/>
                  <a:gd name="connsiteX27" fmla="*/ 3064 w 10000"/>
                  <a:gd name="connsiteY27" fmla="*/ 8925 h 10000"/>
                  <a:gd name="connsiteX28" fmla="*/ 3280 w 10000"/>
                  <a:gd name="connsiteY28" fmla="*/ 9185 h 10000"/>
                  <a:gd name="connsiteX29" fmla="*/ 3709 w 10000"/>
                  <a:gd name="connsiteY29" fmla="*/ 9512 h 10000"/>
                  <a:gd name="connsiteX30" fmla="*/ 4034 w 10000"/>
                  <a:gd name="connsiteY30" fmla="*/ 9609 h 10000"/>
                  <a:gd name="connsiteX31" fmla="*/ 4248 w 10000"/>
                  <a:gd name="connsiteY31" fmla="*/ 9512 h 10000"/>
                  <a:gd name="connsiteX32" fmla="*/ 4785 w 10000"/>
                  <a:gd name="connsiteY32" fmla="*/ 9544 h 10000"/>
                  <a:gd name="connsiteX33" fmla="*/ 5002 w 10000"/>
                  <a:gd name="connsiteY33" fmla="*/ 9479 h 10000"/>
                  <a:gd name="connsiteX34" fmla="*/ 5967 w 10000"/>
                  <a:gd name="connsiteY34" fmla="*/ 9968 h 10000"/>
                  <a:gd name="connsiteX35" fmla="*/ 6021 w 10000"/>
                  <a:gd name="connsiteY35" fmla="*/ 9968 h 10000"/>
                  <a:gd name="connsiteX36" fmla="*/ 6130 w 10000"/>
                  <a:gd name="connsiteY36" fmla="*/ 9903 h 10000"/>
                  <a:gd name="connsiteX37" fmla="*/ 6823 w 10000"/>
                  <a:gd name="connsiteY37" fmla="*/ 9903 h 10000"/>
                  <a:gd name="connsiteX38" fmla="*/ 6936 w 10000"/>
                  <a:gd name="connsiteY38" fmla="*/ 10000 h 10000"/>
                  <a:gd name="connsiteX39" fmla="*/ 7526 w 10000"/>
                  <a:gd name="connsiteY39" fmla="*/ 9869 h 10000"/>
                  <a:gd name="connsiteX40" fmla="*/ 8062 w 10000"/>
                  <a:gd name="connsiteY40" fmla="*/ 9869 h 10000"/>
                  <a:gd name="connsiteX41" fmla="*/ 8438 w 10000"/>
                  <a:gd name="connsiteY41" fmla="*/ 9740 h 10000"/>
                  <a:gd name="connsiteX42" fmla="*/ 8871 w 10000"/>
                  <a:gd name="connsiteY42" fmla="*/ 9479 h 10000"/>
                  <a:gd name="connsiteX43" fmla="*/ 10000 w 10000"/>
                  <a:gd name="connsiteY43" fmla="*/ 9479 h 10000"/>
                  <a:gd name="connsiteX44" fmla="*/ 10000 w 10000"/>
                  <a:gd name="connsiteY44" fmla="*/ 9121 h 10000"/>
                  <a:gd name="connsiteX45" fmla="*/ 9409 w 10000"/>
                  <a:gd name="connsiteY45" fmla="*/ 8958 h 10000"/>
                  <a:gd name="connsiteX46" fmla="*/ 9083 w 10000"/>
                  <a:gd name="connsiteY46" fmla="*/ 8437 h 10000"/>
                  <a:gd name="connsiteX47" fmla="*/ 8655 w 10000"/>
                  <a:gd name="connsiteY47" fmla="*/ 8241 h 10000"/>
                  <a:gd name="connsiteX48" fmla="*/ 8385 w 10000"/>
                  <a:gd name="connsiteY48" fmla="*/ 7980 h 10000"/>
                  <a:gd name="connsiteX49" fmla="*/ 7687 w 10000"/>
                  <a:gd name="connsiteY49" fmla="*/ 7785 h 10000"/>
                  <a:gd name="connsiteX50" fmla="*/ 7848 w 10000"/>
                  <a:gd name="connsiteY50" fmla="*/ 7720 h 10000"/>
                  <a:gd name="connsiteX51" fmla="*/ 7848 w 10000"/>
                  <a:gd name="connsiteY51" fmla="*/ 7556 h 10000"/>
                  <a:gd name="connsiteX52" fmla="*/ 8334 w 10000"/>
                  <a:gd name="connsiteY52" fmla="*/ 7556 h 10000"/>
                  <a:gd name="connsiteX53" fmla="*/ 8599 w 10000"/>
                  <a:gd name="connsiteY53" fmla="*/ 7427 h 10000"/>
                  <a:gd name="connsiteX54" fmla="*/ 8655 w 10000"/>
                  <a:gd name="connsiteY54" fmla="*/ 6482 h 10000"/>
                  <a:gd name="connsiteX55" fmla="*/ 8707 w 10000"/>
                  <a:gd name="connsiteY55" fmla="*/ 6514 h 10000"/>
                  <a:gd name="connsiteX56" fmla="*/ 8517 w 10000"/>
                  <a:gd name="connsiteY56" fmla="*/ 6574 h 10000"/>
                  <a:gd name="connsiteX57" fmla="*/ 8440 w 10000"/>
                  <a:gd name="connsiteY57" fmla="*/ 6702 h 10000"/>
                  <a:gd name="connsiteX58" fmla="*/ 7961 w 10000"/>
                  <a:gd name="connsiteY58" fmla="*/ 6451 h 10000"/>
                  <a:gd name="connsiteX59" fmla="*/ 7874 w 10000"/>
                  <a:gd name="connsiteY59" fmla="*/ 5773 h 10000"/>
                  <a:gd name="connsiteX60" fmla="*/ 7361 w 10000"/>
                  <a:gd name="connsiteY60" fmla="*/ 6067 h 10000"/>
                  <a:gd name="connsiteX61" fmla="*/ 7369 w 10000"/>
                  <a:gd name="connsiteY61" fmla="*/ 6416 h 10000"/>
                  <a:gd name="connsiteX62" fmla="*/ 6955 w 10000"/>
                  <a:gd name="connsiteY62" fmla="*/ 6626 h 10000"/>
                  <a:gd name="connsiteX63" fmla="*/ 9191 w 10000"/>
                  <a:gd name="connsiteY63" fmla="*/ 0 h 10000"/>
                  <a:gd name="connsiteX64" fmla="*/ 9029 w 10000"/>
                  <a:gd name="connsiteY64" fmla="*/ 293 h 10000"/>
                  <a:gd name="connsiteX65" fmla="*/ 8599 w 10000"/>
                  <a:gd name="connsiteY65" fmla="*/ 358 h 10000"/>
                  <a:gd name="connsiteX66" fmla="*/ 8493 w 10000"/>
                  <a:gd name="connsiteY66" fmla="*/ 586 h 10000"/>
                  <a:gd name="connsiteX67" fmla="*/ 8116 w 10000"/>
                  <a:gd name="connsiteY67" fmla="*/ 586 h 10000"/>
                  <a:gd name="connsiteX68" fmla="*/ 7794 w 10000"/>
                  <a:gd name="connsiteY68" fmla="*/ 488 h 10000"/>
                  <a:gd name="connsiteX69" fmla="*/ 7096 w 10000"/>
                  <a:gd name="connsiteY69" fmla="*/ 488 h 10000"/>
                  <a:gd name="connsiteX70" fmla="*/ 6397 w 10000"/>
                  <a:gd name="connsiteY70" fmla="*/ 488 h 10000"/>
                  <a:gd name="connsiteX71" fmla="*/ 6452 w 10000"/>
                  <a:gd name="connsiteY71" fmla="*/ 358 h 10000"/>
                  <a:gd name="connsiteX72" fmla="*/ 6343 w 10000"/>
                  <a:gd name="connsiteY72" fmla="*/ 358 h 10000"/>
                  <a:gd name="connsiteX73" fmla="*/ 6290 w 10000"/>
                  <a:gd name="connsiteY73" fmla="*/ 488 h 10000"/>
                  <a:gd name="connsiteX74" fmla="*/ 5644 w 10000"/>
                  <a:gd name="connsiteY74" fmla="*/ 488 h 10000"/>
                  <a:gd name="connsiteX75" fmla="*/ 5002 w 10000"/>
                  <a:gd name="connsiteY75" fmla="*/ 488 h 10000"/>
                  <a:gd name="connsiteX76" fmla="*/ 4356 w 10000"/>
                  <a:gd name="connsiteY76" fmla="*/ 488 h 10000"/>
                  <a:gd name="connsiteX77" fmla="*/ 3709 w 10000"/>
                  <a:gd name="connsiteY77" fmla="*/ 488 h 10000"/>
                  <a:gd name="connsiteX78" fmla="*/ 3120 w 10000"/>
                  <a:gd name="connsiteY78" fmla="*/ 488 h 10000"/>
                  <a:gd name="connsiteX79" fmla="*/ 2475 w 10000"/>
                  <a:gd name="connsiteY79" fmla="*/ 488 h 10000"/>
                  <a:gd name="connsiteX80" fmla="*/ 1884 w 10000"/>
                  <a:gd name="connsiteY80" fmla="*/ 488 h 10000"/>
                  <a:gd name="connsiteX81" fmla="*/ 1237 w 10000"/>
                  <a:gd name="connsiteY81" fmla="*/ 488 h 10000"/>
                  <a:gd name="connsiteX82" fmla="*/ 1237 w 10000"/>
                  <a:gd name="connsiteY82" fmla="*/ 944 h 10000"/>
                  <a:gd name="connsiteX83" fmla="*/ 1237 w 10000"/>
                  <a:gd name="connsiteY83" fmla="*/ 1531 h 10000"/>
                  <a:gd name="connsiteX84" fmla="*/ 433 w 10000"/>
                  <a:gd name="connsiteY84" fmla="*/ 1531 h 10000"/>
                  <a:gd name="connsiteX85" fmla="*/ 433 w 10000"/>
                  <a:gd name="connsiteY85" fmla="*/ 1791 h 10000"/>
                  <a:gd name="connsiteX0" fmla="*/ 433 w 10000"/>
                  <a:gd name="connsiteY0" fmla="*/ 1498 h 9707"/>
                  <a:gd name="connsiteX1" fmla="*/ 6675 w 10000"/>
                  <a:gd name="connsiteY1" fmla="*/ 6582 h 9707"/>
                  <a:gd name="connsiteX2" fmla="*/ 6234 w 10000"/>
                  <a:gd name="connsiteY2" fmla="*/ 6783 h 9707"/>
                  <a:gd name="connsiteX3" fmla="*/ 5864 w 10000"/>
                  <a:gd name="connsiteY3" fmla="*/ 6574 h 9707"/>
                  <a:gd name="connsiteX4" fmla="*/ 5325 w 10000"/>
                  <a:gd name="connsiteY4" fmla="*/ 6446 h 9707"/>
                  <a:gd name="connsiteX5" fmla="*/ 5058 w 10000"/>
                  <a:gd name="connsiteY5" fmla="*/ 6733 h 9707"/>
                  <a:gd name="connsiteX6" fmla="*/ 4396 w 10000"/>
                  <a:gd name="connsiteY6" fmla="*/ 6952 h 9707"/>
                  <a:gd name="connsiteX7" fmla="*/ 3972 w 10000"/>
                  <a:gd name="connsiteY7" fmla="*/ 6950 h 9707"/>
                  <a:gd name="connsiteX8" fmla="*/ 3044 w 10000"/>
                  <a:gd name="connsiteY8" fmla="*/ 6764 h 9707"/>
                  <a:gd name="connsiteX9" fmla="*/ 2796 w 10000"/>
                  <a:gd name="connsiteY9" fmla="*/ 6865 h 9707"/>
                  <a:gd name="connsiteX10" fmla="*/ 2177 w 10000"/>
                  <a:gd name="connsiteY10" fmla="*/ 6640 h 9707"/>
                  <a:gd name="connsiteX11" fmla="*/ 1903 w 10000"/>
                  <a:gd name="connsiteY11" fmla="*/ 6301 h 9707"/>
                  <a:gd name="connsiteX12" fmla="*/ 1449 w 10000"/>
                  <a:gd name="connsiteY12" fmla="*/ 6393 h 9707"/>
                  <a:gd name="connsiteX13" fmla="*/ 1324 w 10000"/>
                  <a:gd name="connsiteY13" fmla="*/ 6594 h 9707"/>
                  <a:gd name="connsiteX14" fmla="*/ 845 w 10000"/>
                  <a:gd name="connsiteY14" fmla="*/ 6679 h 9707"/>
                  <a:gd name="connsiteX15" fmla="*/ 526 w 10000"/>
                  <a:gd name="connsiteY15" fmla="*/ 6672 h 9707"/>
                  <a:gd name="connsiteX16" fmla="*/ 354 w 10000"/>
                  <a:gd name="connsiteY16" fmla="*/ 6831 h 9707"/>
                  <a:gd name="connsiteX17" fmla="*/ 56 w 10000"/>
                  <a:gd name="connsiteY17" fmla="*/ 6580 h 9707"/>
                  <a:gd name="connsiteX18" fmla="*/ 0 w 10000"/>
                  <a:gd name="connsiteY18" fmla="*/ 7036 h 9707"/>
                  <a:gd name="connsiteX19" fmla="*/ 106 w 10000"/>
                  <a:gd name="connsiteY19" fmla="*/ 7101 h 9707"/>
                  <a:gd name="connsiteX20" fmla="*/ 538 w 10000"/>
                  <a:gd name="connsiteY20" fmla="*/ 7134 h 9707"/>
                  <a:gd name="connsiteX21" fmla="*/ 596 w 10000"/>
                  <a:gd name="connsiteY21" fmla="*/ 7263 h 9707"/>
                  <a:gd name="connsiteX22" fmla="*/ 1075 w 10000"/>
                  <a:gd name="connsiteY22" fmla="*/ 7297 h 9707"/>
                  <a:gd name="connsiteX23" fmla="*/ 1346 w 10000"/>
                  <a:gd name="connsiteY23" fmla="*/ 7427 h 9707"/>
                  <a:gd name="connsiteX24" fmla="*/ 1397 w 10000"/>
                  <a:gd name="connsiteY24" fmla="*/ 7655 h 9707"/>
                  <a:gd name="connsiteX25" fmla="*/ 2260 w 10000"/>
                  <a:gd name="connsiteY25" fmla="*/ 8046 h 9707"/>
                  <a:gd name="connsiteX26" fmla="*/ 2475 w 10000"/>
                  <a:gd name="connsiteY26" fmla="*/ 8437 h 9707"/>
                  <a:gd name="connsiteX27" fmla="*/ 3064 w 10000"/>
                  <a:gd name="connsiteY27" fmla="*/ 8632 h 9707"/>
                  <a:gd name="connsiteX28" fmla="*/ 3280 w 10000"/>
                  <a:gd name="connsiteY28" fmla="*/ 8892 h 9707"/>
                  <a:gd name="connsiteX29" fmla="*/ 3709 w 10000"/>
                  <a:gd name="connsiteY29" fmla="*/ 9219 h 9707"/>
                  <a:gd name="connsiteX30" fmla="*/ 4034 w 10000"/>
                  <a:gd name="connsiteY30" fmla="*/ 9316 h 9707"/>
                  <a:gd name="connsiteX31" fmla="*/ 4248 w 10000"/>
                  <a:gd name="connsiteY31" fmla="*/ 9219 h 9707"/>
                  <a:gd name="connsiteX32" fmla="*/ 4785 w 10000"/>
                  <a:gd name="connsiteY32" fmla="*/ 9251 h 9707"/>
                  <a:gd name="connsiteX33" fmla="*/ 5002 w 10000"/>
                  <a:gd name="connsiteY33" fmla="*/ 9186 h 9707"/>
                  <a:gd name="connsiteX34" fmla="*/ 5967 w 10000"/>
                  <a:gd name="connsiteY34" fmla="*/ 9675 h 9707"/>
                  <a:gd name="connsiteX35" fmla="*/ 6021 w 10000"/>
                  <a:gd name="connsiteY35" fmla="*/ 9675 h 9707"/>
                  <a:gd name="connsiteX36" fmla="*/ 6130 w 10000"/>
                  <a:gd name="connsiteY36" fmla="*/ 9610 h 9707"/>
                  <a:gd name="connsiteX37" fmla="*/ 6823 w 10000"/>
                  <a:gd name="connsiteY37" fmla="*/ 9610 h 9707"/>
                  <a:gd name="connsiteX38" fmla="*/ 6936 w 10000"/>
                  <a:gd name="connsiteY38" fmla="*/ 9707 h 9707"/>
                  <a:gd name="connsiteX39" fmla="*/ 7526 w 10000"/>
                  <a:gd name="connsiteY39" fmla="*/ 9576 h 9707"/>
                  <a:gd name="connsiteX40" fmla="*/ 8062 w 10000"/>
                  <a:gd name="connsiteY40" fmla="*/ 9576 h 9707"/>
                  <a:gd name="connsiteX41" fmla="*/ 8438 w 10000"/>
                  <a:gd name="connsiteY41" fmla="*/ 9447 h 9707"/>
                  <a:gd name="connsiteX42" fmla="*/ 8871 w 10000"/>
                  <a:gd name="connsiteY42" fmla="*/ 9186 h 9707"/>
                  <a:gd name="connsiteX43" fmla="*/ 10000 w 10000"/>
                  <a:gd name="connsiteY43" fmla="*/ 9186 h 9707"/>
                  <a:gd name="connsiteX44" fmla="*/ 10000 w 10000"/>
                  <a:gd name="connsiteY44" fmla="*/ 8828 h 9707"/>
                  <a:gd name="connsiteX45" fmla="*/ 9409 w 10000"/>
                  <a:gd name="connsiteY45" fmla="*/ 8665 h 9707"/>
                  <a:gd name="connsiteX46" fmla="*/ 9083 w 10000"/>
                  <a:gd name="connsiteY46" fmla="*/ 8144 h 9707"/>
                  <a:gd name="connsiteX47" fmla="*/ 8655 w 10000"/>
                  <a:gd name="connsiteY47" fmla="*/ 7948 h 9707"/>
                  <a:gd name="connsiteX48" fmla="*/ 8385 w 10000"/>
                  <a:gd name="connsiteY48" fmla="*/ 7687 h 9707"/>
                  <a:gd name="connsiteX49" fmla="*/ 7687 w 10000"/>
                  <a:gd name="connsiteY49" fmla="*/ 7492 h 9707"/>
                  <a:gd name="connsiteX50" fmla="*/ 7848 w 10000"/>
                  <a:gd name="connsiteY50" fmla="*/ 7427 h 9707"/>
                  <a:gd name="connsiteX51" fmla="*/ 7848 w 10000"/>
                  <a:gd name="connsiteY51" fmla="*/ 7263 h 9707"/>
                  <a:gd name="connsiteX52" fmla="*/ 8334 w 10000"/>
                  <a:gd name="connsiteY52" fmla="*/ 7263 h 9707"/>
                  <a:gd name="connsiteX53" fmla="*/ 8599 w 10000"/>
                  <a:gd name="connsiteY53" fmla="*/ 7134 h 9707"/>
                  <a:gd name="connsiteX54" fmla="*/ 8655 w 10000"/>
                  <a:gd name="connsiteY54" fmla="*/ 6189 h 9707"/>
                  <a:gd name="connsiteX55" fmla="*/ 8707 w 10000"/>
                  <a:gd name="connsiteY55" fmla="*/ 6221 h 9707"/>
                  <a:gd name="connsiteX56" fmla="*/ 8517 w 10000"/>
                  <a:gd name="connsiteY56" fmla="*/ 6281 h 9707"/>
                  <a:gd name="connsiteX57" fmla="*/ 8440 w 10000"/>
                  <a:gd name="connsiteY57" fmla="*/ 6409 h 9707"/>
                  <a:gd name="connsiteX58" fmla="*/ 7961 w 10000"/>
                  <a:gd name="connsiteY58" fmla="*/ 6158 h 9707"/>
                  <a:gd name="connsiteX59" fmla="*/ 7874 w 10000"/>
                  <a:gd name="connsiteY59" fmla="*/ 5480 h 9707"/>
                  <a:gd name="connsiteX60" fmla="*/ 7361 w 10000"/>
                  <a:gd name="connsiteY60" fmla="*/ 5774 h 9707"/>
                  <a:gd name="connsiteX61" fmla="*/ 7369 w 10000"/>
                  <a:gd name="connsiteY61" fmla="*/ 6123 h 9707"/>
                  <a:gd name="connsiteX62" fmla="*/ 6955 w 10000"/>
                  <a:gd name="connsiteY62" fmla="*/ 6333 h 9707"/>
                  <a:gd name="connsiteX63" fmla="*/ 9029 w 10000"/>
                  <a:gd name="connsiteY63" fmla="*/ 0 h 9707"/>
                  <a:gd name="connsiteX64" fmla="*/ 8599 w 10000"/>
                  <a:gd name="connsiteY64" fmla="*/ 65 h 9707"/>
                  <a:gd name="connsiteX65" fmla="*/ 8493 w 10000"/>
                  <a:gd name="connsiteY65" fmla="*/ 293 h 9707"/>
                  <a:gd name="connsiteX66" fmla="*/ 8116 w 10000"/>
                  <a:gd name="connsiteY66" fmla="*/ 293 h 9707"/>
                  <a:gd name="connsiteX67" fmla="*/ 7794 w 10000"/>
                  <a:gd name="connsiteY67" fmla="*/ 195 h 9707"/>
                  <a:gd name="connsiteX68" fmla="*/ 7096 w 10000"/>
                  <a:gd name="connsiteY68" fmla="*/ 195 h 9707"/>
                  <a:gd name="connsiteX69" fmla="*/ 6397 w 10000"/>
                  <a:gd name="connsiteY69" fmla="*/ 195 h 9707"/>
                  <a:gd name="connsiteX70" fmla="*/ 6452 w 10000"/>
                  <a:gd name="connsiteY70" fmla="*/ 65 h 9707"/>
                  <a:gd name="connsiteX71" fmla="*/ 6343 w 10000"/>
                  <a:gd name="connsiteY71" fmla="*/ 65 h 9707"/>
                  <a:gd name="connsiteX72" fmla="*/ 6290 w 10000"/>
                  <a:gd name="connsiteY72" fmla="*/ 195 h 9707"/>
                  <a:gd name="connsiteX73" fmla="*/ 5644 w 10000"/>
                  <a:gd name="connsiteY73" fmla="*/ 195 h 9707"/>
                  <a:gd name="connsiteX74" fmla="*/ 5002 w 10000"/>
                  <a:gd name="connsiteY74" fmla="*/ 195 h 9707"/>
                  <a:gd name="connsiteX75" fmla="*/ 4356 w 10000"/>
                  <a:gd name="connsiteY75" fmla="*/ 195 h 9707"/>
                  <a:gd name="connsiteX76" fmla="*/ 3709 w 10000"/>
                  <a:gd name="connsiteY76" fmla="*/ 195 h 9707"/>
                  <a:gd name="connsiteX77" fmla="*/ 3120 w 10000"/>
                  <a:gd name="connsiteY77" fmla="*/ 195 h 9707"/>
                  <a:gd name="connsiteX78" fmla="*/ 2475 w 10000"/>
                  <a:gd name="connsiteY78" fmla="*/ 195 h 9707"/>
                  <a:gd name="connsiteX79" fmla="*/ 1884 w 10000"/>
                  <a:gd name="connsiteY79" fmla="*/ 195 h 9707"/>
                  <a:gd name="connsiteX80" fmla="*/ 1237 w 10000"/>
                  <a:gd name="connsiteY80" fmla="*/ 195 h 9707"/>
                  <a:gd name="connsiteX81" fmla="*/ 1237 w 10000"/>
                  <a:gd name="connsiteY81" fmla="*/ 651 h 9707"/>
                  <a:gd name="connsiteX82" fmla="*/ 1237 w 10000"/>
                  <a:gd name="connsiteY82" fmla="*/ 1238 h 9707"/>
                  <a:gd name="connsiteX83" fmla="*/ 433 w 10000"/>
                  <a:gd name="connsiteY83" fmla="*/ 1238 h 9707"/>
                  <a:gd name="connsiteX84" fmla="*/ 433 w 10000"/>
                  <a:gd name="connsiteY84" fmla="*/ 1498 h 9707"/>
                  <a:gd name="connsiteX0" fmla="*/ 433 w 10000"/>
                  <a:gd name="connsiteY0" fmla="*/ 1476 h 9933"/>
                  <a:gd name="connsiteX1" fmla="*/ 6675 w 10000"/>
                  <a:gd name="connsiteY1" fmla="*/ 6714 h 9933"/>
                  <a:gd name="connsiteX2" fmla="*/ 6234 w 10000"/>
                  <a:gd name="connsiteY2" fmla="*/ 6921 h 9933"/>
                  <a:gd name="connsiteX3" fmla="*/ 5864 w 10000"/>
                  <a:gd name="connsiteY3" fmla="*/ 6705 h 9933"/>
                  <a:gd name="connsiteX4" fmla="*/ 5325 w 10000"/>
                  <a:gd name="connsiteY4" fmla="*/ 6574 h 9933"/>
                  <a:gd name="connsiteX5" fmla="*/ 5058 w 10000"/>
                  <a:gd name="connsiteY5" fmla="*/ 6869 h 9933"/>
                  <a:gd name="connsiteX6" fmla="*/ 4396 w 10000"/>
                  <a:gd name="connsiteY6" fmla="*/ 7095 h 9933"/>
                  <a:gd name="connsiteX7" fmla="*/ 3972 w 10000"/>
                  <a:gd name="connsiteY7" fmla="*/ 7093 h 9933"/>
                  <a:gd name="connsiteX8" fmla="*/ 3044 w 10000"/>
                  <a:gd name="connsiteY8" fmla="*/ 6901 h 9933"/>
                  <a:gd name="connsiteX9" fmla="*/ 2796 w 10000"/>
                  <a:gd name="connsiteY9" fmla="*/ 7005 h 9933"/>
                  <a:gd name="connsiteX10" fmla="*/ 2177 w 10000"/>
                  <a:gd name="connsiteY10" fmla="*/ 6773 h 9933"/>
                  <a:gd name="connsiteX11" fmla="*/ 1903 w 10000"/>
                  <a:gd name="connsiteY11" fmla="*/ 6424 h 9933"/>
                  <a:gd name="connsiteX12" fmla="*/ 1449 w 10000"/>
                  <a:gd name="connsiteY12" fmla="*/ 6519 h 9933"/>
                  <a:gd name="connsiteX13" fmla="*/ 1324 w 10000"/>
                  <a:gd name="connsiteY13" fmla="*/ 6726 h 9933"/>
                  <a:gd name="connsiteX14" fmla="*/ 845 w 10000"/>
                  <a:gd name="connsiteY14" fmla="*/ 6814 h 9933"/>
                  <a:gd name="connsiteX15" fmla="*/ 526 w 10000"/>
                  <a:gd name="connsiteY15" fmla="*/ 6806 h 9933"/>
                  <a:gd name="connsiteX16" fmla="*/ 354 w 10000"/>
                  <a:gd name="connsiteY16" fmla="*/ 6970 h 9933"/>
                  <a:gd name="connsiteX17" fmla="*/ 56 w 10000"/>
                  <a:gd name="connsiteY17" fmla="*/ 6712 h 9933"/>
                  <a:gd name="connsiteX18" fmla="*/ 0 w 10000"/>
                  <a:gd name="connsiteY18" fmla="*/ 7181 h 9933"/>
                  <a:gd name="connsiteX19" fmla="*/ 106 w 10000"/>
                  <a:gd name="connsiteY19" fmla="*/ 7248 h 9933"/>
                  <a:gd name="connsiteX20" fmla="*/ 538 w 10000"/>
                  <a:gd name="connsiteY20" fmla="*/ 7282 h 9933"/>
                  <a:gd name="connsiteX21" fmla="*/ 596 w 10000"/>
                  <a:gd name="connsiteY21" fmla="*/ 7415 h 9933"/>
                  <a:gd name="connsiteX22" fmla="*/ 1075 w 10000"/>
                  <a:gd name="connsiteY22" fmla="*/ 7450 h 9933"/>
                  <a:gd name="connsiteX23" fmla="*/ 1346 w 10000"/>
                  <a:gd name="connsiteY23" fmla="*/ 7584 h 9933"/>
                  <a:gd name="connsiteX24" fmla="*/ 1397 w 10000"/>
                  <a:gd name="connsiteY24" fmla="*/ 7819 h 9933"/>
                  <a:gd name="connsiteX25" fmla="*/ 2260 w 10000"/>
                  <a:gd name="connsiteY25" fmla="*/ 8222 h 9933"/>
                  <a:gd name="connsiteX26" fmla="*/ 2475 w 10000"/>
                  <a:gd name="connsiteY26" fmla="*/ 8625 h 9933"/>
                  <a:gd name="connsiteX27" fmla="*/ 3064 w 10000"/>
                  <a:gd name="connsiteY27" fmla="*/ 8826 h 9933"/>
                  <a:gd name="connsiteX28" fmla="*/ 3280 w 10000"/>
                  <a:gd name="connsiteY28" fmla="*/ 9093 h 9933"/>
                  <a:gd name="connsiteX29" fmla="*/ 3709 w 10000"/>
                  <a:gd name="connsiteY29" fmla="*/ 9430 h 9933"/>
                  <a:gd name="connsiteX30" fmla="*/ 4034 w 10000"/>
                  <a:gd name="connsiteY30" fmla="*/ 9530 h 9933"/>
                  <a:gd name="connsiteX31" fmla="*/ 4248 w 10000"/>
                  <a:gd name="connsiteY31" fmla="*/ 9430 h 9933"/>
                  <a:gd name="connsiteX32" fmla="*/ 4785 w 10000"/>
                  <a:gd name="connsiteY32" fmla="*/ 9463 h 9933"/>
                  <a:gd name="connsiteX33" fmla="*/ 5002 w 10000"/>
                  <a:gd name="connsiteY33" fmla="*/ 9396 h 9933"/>
                  <a:gd name="connsiteX34" fmla="*/ 5967 w 10000"/>
                  <a:gd name="connsiteY34" fmla="*/ 9900 h 9933"/>
                  <a:gd name="connsiteX35" fmla="*/ 6021 w 10000"/>
                  <a:gd name="connsiteY35" fmla="*/ 9900 h 9933"/>
                  <a:gd name="connsiteX36" fmla="*/ 6130 w 10000"/>
                  <a:gd name="connsiteY36" fmla="*/ 9833 h 9933"/>
                  <a:gd name="connsiteX37" fmla="*/ 6823 w 10000"/>
                  <a:gd name="connsiteY37" fmla="*/ 9833 h 9933"/>
                  <a:gd name="connsiteX38" fmla="*/ 6936 w 10000"/>
                  <a:gd name="connsiteY38" fmla="*/ 9933 h 9933"/>
                  <a:gd name="connsiteX39" fmla="*/ 7526 w 10000"/>
                  <a:gd name="connsiteY39" fmla="*/ 9798 h 9933"/>
                  <a:gd name="connsiteX40" fmla="*/ 8062 w 10000"/>
                  <a:gd name="connsiteY40" fmla="*/ 9798 h 9933"/>
                  <a:gd name="connsiteX41" fmla="*/ 8438 w 10000"/>
                  <a:gd name="connsiteY41" fmla="*/ 9665 h 9933"/>
                  <a:gd name="connsiteX42" fmla="*/ 8871 w 10000"/>
                  <a:gd name="connsiteY42" fmla="*/ 9396 h 9933"/>
                  <a:gd name="connsiteX43" fmla="*/ 10000 w 10000"/>
                  <a:gd name="connsiteY43" fmla="*/ 9396 h 9933"/>
                  <a:gd name="connsiteX44" fmla="*/ 10000 w 10000"/>
                  <a:gd name="connsiteY44" fmla="*/ 9027 h 9933"/>
                  <a:gd name="connsiteX45" fmla="*/ 9409 w 10000"/>
                  <a:gd name="connsiteY45" fmla="*/ 8860 h 9933"/>
                  <a:gd name="connsiteX46" fmla="*/ 9083 w 10000"/>
                  <a:gd name="connsiteY46" fmla="*/ 8323 h 9933"/>
                  <a:gd name="connsiteX47" fmla="*/ 8655 w 10000"/>
                  <a:gd name="connsiteY47" fmla="*/ 8121 h 9933"/>
                  <a:gd name="connsiteX48" fmla="*/ 8385 w 10000"/>
                  <a:gd name="connsiteY48" fmla="*/ 7852 h 9933"/>
                  <a:gd name="connsiteX49" fmla="*/ 7687 w 10000"/>
                  <a:gd name="connsiteY49" fmla="*/ 7651 h 9933"/>
                  <a:gd name="connsiteX50" fmla="*/ 7848 w 10000"/>
                  <a:gd name="connsiteY50" fmla="*/ 7584 h 9933"/>
                  <a:gd name="connsiteX51" fmla="*/ 7848 w 10000"/>
                  <a:gd name="connsiteY51" fmla="*/ 7415 h 9933"/>
                  <a:gd name="connsiteX52" fmla="*/ 8334 w 10000"/>
                  <a:gd name="connsiteY52" fmla="*/ 7415 h 9933"/>
                  <a:gd name="connsiteX53" fmla="*/ 8599 w 10000"/>
                  <a:gd name="connsiteY53" fmla="*/ 7282 h 9933"/>
                  <a:gd name="connsiteX54" fmla="*/ 8655 w 10000"/>
                  <a:gd name="connsiteY54" fmla="*/ 6309 h 9933"/>
                  <a:gd name="connsiteX55" fmla="*/ 8707 w 10000"/>
                  <a:gd name="connsiteY55" fmla="*/ 6342 h 9933"/>
                  <a:gd name="connsiteX56" fmla="*/ 8517 w 10000"/>
                  <a:gd name="connsiteY56" fmla="*/ 6404 h 9933"/>
                  <a:gd name="connsiteX57" fmla="*/ 8440 w 10000"/>
                  <a:gd name="connsiteY57" fmla="*/ 6535 h 9933"/>
                  <a:gd name="connsiteX58" fmla="*/ 7961 w 10000"/>
                  <a:gd name="connsiteY58" fmla="*/ 6277 h 9933"/>
                  <a:gd name="connsiteX59" fmla="*/ 7874 w 10000"/>
                  <a:gd name="connsiteY59" fmla="*/ 5578 h 9933"/>
                  <a:gd name="connsiteX60" fmla="*/ 7361 w 10000"/>
                  <a:gd name="connsiteY60" fmla="*/ 5881 h 9933"/>
                  <a:gd name="connsiteX61" fmla="*/ 7369 w 10000"/>
                  <a:gd name="connsiteY61" fmla="*/ 6241 h 9933"/>
                  <a:gd name="connsiteX62" fmla="*/ 6955 w 10000"/>
                  <a:gd name="connsiteY62" fmla="*/ 6457 h 9933"/>
                  <a:gd name="connsiteX63" fmla="*/ 8599 w 10000"/>
                  <a:gd name="connsiteY63" fmla="*/ 0 h 9933"/>
                  <a:gd name="connsiteX64" fmla="*/ 8493 w 10000"/>
                  <a:gd name="connsiteY64" fmla="*/ 235 h 9933"/>
                  <a:gd name="connsiteX65" fmla="*/ 8116 w 10000"/>
                  <a:gd name="connsiteY65" fmla="*/ 235 h 9933"/>
                  <a:gd name="connsiteX66" fmla="*/ 7794 w 10000"/>
                  <a:gd name="connsiteY66" fmla="*/ 134 h 9933"/>
                  <a:gd name="connsiteX67" fmla="*/ 7096 w 10000"/>
                  <a:gd name="connsiteY67" fmla="*/ 134 h 9933"/>
                  <a:gd name="connsiteX68" fmla="*/ 6397 w 10000"/>
                  <a:gd name="connsiteY68" fmla="*/ 134 h 9933"/>
                  <a:gd name="connsiteX69" fmla="*/ 6452 w 10000"/>
                  <a:gd name="connsiteY69" fmla="*/ 0 h 9933"/>
                  <a:gd name="connsiteX70" fmla="*/ 6343 w 10000"/>
                  <a:gd name="connsiteY70" fmla="*/ 0 h 9933"/>
                  <a:gd name="connsiteX71" fmla="*/ 6290 w 10000"/>
                  <a:gd name="connsiteY71" fmla="*/ 134 h 9933"/>
                  <a:gd name="connsiteX72" fmla="*/ 5644 w 10000"/>
                  <a:gd name="connsiteY72" fmla="*/ 134 h 9933"/>
                  <a:gd name="connsiteX73" fmla="*/ 5002 w 10000"/>
                  <a:gd name="connsiteY73" fmla="*/ 134 h 9933"/>
                  <a:gd name="connsiteX74" fmla="*/ 4356 w 10000"/>
                  <a:gd name="connsiteY74" fmla="*/ 134 h 9933"/>
                  <a:gd name="connsiteX75" fmla="*/ 3709 w 10000"/>
                  <a:gd name="connsiteY75" fmla="*/ 134 h 9933"/>
                  <a:gd name="connsiteX76" fmla="*/ 3120 w 10000"/>
                  <a:gd name="connsiteY76" fmla="*/ 134 h 9933"/>
                  <a:gd name="connsiteX77" fmla="*/ 2475 w 10000"/>
                  <a:gd name="connsiteY77" fmla="*/ 134 h 9933"/>
                  <a:gd name="connsiteX78" fmla="*/ 1884 w 10000"/>
                  <a:gd name="connsiteY78" fmla="*/ 134 h 9933"/>
                  <a:gd name="connsiteX79" fmla="*/ 1237 w 10000"/>
                  <a:gd name="connsiteY79" fmla="*/ 134 h 9933"/>
                  <a:gd name="connsiteX80" fmla="*/ 1237 w 10000"/>
                  <a:gd name="connsiteY80" fmla="*/ 604 h 9933"/>
                  <a:gd name="connsiteX81" fmla="*/ 1237 w 10000"/>
                  <a:gd name="connsiteY81" fmla="*/ 1208 h 9933"/>
                  <a:gd name="connsiteX82" fmla="*/ 433 w 10000"/>
                  <a:gd name="connsiteY82" fmla="*/ 1208 h 9933"/>
                  <a:gd name="connsiteX83" fmla="*/ 433 w 10000"/>
                  <a:gd name="connsiteY83" fmla="*/ 1476 h 9933"/>
                  <a:gd name="connsiteX0" fmla="*/ 433 w 10000"/>
                  <a:gd name="connsiteY0" fmla="*/ 1486 h 10000"/>
                  <a:gd name="connsiteX1" fmla="*/ 6675 w 10000"/>
                  <a:gd name="connsiteY1" fmla="*/ 6759 h 10000"/>
                  <a:gd name="connsiteX2" fmla="*/ 6234 w 10000"/>
                  <a:gd name="connsiteY2" fmla="*/ 6968 h 10000"/>
                  <a:gd name="connsiteX3" fmla="*/ 5864 w 10000"/>
                  <a:gd name="connsiteY3" fmla="*/ 6750 h 10000"/>
                  <a:gd name="connsiteX4" fmla="*/ 5325 w 10000"/>
                  <a:gd name="connsiteY4" fmla="*/ 6618 h 10000"/>
                  <a:gd name="connsiteX5" fmla="*/ 5058 w 10000"/>
                  <a:gd name="connsiteY5" fmla="*/ 6915 h 10000"/>
                  <a:gd name="connsiteX6" fmla="*/ 4396 w 10000"/>
                  <a:gd name="connsiteY6" fmla="*/ 7143 h 10000"/>
                  <a:gd name="connsiteX7" fmla="*/ 3972 w 10000"/>
                  <a:gd name="connsiteY7" fmla="*/ 7141 h 10000"/>
                  <a:gd name="connsiteX8" fmla="*/ 3044 w 10000"/>
                  <a:gd name="connsiteY8" fmla="*/ 6948 h 10000"/>
                  <a:gd name="connsiteX9" fmla="*/ 2796 w 10000"/>
                  <a:gd name="connsiteY9" fmla="*/ 7052 h 10000"/>
                  <a:gd name="connsiteX10" fmla="*/ 2177 w 10000"/>
                  <a:gd name="connsiteY10" fmla="*/ 6819 h 10000"/>
                  <a:gd name="connsiteX11" fmla="*/ 1903 w 10000"/>
                  <a:gd name="connsiteY11" fmla="*/ 6467 h 10000"/>
                  <a:gd name="connsiteX12" fmla="*/ 1449 w 10000"/>
                  <a:gd name="connsiteY12" fmla="*/ 6563 h 10000"/>
                  <a:gd name="connsiteX13" fmla="*/ 1324 w 10000"/>
                  <a:gd name="connsiteY13" fmla="*/ 6771 h 10000"/>
                  <a:gd name="connsiteX14" fmla="*/ 845 w 10000"/>
                  <a:gd name="connsiteY14" fmla="*/ 6860 h 10000"/>
                  <a:gd name="connsiteX15" fmla="*/ 526 w 10000"/>
                  <a:gd name="connsiteY15" fmla="*/ 6852 h 10000"/>
                  <a:gd name="connsiteX16" fmla="*/ 354 w 10000"/>
                  <a:gd name="connsiteY16" fmla="*/ 7017 h 10000"/>
                  <a:gd name="connsiteX17" fmla="*/ 56 w 10000"/>
                  <a:gd name="connsiteY17" fmla="*/ 6757 h 10000"/>
                  <a:gd name="connsiteX18" fmla="*/ 0 w 10000"/>
                  <a:gd name="connsiteY18" fmla="*/ 7229 h 10000"/>
                  <a:gd name="connsiteX19" fmla="*/ 106 w 10000"/>
                  <a:gd name="connsiteY19" fmla="*/ 7297 h 10000"/>
                  <a:gd name="connsiteX20" fmla="*/ 538 w 10000"/>
                  <a:gd name="connsiteY20" fmla="*/ 7331 h 10000"/>
                  <a:gd name="connsiteX21" fmla="*/ 596 w 10000"/>
                  <a:gd name="connsiteY21" fmla="*/ 7465 h 10000"/>
                  <a:gd name="connsiteX22" fmla="*/ 1075 w 10000"/>
                  <a:gd name="connsiteY22" fmla="*/ 7500 h 10000"/>
                  <a:gd name="connsiteX23" fmla="*/ 1346 w 10000"/>
                  <a:gd name="connsiteY23" fmla="*/ 7635 h 10000"/>
                  <a:gd name="connsiteX24" fmla="*/ 1397 w 10000"/>
                  <a:gd name="connsiteY24" fmla="*/ 7872 h 10000"/>
                  <a:gd name="connsiteX25" fmla="*/ 2260 w 10000"/>
                  <a:gd name="connsiteY25" fmla="*/ 8277 h 10000"/>
                  <a:gd name="connsiteX26" fmla="*/ 2475 w 10000"/>
                  <a:gd name="connsiteY26" fmla="*/ 8683 h 10000"/>
                  <a:gd name="connsiteX27" fmla="*/ 3064 w 10000"/>
                  <a:gd name="connsiteY27" fmla="*/ 8886 h 10000"/>
                  <a:gd name="connsiteX28" fmla="*/ 3280 w 10000"/>
                  <a:gd name="connsiteY28" fmla="*/ 9154 h 10000"/>
                  <a:gd name="connsiteX29" fmla="*/ 3709 w 10000"/>
                  <a:gd name="connsiteY29" fmla="*/ 9494 h 10000"/>
                  <a:gd name="connsiteX30" fmla="*/ 4034 w 10000"/>
                  <a:gd name="connsiteY30" fmla="*/ 9594 h 10000"/>
                  <a:gd name="connsiteX31" fmla="*/ 4248 w 10000"/>
                  <a:gd name="connsiteY31" fmla="*/ 9494 h 10000"/>
                  <a:gd name="connsiteX32" fmla="*/ 4785 w 10000"/>
                  <a:gd name="connsiteY32" fmla="*/ 9527 h 10000"/>
                  <a:gd name="connsiteX33" fmla="*/ 5002 w 10000"/>
                  <a:gd name="connsiteY33" fmla="*/ 9459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9 h 10000"/>
                  <a:gd name="connsiteX37" fmla="*/ 6823 w 10000"/>
                  <a:gd name="connsiteY37" fmla="*/ 9899 h 10000"/>
                  <a:gd name="connsiteX38" fmla="*/ 6936 w 10000"/>
                  <a:gd name="connsiteY38" fmla="*/ 10000 h 10000"/>
                  <a:gd name="connsiteX39" fmla="*/ 7526 w 10000"/>
                  <a:gd name="connsiteY39" fmla="*/ 9864 h 10000"/>
                  <a:gd name="connsiteX40" fmla="*/ 8062 w 10000"/>
                  <a:gd name="connsiteY40" fmla="*/ 9864 h 10000"/>
                  <a:gd name="connsiteX41" fmla="*/ 8438 w 10000"/>
                  <a:gd name="connsiteY41" fmla="*/ 9730 h 10000"/>
                  <a:gd name="connsiteX42" fmla="*/ 8871 w 10000"/>
                  <a:gd name="connsiteY42" fmla="*/ 9459 h 10000"/>
                  <a:gd name="connsiteX43" fmla="*/ 10000 w 10000"/>
                  <a:gd name="connsiteY43" fmla="*/ 9459 h 10000"/>
                  <a:gd name="connsiteX44" fmla="*/ 10000 w 10000"/>
                  <a:gd name="connsiteY44" fmla="*/ 9088 h 10000"/>
                  <a:gd name="connsiteX45" fmla="*/ 9409 w 10000"/>
                  <a:gd name="connsiteY45" fmla="*/ 8920 h 10000"/>
                  <a:gd name="connsiteX46" fmla="*/ 9083 w 10000"/>
                  <a:gd name="connsiteY46" fmla="*/ 8379 h 10000"/>
                  <a:gd name="connsiteX47" fmla="*/ 8655 w 10000"/>
                  <a:gd name="connsiteY47" fmla="*/ 8176 h 10000"/>
                  <a:gd name="connsiteX48" fmla="*/ 8385 w 10000"/>
                  <a:gd name="connsiteY48" fmla="*/ 7905 h 10000"/>
                  <a:gd name="connsiteX49" fmla="*/ 7687 w 10000"/>
                  <a:gd name="connsiteY49" fmla="*/ 7703 h 10000"/>
                  <a:gd name="connsiteX50" fmla="*/ 7848 w 10000"/>
                  <a:gd name="connsiteY50" fmla="*/ 7635 h 10000"/>
                  <a:gd name="connsiteX51" fmla="*/ 7848 w 10000"/>
                  <a:gd name="connsiteY51" fmla="*/ 7465 h 10000"/>
                  <a:gd name="connsiteX52" fmla="*/ 8334 w 10000"/>
                  <a:gd name="connsiteY52" fmla="*/ 7465 h 10000"/>
                  <a:gd name="connsiteX53" fmla="*/ 8599 w 10000"/>
                  <a:gd name="connsiteY53" fmla="*/ 7331 h 10000"/>
                  <a:gd name="connsiteX54" fmla="*/ 8655 w 10000"/>
                  <a:gd name="connsiteY54" fmla="*/ 6352 h 10000"/>
                  <a:gd name="connsiteX55" fmla="*/ 8707 w 10000"/>
                  <a:gd name="connsiteY55" fmla="*/ 6385 h 10000"/>
                  <a:gd name="connsiteX56" fmla="*/ 8517 w 10000"/>
                  <a:gd name="connsiteY56" fmla="*/ 6447 h 10000"/>
                  <a:gd name="connsiteX57" fmla="*/ 8440 w 10000"/>
                  <a:gd name="connsiteY57" fmla="*/ 6579 h 10000"/>
                  <a:gd name="connsiteX58" fmla="*/ 7961 w 10000"/>
                  <a:gd name="connsiteY58" fmla="*/ 6319 h 10000"/>
                  <a:gd name="connsiteX59" fmla="*/ 7874 w 10000"/>
                  <a:gd name="connsiteY59" fmla="*/ 5616 h 10000"/>
                  <a:gd name="connsiteX60" fmla="*/ 7361 w 10000"/>
                  <a:gd name="connsiteY60" fmla="*/ 5921 h 10000"/>
                  <a:gd name="connsiteX61" fmla="*/ 7369 w 10000"/>
                  <a:gd name="connsiteY61" fmla="*/ 6283 h 10000"/>
                  <a:gd name="connsiteX62" fmla="*/ 6955 w 10000"/>
                  <a:gd name="connsiteY62" fmla="*/ 6501 h 10000"/>
                  <a:gd name="connsiteX63" fmla="*/ 8493 w 10000"/>
                  <a:gd name="connsiteY63" fmla="*/ 237 h 10000"/>
                  <a:gd name="connsiteX64" fmla="*/ 8116 w 10000"/>
                  <a:gd name="connsiteY64" fmla="*/ 237 h 10000"/>
                  <a:gd name="connsiteX65" fmla="*/ 7794 w 10000"/>
                  <a:gd name="connsiteY65" fmla="*/ 135 h 10000"/>
                  <a:gd name="connsiteX66" fmla="*/ 7096 w 10000"/>
                  <a:gd name="connsiteY66" fmla="*/ 135 h 10000"/>
                  <a:gd name="connsiteX67" fmla="*/ 6397 w 10000"/>
                  <a:gd name="connsiteY67" fmla="*/ 135 h 10000"/>
                  <a:gd name="connsiteX68" fmla="*/ 6452 w 10000"/>
                  <a:gd name="connsiteY68" fmla="*/ 0 h 10000"/>
                  <a:gd name="connsiteX69" fmla="*/ 6343 w 10000"/>
                  <a:gd name="connsiteY69" fmla="*/ 0 h 10000"/>
                  <a:gd name="connsiteX70" fmla="*/ 6290 w 10000"/>
                  <a:gd name="connsiteY70" fmla="*/ 135 h 10000"/>
                  <a:gd name="connsiteX71" fmla="*/ 5644 w 10000"/>
                  <a:gd name="connsiteY71" fmla="*/ 135 h 10000"/>
                  <a:gd name="connsiteX72" fmla="*/ 5002 w 10000"/>
                  <a:gd name="connsiteY72" fmla="*/ 135 h 10000"/>
                  <a:gd name="connsiteX73" fmla="*/ 4356 w 10000"/>
                  <a:gd name="connsiteY73" fmla="*/ 135 h 10000"/>
                  <a:gd name="connsiteX74" fmla="*/ 3709 w 10000"/>
                  <a:gd name="connsiteY74" fmla="*/ 135 h 10000"/>
                  <a:gd name="connsiteX75" fmla="*/ 3120 w 10000"/>
                  <a:gd name="connsiteY75" fmla="*/ 135 h 10000"/>
                  <a:gd name="connsiteX76" fmla="*/ 2475 w 10000"/>
                  <a:gd name="connsiteY76" fmla="*/ 135 h 10000"/>
                  <a:gd name="connsiteX77" fmla="*/ 1884 w 10000"/>
                  <a:gd name="connsiteY77" fmla="*/ 135 h 10000"/>
                  <a:gd name="connsiteX78" fmla="*/ 1237 w 10000"/>
                  <a:gd name="connsiteY78" fmla="*/ 135 h 10000"/>
                  <a:gd name="connsiteX79" fmla="*/ 1237 w 10000"/>
                  <a:gd name="connsiteY79" fmla="*/ 608 h 10000"/>
                  <a:gd name="connsiteX80" fmla="*/ 1237 w 10000"/>
                  <a:gd name="connsiteY80" fmla="*/ 1216 h 10000"/>
                  <a:gd name="connsiteX81" fmla="*/ 433 w 10000"/>
                  <a:gd name="connsiteY81" fmla="*/ 1216 h 10000"/>
                  <a:gd name="connsiteX82" fmla="*/ 433 w 10000"/>
                  <a:gd name="connsiteY82" fmla="*/ 1486 h 10000"/>
                  <a:gd name="connsiteX0" fmla="*/ 433 w 10000"/>
                  <a:gd name="connsiteY0" fmla="*/ 1486 h 10000"/>
                  <a:gd name="connsiteX1" fmla="*/ 6675 w 10000"/>
                  <a:gd name="connsiteY1" fmla="*/ 6759 h 10000"/>
                  <a:gd name="connsiteX2" fmla="*/ 6234 w 10000"/>
                  <a:gd name="connsiteY2" fmla="*/ 6968 h 10000"/>
                  <a:gd name="connsiteX3" fmla="*/ 5864 w 10000"/>
                  <a:gd name="connsiteY3" fmla="*/ 6750 h 10000"/>
                  <a:gd name="connsiteX4" fmla="*/ 5325 w 10000"/>
                  <a:gd name="connsiteY4" fmla="*/ 6618 h 10000"/>
                  <a:gd name="connsiteX5" fmla="*/ 5058 w 10000"/>
                  <a:gd name="connsiteY5" fmla="*/ 6915 h 10000"/>
                  <a:gd name="connsiteX6" fmla="*/ 4396 w 10000"/>
                  <a:gd name="connsiteY6" fmla="*/ 7143 h 10000"/>
                  <a:gd name="connsiteX7" fmla="*/ 3972 w 10000"/>
                  <a:gd name="connsiteY7" fmla="*/ 7141 h 10000"/>
                  <a:gd name="connsiteX8" fmla="*/ 3044 w 10000"/>
                  <a:gd name="connsiteY8" fmla="*/ 6948 h 10000"/>
                  <a:gd name="connsiteX9" fmla="*/ 2796 w 10000"/>
                  <a:gd name="connsiteY9" fmla="*/ 7052 h 10000"/>
                  <a:gd name="connsiteX10" fmla="*/ 2177 w 10000"/>
                  <a:gd name="connsiteY10" fmla="*/ 6819 h 10000"/>
                  <a:gd name="connsiteX11" fmla="*/ 1903 w 10000"/>
                  <a:gd name="connsiteY11" fmla="*/ 6467 h 10000"/>
                  <a:gd name="connsiteX12" fmla="*/ 1449 w 10000"/>
                  <a:gd name="connsiteY12" fmla="*/ 6563 h 10000"/>
                  <a:gd name="connsiteX13" fmla="*/ 1324 w 10000"/>
                  <a:gd name="connsiteY13" fmla="*/ 6771 h 10000"/>
                  <a:gd name="connsiteX14" fmla="*/ 845 w 10000"/>
                  <a:gd name="connsiteY14" fmla="*/ 6860 h 10000"/>
                  <a:gd name="connsiteX15" fmla="*/ 526 w 10000"/>
                  <a:gd name="connsiteY15" fmla="*/ 6852 h 10000"/>
                  <a:gd name="connsiteX16" fmla="*/ 354 w 10000"/>
                  <a:gd name="connsiteY16" fmla="*/ 7017 h 10000"/>
                  <a:gd name="connsiteX17" fmla="*/ 56 w 10000"/>
                  <a:gd name="connsiteY17" fmla="*/ 6757 h 10000"/>
                  <a:gd name="connsiteX18" fmla="*/ 0 w 10000"/>
                  <a:gd name="connsiteY18" fmla="*/ 7229 h 10000"/>
                  <a:gd name="connsiteX19" fmla="*/ 106 w 10000"/>
                  <a:gd name="connsiteY19" fmla="*/ 7297 h 10000"/>
                  <a:gd name="connsiteX20" fmla="*/ 538 w 10000"/>
                  <a:gd name="connsiteY20" fmla="*/ 7331 h 10000"/>
                  <a:gd name="connsiteX21" fmla="*/ 596 w 10000"/>
                  <a:gd name="connsiteY21" fmla="*/ 7465 h 10000"/>
                  <a:gd name="connsiteX22" fmla="*/ 1075 w 10000"/>
                  <a:gd name="connsiteY22" fmla="*/ 7500 h 10000"/>
                  <a:gd name="connsiteX23" fmla="*/ 1346 w 10000"/>
                  <a:gd name="connsiteY23" fmla="*/ 7635 h 10000"/>
                  <a:gd name="connsiteX24" fmla="*/ 1397 w 10000"/>
                  <a:gd name="connsiteY24" fmla="*/ 7872 h 10000"/>
                  <a:gd name="connsiteX25" fmla="*/ 2260 w 10000"/>
                  <a:gd name="connsiteY25" fmla="*/ 8277 h 10000"/>
                  <a:gd name="connsiteX26" fmla="*/ 2475 w 10000"/>
                  <a:gd name="connsiteY26" fmla="*/ 8683 h 10000"/>
                  <a:gd name="connsiteX27" fmla="*/ 3064 w 10000"/>
                  <a:gd name="connsiteY27" fmla="*/ 8886 h 10000"/>
                  <a:gd name="connsiteX28" fmla="*/ 3280 w 10000"/>
                  <a:gd name="connsiteY28" fmla="*/ 9154 h 10000"/>
                  <a:gd name="connsiteX29" fmla="*/ 3709 w 10000"/>
                  <a:gd name="connsiteY29" fmla="*/ 9494 h 10000"/>
                  <a:gd name="connsiteX30" fmla="*/ 4034 w 10000"/>
                  <a:gd name="connsiteY30" fmla="*/ 9594 h 10000"/>
                  <a:gd name="connsiteX31" fmla="*/ 4248 w 10000"/>
                  <a:gd name="connsiteY31" fmla="*/ 9494 h 10000"/>
                  <a:gd name="connsiteX32" fmla="*/ 4785 w 10000"/>
                  <a:gd name="connsiteY32" fmla="*/ 9527 h 10000"/>
                  <a:gd name="connsiteX33" fmla="*/ 5002 w 10000"/>
                  <a:gd name="connsiteY33" fmla="*/ 9459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9 h 10000"/>
                  <a:gd name="connsiteX37" fmla="*/ 6823 w 10000"/>
                  <a:gd name="connsiteY37" fmla="*/ 9899 h 10000"/>
                  <a:gd name="connsiteX38" fmla="*/ 6936 w 10000"/>
                  <a:gd name="connsiteY38" fmla="*/ 10000 h 10000"/>
                  <a:gd name="connsiteX39" fmla="*/ 7526 w 10000"/>
                  <a:gd name="connsiteY39" fmla="*/ 9864 h 10000"/>
                  <a:gd name="connsiteX40" fmla="*/ 8062 w 10000"/>
                  <a:gd name="connsiteY40" fmla="*/ 9864 h 10000"/>
                  <a:gd name="connsiteX41" fmla="*/ 8438 w 10000"/>
                  <a:gd name="connsiteY41" fmla="*/ 9730 h 10000"/>
                  <a:gd name="connsiteX42" fmla="*/ 8871 w 10000"/>
                  <a:gd name="connsiteY42" fmla="*/ 9459 h 10000"/>
                  <a:gd name="connsiteX43" fmla="*/ 10000 w 10000"/>
                  <a:gd name="connsiteY43" fmla="*/ 9459 h 10000"/>
                  <a:gd name="connsiteX44" fmla="*/ 10000 w 10000"/>
                  <a:gd name="connsiteY44" fmla="*/ 9088 h 10000"/>
                  <a:gd name="connsiteX45" fmla="*/ 9409 w 10000"/>
                  <a:gd name="connsiteY45" fmla="*/ 8920 h 10000"/>
                  <a:gd name="connsiteX46" fmla="*/ 9083 w 10000"/>
                  <a:gd name="connsiteY46" fmla="*/ 8379 h 10000"/>
                  <a:gd name="connsiteX47" fmla="*/ 8655 w 10000"/>
                  <a:gd name="connsiteY47" fmla="*/ 8176 h 10000"/>
                  <a:gd name="connsiteX48" fmla="*/ 8385 w 10000"/>
                  <a:gd name="connsiteY48" fmla="*/ 7905 h 10000"/>
                  <a:gd name="connsiteX49" fmla="*/ 7687 w 10000"/>
                  <a:gd name="connsiteY49" fmla="*/ 7703 h 10000"/>
                  <a:gd name="connsiteX50" fmla="*/ 7848 w 10000"/>
                  <a:gd name="connsiteY50" fmla="*/ 7635 h 10000"/>
                  <a:gd name="connsiteX51" fmla="*/ 7848 w 10000"/>
                  <a:gd name="connsiteY51" fmla="*/ 7465 h 10000"/>
                  <a:gd name="connsiteX52" fmla="*/ 8334 w 10000"/>
                  <a:gd name="connsiteY52" fmla="*/ 7465 h 10000"/>
                  <a:gd name="connsiteX53" fmla="*/ 8599 w 10000"/>
                  <a:gd name="connsiteY53" fmla="*/ 7331 h 10000"/>
                  <a:gd name="connsiteX54" fmla="*/ 8655 w 10000"/>
                  <a:gd name="connsiteY54" fmla="*/ 6352 h 10000"/>
                  <a:gd name="connsiteX55" fmla="*/ 8707 w 10000"/>
                  <a:gd name="connsiteY55" fmla="*/ 6385 h 10000"/>
                  <a:gd name="connsiteX56" fmla="*/ 8517 w 10000"/>
                  <a:gd name="connsiteY56" fmla="*/ 6447 h 10000"/>
                  <a:gd name="connsiteX57" fmla="*/ 8440 w 10000"/>
                  <a:gd name="connsiteY57" fmla="*/ 6579 h 10000"/>
                  <a:gd name="connsiteX58" fmla="*/ 7961 w 10000"/>
                  <a:gd name="connsiteY58" fmla="*/ 6319 h 10000"/>
                  <a:gd name="connsiteX59" fmla="*/ 7874 w 10000"/>
                  <a:gd name="connsiteY59" fmla="*/ 5616 h 10000"/>
                  <a:gd name="connsiteX60" fmla="*/ 7361 w 10000"/>
                  <a:gd name="connsiteY60" fmla="*/ 5921 h 10000"/>
                  <a:gd name="connsiteX61" fmla="*/ 7369 w 10000"/>
                  <a:gd name="connsiteY61" fmla="*/ 6283 h 10000"/>
                  <a:gd name="connsiteX62" fmla="*/ 6955 w 10000"/>
                  <a:gd name="connsiteY62" fmla="*/ 6501 h 10000"/>
                  <a:gd name="connsiteX63" fmla="*/ 8116 w 10000"/>
                  <a:gd name="connsiteY63" fmla="*/ 237 h 10000"/>
                  <a:gd name="connsiteX64" fmla="*/ 7794 w 10000"/>
                  <a:gd name="connsiteY64" fmla="*/ 135 h 10000"/>
                  <a:gd name="connsiteX65" fmla="*/ 7096 w 10000"/>
                  <a:gd name="connsiteY65" fmla="*/ 135 h 10000"/>
                  <a:gd name="connsiteX66" fmla="*/ 6397 w 10000"/>
                  <a:gd name="connsiteY66" fmla="*/ 135 h 10000"/>
                  <a:gd name="connsiteX67" fmla="*/ 6452 w 10000"/>
                  <a:gd name="connsiteY67" fmla="*/ 0 h 10000"/>
                  <a:gd name="connsiteX68" fmla="*/ 6343 w 10000"/>
                  <a:gd name="connsiteY68" fmla="*/ 0 h 10000"/>
                  <a:gd name="connsiteX69" fmla="*/ 6290 w 10000"/>
                  <a:gd name="connsiteY69" fmla="*/ 135 h 10000"/>
                  <a:gd name="connsiteX70" fmla="*/ 5644 w 10000"/>
                  <a:gd name="connsiteY70" fmla="*/ 135 h 10000"/>
                  <a:gd name="connsiteX71" fmla="*/ 5002 w 10000"/>
                  <a:gd name="connsiteY71" fmla="*/ 135 h 10000"/>
                  <a:gd name="connsiteX72" fmla="*/ 4356 w 10000"/>
                  <a:gd name="connsiteY72" fmla="*/ 135 h 10000"/>
                  <a:gd name="connsiteX73" fmla="*/ 3709 w 10000"/>
                  <a:gd name="connsiteY73" fmla="*/ 135 h 10000"/>
                  <a:gd name="connsiteX74" fmla="*/ 3120 w 10000"/>
                  <a:gd name="connsiteY74" fmla="*/ 135 h 10000"/>
                  <a:gd name="connsiteX75" fmla="*/ 2475 w 10000"/>
                  <a:gd name="connsiteY75" fmla="*/ 135 h 10000"/>
                  <a:gd name="connsiteX76" fmla="*/ 1884 w 10000"/>
                  <a:gd name="connsiteY76" fmla="*/ 135 h 10000"/>
                  <a:gd name="connsiteX77" fmla="*/ 1237 w 10000"/>
                  <a:gd name="connsiteY77" fmla="*/ 135 h 10000"/>
                  <a:gd name="connsiteX78" fmla="*/ 1237 w 10000"/>
                  <a:gd name="connsiteY78" fmla="*/ 608 h 10000"/>
                  <a:gd name="connsiteX79" fmla="*/ 1237 w 10000"/>
                  <a:gd name="connsiteY79" fmla="*/ 1216 h 10000"/>
                  <a:gd name="connsiteX80" fmla="*/ 433 w 10000"/>
                  <a:gd name="connsiteY80" fmla="*/ 1216 h 10000"/>
                  <a:gd name="connsiteX81" fmla="*/ 433 w 10000"/>
                  <a:gd name="connsiteY81" fmla="*/ 1486 h 10000"/>
                  <a:gd name="connsiteX0" fmla="*/ 433 w 10000"/>
                  <a:gd name="connsiteY0" fmla="*/ 2412 h 10926"/>
                  <a:gd name="connsiteX1" fmla="*/ 6675 w 10000"/>
                  <a:gd name="connsiteY1" fmla="*/ 7685 h 10926"/>
                  <a:gd name="connsiteX2" fmla="*/ 6234 w 10000"/>
                  <a:gd name="connsiteY2" fmla="*/ 7894 h 10926"/>
                  <a:gd name="connsiteX3" fmla="*/ 5864 w 10000"/>
                  <a:gd name="connsiteY3" fmla="*/ 7676 h 10926"/>
                  <a:gd name="connsiteX4" fmla="*/ 5325 w 10000"/>
                  <a:gd name="connsiteY4" fmla="*/ 7544 h 10926"/>
                  <a:gd name="connsiteX5" fmla="*/ 5058 w 10000"/>
                  <a:gd name="connsiteY5" fmla="*/ 7841 h 10926"/>
                  <a:gd name="connsiteX6" fmla="*/ 4396 w 10000"/>
                  <a:gd name="connsiteY6" fmla="*/ 8069 h 10926"/>
                  <a:gd name="connsiteX7" fmla="*/ 3972 w 10000"/>
                  <a:gd name="connsiteY7" fmla="*/ 8067 h 10926"/>
                  <a:gd name="connsiteX8" fmla="*/ 3044 w 10000"/>
                  <a:gd name="connsiteY8" fmla="*/ 7874 h 10926"/>
                  <a:gd name="connsiteX9" fmla="*/ 2796 w 10000"/>
                  <a:gd name="connsiteY9" fmla="*/ 7978 h 10926"/>
                  <a:gd name="connsiteX10" fmla="*/ 2177 w 10000"/>
                  <a:gd name="connsiteY10" fmla="*/ 7745 h 10926"/>
                  <a:gd name="connsiteX11" fmla="*/ 1903 w 10000"/>
                  <a:gd name="connsiteY11" fmla="*/ 7393 h 10926"/>
                  <a:gd name="connsiteX12" fmla="*/ 1449 w 10000"/>
                  <a:gd name="connsiteY12" fmla="*/ 7489 h 10926"/>
                  <a:gd name="connsiteX13" fmla="*/ 1324 w 10000"/>
                  <a:gd name="connsiteY13" fmla="*/ 7697 h 10926"/>
                  <a:gd name="connsiteX14" fmla="*/ 845 w 10000"/>
                  <a:gd name="connsiteY14" fmla="*/ 7786 h 10926"/>
                  <a:gd name="connsiteX15" fmla="*/ 526 w 10000"/>
                  <a:gd name="connsiteY15" fmla="*/ 7778 h 10926"/>
                  <a:gd name="connsiteX16" fmla="*/ 354 w 10000"/>
                  <a:gd name="connsiteY16" fmla="*/ 7943 h 10926"/>
                  <a:gd name="connsiteX17" fmla="*/ 56 w 10000"/>
                  <a:gd name="connsiteY17" fmla="*/ 7683 h 10926"/>
                  <a:gd name="connsiteX18" fmla="*/ 0 w 10000"/>
                  <a:gd name="connsiteY18" fmla="*/ 8155 h 10926"/>
                  <a:gd name="connsiteX19" fmla="*/ 106 w 10000"/>
                  <a:gd name="connsiteY19" fmla="*/ 8223 h 10926"/>
                  <a:gd name="connsiteX20" fmla="*/ 538 w 10000"/>
                  <a:gd name="connsiteY20" fmla="*/ 8257 h 10926"/>
                  <a:gd name="connsiteX21" fmla="*/ 596 w 10000"/>
                  <a:gd name="connsiteY21" fmla="*/ 8391 h 10926"/>
                  <a:gd name="connsiteX22" fmla="*/ 1075 w 10000"/>
                  <a:gd name="connsiteY22" fmla="*/ 8426 h 10926"/>
                  <a:gd name="connsiteX23" fmla="*/ 1346 w 10000"/>
                  <a:gd name="connsiteY23" fmla="*/ 8561 h 10926"/>
                  <a:gd name="connsiteX24" fmla="*/ 1397 w 10000"/>
                  <a:gd name="connsiteY24" fmla="*/ 8798 h 10926"/>
                  <a:gd name="connsiteX25" fmla="*/ 2260 w 10000"/>
                  <a:gd name="connsiteY25" fmla="*/ 9203 h 10926"/>
                  <a:gd name="connsiteX26" fmla="*/ 2475 w 10000"/>
                  <a:gd name="connsiteY26" fmla="*/ 9609 h 10926"/>
                  <a:gd name="connsiteX27" fmla="*/ 3064 w 10000"/>
                  <a:gd name="connsiteY27" fmla="*/ 9812 h 10926"/>
                  <a:gd name="connsiteX28" fmla="*/ 3280 w 10000"/>
                  <a:gd name="connsiteY28" fmla="*/ 10080 h 10926"/>
                  <a:gd name="connsiteX29" fmla="*/ 3709 w 10000"/>
                  <a:gd name="connsiteY29" fmla="*/ 10420 h 10926"/>
                  <a:gd name="connsiteX30" fmla="*/ 4034 w 10000"/>
                  <a:gd name="connsiteY30" fmla="*/ 10520 h 10926"/>
                  <a:gd name="connsiteX31" fmla="*/ 4248 w 10000"/>
                  <a:gd name="connsiteY31" fmla="*/ 10420 h 10926"/>
                  <a:gd name="connsiteX32" fmla="*/ 4785 w 10000"/>
                  <a:gd name="connsiteY32" fmla="*/ 10453 h 10926"/>
                  <a:gd name="connsiteX33" fmla="*/ 5002 w 10000"/>
                  <a:gd name="connsiteY33" fmla="*/ 10385 h 10926"/>
                  <a:gd name="connsiteX34" fmla="*/ 5967 w 10000"/>
                  <a:gd name="connsiteY34" fmla="*/ 10893 h 10926"/>
                  <a:gd name="connsiteX35" fmla="*/ 6021 w 10000"/>
                  <a:gd name="connsiteY35" fmla="*/ 10893 h 10926"/>
                  <a:gd name="connsiteX36" fmla="*/ 6130 w 10000"/>
                  <a:gd name="connsiteY36" fmla="*/ 10825 h 10926"/>
                  <a:gd name="connsiteX37" fmla="*/ 6823 w 10000"/>
                  <a:gd name="connsiteY37" fmla="*/ 10825 h 10926"/>
                  <a:gd name="connsiteX38" fmla="*/ 6936 w 10000"/>
                  <a:gd name="connsiteY38" fmla="*/ 10926 h 10926"/>
                  <a:gd name="connsiteX39" fmla="*/ 7526 w 10000"/>
                  <a:gd name="connsiteY39" fmla="*/ 10790 h 10926"/>
                  <a:gd name="connsiteX40" fmla="*/ 8062 w 10000"/>
                  <a:gd name="connsiteY40" fmla="*/ 10790 h 10926"/>
                  <a:gd name="connsiteX41" fmla="*/ 8438 w 10000"/>
                  <a:gd name="connsiteY41" fmla="*/ 10656 h 10926"/>
                  <a:gd name="connsiteX42" fmla="*/ 8871 w 10000"/>
                  <a:gd name="connsiteY42" fmla="*/ 10385 h 10926"/>
                  <a:gd name="connsiteX43" fmla="*/ 10000 w 10000"/>
                  <a:gd name="connsiteY43" fmla="*/ 10385 h 10926"/>
                  <a:gd name="connsiteX44" fmla="*/ 10000 w 10000"/>
                  <a:gd name="connsiteY44" fmla="*/ 10014 h 10926"/>
                  <a:gd name="connsiteX45" fmla="*/ 9409 w 10000"/>
                  <a:gd name="connsiteY45" fmla="*/ 9846 h 10926"/>
                  <a:gd name="connsiteX46" fmla="*/ 9083 w 10000"/>
                  <a:gd name="connsiteY46" fmla="*/ 9305 h 10926"/>
                  <a:gd name="connsiteX47" fmla="*/ 8655 w 10000"/>
                  <a:gd name="connsiteY47" fmla="*/ 9102 h 10926"/>
                  <a:gd name="connsiteX48" fmla="*/ 8385 w 10000"/>
                  <a:gd name="connsiteY48" fmla="*/ 8831 h 10926"/>
                  <a:gd name="connsiteX49" fmla="*/ 7687 w 10000"/>
                  <a:gd name="connsiteY49" fmla="*/ 8629 h 10926"/>
                  <a:gd name="connsiteX50" fmla="*/ 7848 w 10000"/>
                  <a:gd name="connsiteY50" fmla="*/ 8561 h 10926"/>
                  <a:gd name="connsiteX51" fmla="*/ 7848 w 10000"/>
                  <a:gd name="connsiteY51" fmla="*/ 8391 h 10926"/>
                  <a:gd name="connsiteX52" fmla="*/ 8334 w 10000"/>
                  <a:gd name="connsiteY52" fmla="*/ 8391 h 10926"/>
                  <a:gd name="connsiteX53" fmla="*/ 8599 w 10000"/>
                  <a:gd name="connsiteY53" fmla="*/ 8257 h 10926"/>
                  <a:gd name="connsiteX54" fmla="*/ 8655 w 10000"/>
                  <a:gd name="connsiteY54" fmla="*/ 7278 h 10926"/>
                  <a:gd name="connsiteX55" fmla="*/ 8707 w 10000"/>
                  <a:gd name="connsiteY55" fmla="*/ 7311 h 10926"/>
                  <a:gd name="connsiteX56" fmla="*/ 8517 w 10000"/>
                  <a:gd name="connsiteY56" fmla="*/ 7373 h 10926"/>
                  <a:gd name="connsiteX57" fmla="*/ 8440 w 10000"/>
                  <a:gd name="connsiteY57" fmla="*/ 7505 h 10926"/>
                  <a:gd name="connsiteX58" fmla="*/ 7961 w 10000"/>
                  <a:gd name="connsiteY58" fmla="*/ 7245 h 10926"/>
                  <a:gd name="connsiteX59" fmla="*/ 7874 w 10000"/>
                  <a:gd name="connsiteY59" fmla="*/ 6542 h 10926"/>
                  <a:gd name="connsiteX60" fmla="*/ 7361 w 10000"/>
                  <a:gd name="connsiteY60" fmla="*/ 6847 h 10926"/>
                  <a:gd name="connsiteX61" fmla="*/ 7369 w 10000"/>
                  <a:gd name="connsiteY61" fmla="*/ 7209 h 10926"/>
                  <a:gd name="connsiteX62" fmla="*/ 6955 w 10000"/>
                  <a:gd name="connsiteY62" fmla="*/ 7427 h 10926"/>
                  <a:gd name="connsiteX63" fmla="*/ 7794 w 10000"/>
                  <a:gd name="connsiteY63" fmla="*/ 1061 h 10926"/>
                  <a:gd name="connsiteX64" fmla="*/ 7096 w 10000"/>
                  <a:gd name="connsiteY64" fmla="*/ 1061 h 10926"/>
                  <a:gd name="connsiteX65" fmla="*/ 6397 w 10000"/>
                  <a:gd name="connsiteY65" fmla="*/ 1061 h 10926"/>
                  <a:gd name="connsiteX66" fmla="*/ 6452 w 10000"/>
                  <a:gd name="connsiteY66" fmla="*/ 926 h 10926"/>
                  <a:gd name="connsiteX67" fmla="*/ 6343 w 10000"/>
                  <a:gd name="connsiteY67" fmla="*/ 926 h 10926"/>
                  <a:gd name="connsiteX68" fmla="*/ 6290 w 10000"/>
                  <a:gd name="connsiteY68" fmla="*/ 1061 h 10926"/>
                  <a:gd name="connsiteX69" fmla="*/ 5644 w 10000"/>
                  <a:gd name="connsiteY69" fmla="*/ 1061 h 10926"/>
                  <a:gd name="connsiteX70" fmla="*/ 5002 w 10000"/>
                  <a:gd name="connsiteY70" fmla="*/ 1061 h 10926"/>
                  <a:gd name="connsiteX71" fmla="*/ 4356 w 10000"/>
                  <a:gd name="connsiteY71" fmla="*/ 1061 h 10926"/>
                  <a:gd name="connsiteX72" fmla="*/ 3709 w 10000"/>
                  <a:gd name="connsiteY72" fmla="*/ 1061 h 10926"/>
                  <a:gd name="connsiteX73" fmla="*/ 3120 w 10000"/>
                  <a:gd name="connsiteY73" fmla="*/ 1061 h 10926"/>
                  <a:gd name="connsiteX74" fmla="*/ 2475 w 10000"/>
                  <a:gd name="connsiteY74" fmla="*/ 1061 h 10926"/>
                  <a:gd name="connsiteX75" fmla="*/ 1884 w 10000"/>
                  <a:gd name="connsiteY75" fmla="*/ 1061 h 10926"/>
                  <a:gd name="connsiteX76" fmla="*/ 1237 w 10000"/>
                  <a:gd name="connsiteY76" fmla="*/ 1061 h 10926"/>
                  <a:gd name="connsiteX77" fmla="*/ 1237 w 10000"/>
                  <a:gd name="connsiteY77" fmla="*/ 1534 h 10926"/>
                  <a:gd name="connsiteX78" fmla="*/ 1237 w 10000"/>
                  <a:gd name="connsiteY78" fmla="*/ 2142 h 10926"/>
                  <a:gd name="connsiteX79" fmla="*/ 433 w 10000"/>
                  <a:gd name="connsiteY79" fmla="*/ 2142 h 10926"/>
                  <a:gd name="connsiteX80" fmla="*/ 433 w 10000"/>
                  <a:gd name="connsiteY80" fmla="*/ 2412 h 10926"/>
                  <a:gd name="connsiteX0" fmla="*/ 433 w 10000"/>
                  <a:gd name="connsiteY0" fmla="*/ 1486 h 10000"/>
                  <a:gd name="connsiteX1" fmla="*/ 6675 w 10000"/>
                  <a:gd name="connsiteY1" fmla="*/ 6759 h 10000"/>
                  <a:gd name="connsiteX2" fmla="*/ 6234 w 10000"/>
                  <a:gd name="connsiteY2" fmla="*/ 6968 h 10000"/>
                  <a:gd name="connsiteX3" fmla="*/ 5864 w 10000"/>
                  <a:gd name="connsiteY3" fmla="*/ 6750 h 10000"/>
                  <a:gd name="connsiteX4" fmla="*/ 5325 w 10000"/>
                  <a:gd name="connsiteY4" fmla="*/ 6618 h 10000"/>
                  <a:gd name="connsiteX5" fmla="*/ 5058 w 10000"/>
                  <a:gd name="connsiteY5" fmla="*/ 6915 h 10000"/>
                  <a:gd name="connsiteX6" fmla="*/ 4396 w 10000"/>
                  <a:gd name="connsiteY6" fmla="*/ 7143 h 10000"/>
                  <a:gd name="connsiteX7" fmla="*/ 3972 w 10000"/>
                  <a:gd name="connsiteY7" fmla="*/ 7141 h 10000"/>
                  <a:gd name="connsiteX8" fmla="*/ 3044 w 10000"/>
                  <a:gd name="connsiteY8" fmla="*/ 6948 h 10000"/>
                  <a:gd name="connsiteX9" fmla="*/ 2796 w 10000"/>
                  <a:gd name="connsiteY9" fmla="*/ 7052 h 10000"/>
                  <a:gd name="connsiteX10" fmla="*/ 2177 w 10000"/>
                  <a:gd name="connsiteY10" fmla="*/ 6819 h 10000"/>
                  <a:gd name="connsiteX11" fmla="*/ 1903 w 10000"/>
                  <a:gd name="connsiteY11" fmla="*/ 6467 h 10000"/>
                  <a:gd name="connsiteX12" fmla="*/ 1449 w 10000"/>
                  <a:gd name="connsiteY12" fmla="*/ 6563 h 10000"/>
                  <a:gd name="connsiteX13" fmla="*/ 1324 w 10000"/>
                  <a:gd name="connsiteY13" fmla="*/ 6771 h 10000"/>
                  <a:gd name="connsiteX14" fmla="*/ 845 w 10000"/>
                  <a:gd name="connsiteY14" fmla="*/ 6860 h 10000"/>
                  <a:gd name="connsiteX15" fmla="*/ 526 w 10000"/>
                  <a:gd name="connsiteY15" fmla="*/ 6852 h 10000"/>
                  <a:gd name="connsiteX16" fmla="*/ 354 w 10000"/>
                  <a:gd name="connsiteY16" fmla="*/ 7017 h 10000"/>
                  <a:gd name="connsiteX17" fmla="*/ 56 w 10000"/>
                  <a:gd name="connsiteY17" fmla="*/ 6757 h 10000"/>
                  <a:gd name="connsiteX18" fmla="*/ 0 w 10000"/>
                  <a:gd name="connsiteY18" fmla="*/ 7229 h 10000"/>
                  <a:gd name="connsiteX19" fmla="*/ 106 w 10000"/>
                  <a:gd name="connsiteY19" fmla="*/ 7297 h 10000"/>
                  <a:gd name="connsiteX20" fmla="*/ 538 w 10000"/>
                  <a:gd name="connsiteY20" fmla="*/ 7331 h 10000"/>
                  <a:gd name="connsiteX21" fmla="*/ 596 w 10000"/>
                  <a:gd name="connsiteY21" fmla="*/ 7465 h 10000"/>
                  <a:gd name="connsiteX22" fmla="*/ 1075 w 10000"/>
                  <a:gd name="connsiteY22" fmla="*/ 7500 h 10000"/>
                  <a:gd name="connsiteX23" fmla="*/ 1346 w 10000"/>
                  <a:gd name="connsiteY23" fmla="*/ 7635 h 10000"/>
                  <a:gd name="connsiteX24" fmla="*/ 1397 w 10000"/>
                  <a:gd name="connsiteY24" fmla="*/ 7872 h 10000"/>
                  <a:gd name="connsiteX25" fmla="*/ 2260 w 10000"/>
                  <a:gd name="connsiteY25" fmla="*/ 8277 h 10000"/>
                  <a:gd name="connsiteX26" fmla="*/ 2475 w 10000"/>
                  <a:gd name="connsiteY26" fmla="*/ 8683 h 10000"/>
                  <a:gd name="connsiteX27" fmla="*/ 3064 w 10000"/>
                  <a:gd name="connsiteY27" fmla="*/ 8886 h 10000"/>
                  <a:gd name="connsiteX28" fmla="*/ 3280 w 10000"/>
                  <a:gd name="connsiteY28" fmla="*/ 9154 h 10000"/>
                  <a:gd name="connsiteX29" fmla="*/ 3709 w 10000"/>
                  <a:gd name="connsiteY29" fmla="*/ 9494 h 10000"/>
                  <a:gd name="connsiteX30" fmla="*/ 4034 w 10000"/>
                  <a:gd name="connsiteY30" fmla="*/ 9594 h 10000"/>
                  <a:gd name="connsiteX31" fmla="*/ 4248 w 10000"/>
                  <a:gd name="connsiteY31" fmla="*/ 9494 h 10000"/>
                  <a:gd name="connsiteX32" fmla="*/ 4785 w 10000"/>
                  <a:gd name="connsiteY32" fmla="*/ 9527 h 10000"/>
                  <a:gd name="connsiteX33" fmla="*/ 5002 w 10000"/>
                  <a:gd name="connsiteY33" fmla="*/ 9459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9 h 10000"/>
                  <a:gd name="connsiteX37" fmla="*/ 6823 w 10000"/>
                  <a:gd name="connsiteY37" fmla="*/ 9899 h 10000"/>
                  <a:gd name="connsiteX38" fmla="*/ 6936 w 10000"/>
                  <a:gd name="connsiteY38" fmla="*/ 10000 h 10000"/>
                  <a:gd name="connsiteX39" fmla="*/ 7526 w 10000"/>
                  <a:gd name="connsiteY39" fmla="*/ 9864 h 10000"/>
                  <a:gd name="connsiteX40" fmla="*/ 8062 w 10000"/>
                  <a:gd name="connsiteY40" fmla="*/ 9864 h 10000"/>
                  <a:gd name="connsiteX41" fmla="*/ 8438 w 10000"/>
                  <a:gd name="connsiteY41" fmla="*/ 9730 h 10000"/>
                  <a:gd name="connsiteX42" fmla="*/ 8871 w 10000"/>
                  <a:gd name="connsiteY42" fmla="*/ 9459 h 10000"/>
                  <a:gd name="connsiteX43" fmla="*/ 10000 w 10000"/>
                  <a:gd name="connsiteY43" fmla="*/ 9459 h 10000"/>
                  <a:gd name="connsiteX44" fmla="*/ 10000 w 10000"/>
                  <a:gd name="connsiteY44" fmla="*/ 9088 h 10000"/>
                  <a:gd name="connsiteX45" fmla="*/ 9409 w 10000"/>
                  <a:gd name="connsiteY45" fmla="*/ 8920 h 10000"/>
                  <a:gd name="connsiteX46" fmla="*/ 9083 w 10000"/>
                  <a:gd name="connsiteY46" fmla="*/ 8379 h 10000"/>
                  <a:gd name="connsiteX47" fmla="*/ 8655 w 10000"/>
                  <a:gd name="connsiteY47" fmla="*/ 8176 h 10000"/>
                  <a:gd name="connsiteX48" fmla="*/ 8385 w 10000"/>
                  <a:gd name="connsiteY48" fmla="*/ 7905 h 10000"/>
                  <a:gd name="connsiteX49" fmla="*/ 7687 w 10000"/>
                  <a:gd name="connsiteY49" fmla="*/ 7703 h 10000"/>
                  <a:gd name="connsiteX50" fmla="*/ 7848 w 10000"/>
                  <a:gd name="connsiteY50" fmla="*/ 7635 h 10000"/>
                  <a:gd name="connsiteX51" fmla="*/ 7848 w 10000"/>
                  <a:gd name="connsiteY51" fmla="*/ 7465 h 10000"/>
                  <a:gd name="connsiteX52" fmla="*/ 8334 w 10000"/>
                  <a:gd name="connsiteY52" fmla="*/ 7465 h 10000"/>
                  <a:gd name="connsiteX53" fmla="*/ 8599 w 10000"/>
                  <a:gd name="connsiteY53" fmla="*/ 7331 h 10000"/>
                  <a:gd name="connsiteX54" fmla="*/ 8655 w 10000"/>
                  <a:gd name="connsiteY54" fmla="*/ 6352 h 10000"/>
                  <a:gd name="connsiteX55" fmla="*/ 8707 w 10000"/>
                  <a:gd name="connsiteY55" fmla="*/ 6385 h 10000"/>
                  <a:gd name="connsiteX56" fmla="*/ 8517 w 10000"/>
                  <a:gd name="connsiteY56" fmla="*/ 6447 h 10000"/>
                  <a:gd name="connsiteX57" fmla="*/ 8440 w 10000"/>
                  <a:gd name="connsiteY57" fmla="*/ 6579 h 10000"/>
                  <a:gd name="connsiteX58" fmla="*/ 7961 w 10000"/>
                  <a:gd name="connsiteY58" fmla="*/ 6319 h 10000"/>
                  <a:gd name="connsiteX59" fmla="*/ 7874 w 10000"/>
                  <a:gd name="connsiteY59" fmla="*/ 5616 h 10000"/>
                  <a:gd name="connsiteX60" fmla="*/ 7361 w 10000"/>
                  <a:gd name="connsiteY60" fmla="*/ 5921 h 10000"/>
                  <a:gd name="connsiteX61" fmla="*/ 7369 w 10000"/>
                  <a:gd name="connsiteY61" fmla="*/ 6283 h 10000"/>
                  <a:gd name="connsiteX62" fmla="*/ 6955 w 10000"/>
                  <a:gd name="connsiteY62" fmla="*/ 6501 h 10000"/>
                  <a:gd name="connsiteX63" fmla="*/ 7096 w 10000"/>
                  <a:gd name="connsiteY63" fmla="*/ 135 h 10000"/>
                  <a:gd name="connsiteX64" fmla="*/ 6397 w 10000"/>
                  <a:gd name="connsiteY64" fmla="*/ 135 h 10000"/>
                  <a:gd name="connsiteX65" fmla="*/ 6452 w 10000"/>
                  <a:gd name="connsiteY65" fmla="*/ 0 h 10000"/>
                  <a:gd name="connsiteX66" fmla="*/ 6343 w 10000"/>
                  <a:gd name="connsiteY66" fmla="*/ 0 h 10000"/>
                  <a:gd name="connsiteX67" fmla="*/ 6290 w 10000"/>
                  <a:gd name="connsiteY67" fmla="*/ 135 h 10000"/>
                  <a:gd name="connsiteX68" fmla="*/ 5644 w 10000"/>
                  <a:gd name="connsiteY68" fmla="*/ 135 h 10000"/>
                  <a:gd name="connsiteX69" fmla="*/ 5002 w 10000"/>
                  <a:gd name="connsiteY69" fmla="*/ 135 h 10000"/>
                  <a:gd name="connsiteX70" fmla="*/ 4356 w 10000"/>
                  <a:gd name="connsiteY70" fmla="*/ 135 h 10000"/>
                  <a:gd name="connsiteX71" fmla="*/ 3709 w 10000"/>
                  <a:gd name="connsiteY71" fmla="*/ 135 h 10000"/>
                  <a:gd name="connsiteX72" fmla="*/ 3120 w 10000"/>
                  <a:gd name="connsiteY72" fmla="*/ 135 h 10000"/>
                  <a:gd name="connsiteX73" fmla="*/ 2475 w 10000"/>
                  <a:gd name="connsiteY73" fmla="*/ 135 h 10000"/>
                  <a:gd name="connsiteX74" fmla="*/ 1884 w 10000"/>
                  <a:gd name="connsiteY74" fmla="*/ 135 h 10000"/>
                  <a:gd name="connsiteX75" fmla="*/ 1237 w 10000"/>
                  <a:gd name="connsiteY75" fmla="*/ 135 h 10000"/>
                  <a:gd name="connsiteX76" fmla="*/ 1237 w 10000"/>
                  <a:gd name="connsiteY76" fmla="*/ 608 h 10000"/>
                  <a:gd name="connsiteX77" fmla="*/ 1237 w 10000"/>
                  <a:gd name="connsiteY77" fmla="*/ 1216 h 10000"/>
                  <a:gd name="connsiteX78" fmla="*/ 433 w 10000"/>
                  <a:gd name="connsiteY78" fmla="*/ 1216 h 10000"/>
                  <a:gd name="connsiteX79" fmla="*/ 433 w 10000"/>
                  <a:gd name="connsiteY79" fmla="*/ 1486 h 10000"/>
                  <a:gd name="connsiteX0" fmla="*/ 433 w 10000"/>
                  <a:gd name="connsiteY0" fmla="*/ 1486 h 10000"/>
                  <a:gd name="connsiteX1" fmla="*/ 6675 w 10000"/>
                  <a:gd name="connsiteY1" fmla="*/ 6759 h 10000"/>
                  <a:gd name="connsiteX2" fmla="*/ 6234 w 10000"/>
                  <a:gd name="connsiteY2" fmla="*/ 6968 h 10000"/>
                  <a:gd name="connsiteX3" fmla="*/ 5864 w 10000"/>
                  <a:gd name="connsiteY3" fmla="*/ 6750 h 10000"/>
                  <a:gd name="connsiteX4" fmla="*/ 5325 w 10000"/>
                  <a:gd name="connsiteY4" fmla="*/ 6618 h 10000"/>
                  <a:gd name="connsiteX5" fmla="*/ 5058 w 10000"/>
                  <a:gd name="connsiteY5" fmla="*/ 6915 h 10000"/>
                  <a:gd name="connsiteX6" fmla="*/ 4396 w 10000"/>
                  <a:gd name="connsiteY6" fmla="*/ 7143 h 10000"/>
                  <a:gd name="connsiteX7" fmla="*/ 3972 w 10000"/>
                  <a:gd name="connsiteY7" fmla="*/ 7141 h 10000"/>
                  <a:gd name="connsiteX8" fmla="*/ 3044 w 10000"/>
                  <a:gd name="connsiteY8" fmla="*/ 6948 h 10000"/>
                  <a:gd name="connsiteX9" fmla="*/ 2796 w 10000"/>
                  <a:gd name="connsiteY9" fmla="*/ 7052 h 10000"/>
                  <a:gd name="connsiteX10" fmla="*/ 2177 w 10000"/>
                  <a:gd name="connsiteY10" fmla="*/ 6819 h 10000"/>
                  <a:gd name="connsiteX11" fmla="*/ 1903 w 10000"/>
                  <a:gd name="connsiteY11" fmla="*/ 6467 h 10000"/>
                  <a:gd name="connsiteX12" fmla="*/ 1449 w 10000"/>
                  <a:gd name="connsiteY12" fmla="*/ 6563 h 10000"/>
                  <a:gd name="connsiteX13" fmla="*/ 1324 w 10000"/>
                  <a:gd name="connsiteY13" fmla="*/ 6771 h 10000"/>
                  <a:gd name="connsiteX14" fmla="*/ 845 w 10000"/>
                  <a:gd name="connsiteY14" fmla="*/ 6860 h 10000"/>
                  <a:gd name="connsiteX15" fmla="*/ 526 w 10000"/>
                  <a:gd name="connsiteY15" fmla="*/ 6852 h 10000"/>
                  <a:gd name="connsiteX16" fmla="*/ 354 w 10000"/>
                  <a:gd name="connsiteY16" fmla="*/ 7017 h 10000"/>
                  <a:gd name="connsiteX17" fmla="*/ 56 w 10000"/>
                  <a:gd name="connsiteY17" fmla="*/ 6757 h 10000"/>
                  <a:gd name="connsiteX18" fmla="*/ 0 w 10000"/>
                  <a:gd name="connsiteY18" fmla="*/ 7229 h 10000"/>
                  <a:gd name="connsiteX19" fmla="*/ 106 w 10000"/>
                  <a:gd name="connsiteY19" fmla="*/ 7297 h 10000"/>
                  <a:gd name="connsiteX20" fmla="*/ 538 w 10000"/>
                  <a:gd name="connsiteY20" fmla="*/ 7331 h 10000"/>
                  <a:gd name="connsiteX21" fmla="*/ 596 w 10000"/>
                  <a:gd name="connsiteY21" fmla="*/ 7465 h 10000"/>
                  <a:gd name="connsiteX22" fmla="*/ 1075 w 10000"/>
                  <a:gd name="connsiteY22" fmla="*/ 7500 h 10000"/>
                  <a:gd name="connsiteX23" fmla="*/ 1346 w 10000"/>
                  <a:gd name="connsiteY23" fmla="*/ 7635 h 10000"/>
                  <a:gd name="connsiteX24" fmla="*/ 1397 w 10000"/>
                  <a:gd name="connsiteY24" fmla="*/ 7872 h 10000"/>
                  <a:gd name="connsiteX25" fmla="*/ 2260 w 10000"/>
                  <a:gd name="connsiteY25" fmla="*/ 8277 h 10000"/>
                  <a:gd name="connsiteX26" fmla="*/ 2475 w 10000"/>
                  <a:gd name="connsiteY26" fmla="*/ 8683 h 10000"/>
                  <a:gd name="connsiteX27" fmla="*/ 3064 w 10000"/>
                  <a:gd name="connsiteY27" fmla="*/ 8886 h 10000"/>
                  <a:gd name="connsiteX28" fmla="*/ 3280 w 10000"/>
                  <a:gd name="connsiteY28" fmla="*/ 9154 h 10000"/>
                  <a:gd name="connsiteX29" fmla="*/ 3709 w 10000"/>
                  <a:gd name="connsiteY29" fmla="*/ 9494 h 10000"/>
                  <a:gd name="connsiteX30" fmla="*/ 4034 w 10000"/>
                  <a:gd name="connsiteY30" fmla="*/ 9594 h 10000"/>
                  <a:gd name="connsiteX31" fmla="*/ 4248 w 10000"/>
                  <a:gd name="connsiteY31" fmla="*/ 9494 h 10000"/>
                  <a:gd name="connsiteX32" fmla="*/ 4785 w 10000"/>
                  <a:gd name="connsiteY32" fmla="*/ 9527 h 10000"/>
                  <a:gd name="connsiteX33" fmla="*/ 5002 w 10000"/>
                  <a:gd name="connsiteY33" fmla="*/ 9459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9 h 10000"/>
                  <a:gd name="connsiteX37" fmla="*/ 6823 w 10000"/>
                  <a:gd name="connsiteY37" fmla="*/ 9899 h 10000"/>
                  <a:gd name="connsiteX38" fmla="*/ 6936 w 10000"/>
                  <a:gd name="connsiteY38" fmla="*/ 10000 h 10000"/>
                  <a:gd name="connsiteX39" fmla="*/ 7526 w 10000"/>
                  <a:gd name="connsiteY39" fmla="*/ 9864 h 10000"/>
                  <a:gd name="connsiteX40" fmla="*/ 8062 w 10000"/>
                  <a:gd name="connsiteY40" fmla="*/ 9864 h 10000"/>
                  <a:gd name="connsiteX41" fmla="*/ 8438 w 10000"/>
                  <a:gd name="connsiteY41" fmla="*/ 9730 h 10000"/>
                  <a:gd name="connsiteX42" fmla="*/ 8871 w 10000"/>
                  <a:gd name="connsiteY42" fmla="*/ 9459 h 10000"/>
                  <a:gd name="connsiteX43" fmla="*/ 10000 w 10000"/>
                  <a:gd name="connsiteY43" fmla="*/ 9459 h 10000"/>
                  <a:gd name="connsiteX44" fmla="*/ 10000 w 10000"/>
                  <a:gd name="connsiteY44" fmla="*/ 9088 h 10000"/>
                  <a:gd name="connsiteX45" fmla="*/ 9409 w 10000"/>
                  <a:gd name="connsiteY45" fmla="*/ 8920 h 10000"/>
                  <a:gd name="connsiteX46" fmla="*/ 9083 w 10000"/>
                  <a:gd name="connsiteY46" fmla="*/ 8379 h 10000"/>
                  <a:gd name="connsiteX47" fmla="*/ 8655 w 10000"/>
                  <a:gd name="connsiteY47" fmla="*/ 8176 h 10000"/>
                  <a:gd name="connsiteX48" fmla="*/ 8385 w 10000"/>
                  <a:gd name="connsiteY48" fmla="*/ 7905 h 10000"/>
                  <a:gd name="connsiteX49" fmla="*/ 7687 w 10000"/>
                  <a:gd name="connsiteY49" fmla="*/ 7703 h 10000"/>
                  <a:gd name="connsiteX50" fmla="*/ 7848 w 10000"/>
                  <a:gd name="connsiteY50" fmla="*/ 7635 h 10000"/>
                  <a:gd name="connsiteX51" fmla="*/ 7848 w 10000"/>
                  <a:gd name="connsiteY51" fmla="*/ 7465 h 10000"/>
                  <a:gd name="connsiteX52" fmla="*/ 8334 w 10000"/>
                  <a:gd name="connsiteY52" fmla="*/ 7465 h 10000"/>
                  <a:gd name="connsiteX53" fmla="*/ 8599 w 10000"/>
                  <a:gd name="connsiteY53" fmla="*/ 7331 h 10000"/>
                  <a:gd name="connsiteX54" fmla="*/ 8655 w 10000"/>
                  <a:gd name="connsiteY54" fmla="*/ 6352 h 10000"/>
                  <a:gd name="connsiteX55" fmla="*/ 8707 w 10000"/>
                  <a:gd name="connsiteY55" fmla="*/ 6385 h 10000"/>
                  <a:gd name="connsiteX56" fmla="*/ 8517 w 10000"/>
                  <a:gd name="connsiteY56" fmla="*/ 6447 h 10000"/>
                  <a:gd name="connsiteX57" fmla="*/ 8440 w 10000"/>
                  <a:gd name="connsiteY57" fmla="*/ 6579 h 10000"/>
                  <a:gd name="connsiteX58" fmla="*/ 7961 w 10000"/>
                  <a:gd name="connsiteY58" fmla="*/ 6319 h 10000"/>
                  <a:gd name="connsiteX59" fmla="*/ 7874 w 10000"/>
                  <a:gd name="connsiteY59" fmla="*/ 5616 h 10000"/>
                  <a:gd name="connsiteX60" fmla="*/ 7361 w 10000"/>
                  <a:gd name="connsiteY60" fmla="*/ 5921 h 10000"/>
                  <a:gd name="connsiteX61" fmla="*/ 7369 w 10000"/>
                  <a:gd name="connsiteY61" fmla="*/ 6283 h 10000"/>
                  <a:gd name="connsiteX62" fmla="*/ 6955 w 10000"/>
                  <a:gd name="connsiteY62" fmla="*/ 6501 h 10000"/>
                  <a:gd name="connsiteX63" fmla="*/ 6397 w 10000"/>
                  <a:gd name="connsiteY63" fmla="*/ 135 h 10000"/>
                  <a:gd name="connsiteX64" fmla="*/ 6452 w 10000"/>
                  <a:gd name="connsiteY64" fmla="*/ 0 h 10000"/>
                  <a:gd name="connsiteX65" fmla="*/ 6343 w 10000"/>
                  <a:gd name="connsiteY65" fmla="*/ 0 h 10000"/>
                  <a:gd name="connsiteX66" fmla="*/ 6290 w 10000"/>
                  <a:gd name="connsiteY66" fmla="*/ 135 h 10000"/>
                  <a:gd name="connsiteX67" fmla="*/ 5644 w 10000"/>
                  <a:gd name="connsiteY67" fmla="*/ 135 h 10000"/>
                  <a:gd name="connsiteX68" fmla="*/ 5002 w 10000"/>
                  <a:gd name="connsiteY68" fmla="*/ 135 h 10000"/>
                  <a:gd name="connsiteX69" fmla="*/ 4356 w 10000"/>
                  <a:gd name="connsiteY69" fmla="*/ 135 h 10000"/>
                  <a:gd name="connsiteX70" fmla="*/ 3709 w 10000"/>
                  <a:gd name="connsiteY70" fmla="*/ 135 h 10000"/>
                  <a:gd name="connsiteX71" fmla="*/ 3120 w 10000"/>
                  <a:gd name="connsiteY71" fmla="*/ 135 h 10000"/>
                  <a:gd name="connsiteX72" fmla="*/ 2475 w 10000"/>
                  <a:gd name="connsiteY72" fmla="*/ 135 h 10000"/>
                  <a:gd name="connsiteX73" fmla="*/ 1884 w 10000"/>
                  <a:gd name="connsiteY73" fmla="*/ 135 h 10000"/>
                  <a:gd name="connsiteX74" fmla="*/ 1237 w 10000"/>
                  <a:gd name="connsiteY74" fmla="*/ 135 h 10000"/>
                  <a:gd name="connsiteX75" fmla="*/ 1237 w 10000"/>
                  <a:gd name="connsiteY75" fmla="*/ 608 h 10000"/>
                  <a:gd name="connsiteX76" fmla="*/ 1237 w 10000"/>
                  <a:gd name="connsiteY76" fmla="*/ 1216 h 10000"/>
                  <a:gd name="connsiteX77" fmla="*/ 433 w 10000"/>
                  <a:gd name="connsiteY77" fmla="*/ 1216 h 10000"/>
                  <a:gd name="connsiteX78" fmla="*/ 433 w 10000"/>
                  <a:gd name="connsiteY78" fmla="*/ 1486 h 10000"/>
                  <a:gd name="connsiteX0" fmla="*/ 433 w 10000"/>
                  <a:gd name="connsiteY0" fmla="*/ 1486 h 10000"/>
                  <a:gd name="connsiteX1" fmla="*/ 6675 w 10000"/>
                  <a:gd name="connsiteY1" fmla="*/ 6759 h 10000"/>
                  <a:gd name="connsiteX2" fmla="*/ 6234 w 10000"/>
                  <a:gd name="connsiteY2" fmla="*/ 6968 h 10000"/>
                  <a:gd name="connsiteX3" fmla="*/ 5864 w 10000"/>
                  <a:gd name="connsiteY3" fmla="*/ 6750 h 10000"/>
                  <a:gd name="connsiteX4" fmla="*/ 5325 w 10000"/>
                  <a:gd name="connsiteY4" fmla="*/ 6618 h 10000"/>
                  <a:gd name="connsiteX5" fmla="*/ 5058 w 10000"/>
                  <a:gd name="connsiteY5" fmla="*/ 6915 h 10000"/>
                  <a:gd name="connsiteX6" fmla="*/ 4396 w 10000"/>
                  <a:gd name="connsiteY6" fmla="*/ 7143 h 10000"/>
                  <a:gd name="connsiteX7" fmla="*/ 3972 w 10000"/>
                  <a:gd name="connsiteY7" fmla="*/ 7141 h 10000"/>
                  <a:gd name="connsiteX8" fmla="*/ 3044 w 10000"/>
                  <a:gd name="connsiteY8" fmla="*/ 6948 h 10000"/>
                  <a:gd name="connsiteX9" fmla="*/ 2796 w 10000"/>
                  <a:gd name="connsiteY9" fmla="*/ 7052 h 10000"/>
                  <a:gd name="connsiteX10" fmla="*/ 2177 w 10000"/>
                  <a:gd name="connsiteY10" fmla="*/ 6819 h 10000"/>
                  <a:gd name="connsiteX11" fmla="*/ 1903 w 10000"/>
                  <a:gd name="connsiteY11" fmla="*/ 6467 h 10000"/>
                  <a:gd name="connsiteX12" fmla="*/ 1449 w 10000"/>
                  <a:gd name="connsiteY12" fmla="*/ 6563 h 10000"/>
                  <a:gd name="connsiteX13" fmla="*/ 1324 w 10000"/>
                  <a:gd name="connsiteY13" fmla="*/ 6771 h 10000"/>
                  <a:gd name="connsiteX14" fmla="*/ 845 w 10000"/>
                  <a:gd name="connsiteY14" fmla="*/ 6860 h 10000"/>
                  <a:gd name="connsiteX15" fmla="*/ 526 w 10000"/>
                  <a:gd name="connsiteY15" fmla="*/ 6852 h 10000"/>
                  <a:gd name="connsiteX16" fmla="*/ 354 w 10000"/>
                  <a:gd name="connsiteY16" fmla="*/ 7017 h 10000"/>
                  <a:gd name="connsiteX17" fmla="*/ 56 w 10000"/>
                  <a:gd name="connsiteY17" fmla="*/ 6757 h 10000"/>
                  <a:gd name="connsiteX18" fmla="*/ 0 w 10000"/>
                  <a:gd name="connsiteY18" fmla="*/ 7229 h 10000"/>
                  <a:gd name="connsiteX19" fmla="*/ 106 w 10000"/>
                  <a:gd name="connsiteY19" fmla="*/ 7297 h 10000"/>
                  <a:gd name="connsiteX20" fmla="*/ 538 w 10000"/>
                  <a:gd name="connsiteY20" fmla="*/ 7331 h 10000"/>
                  <a:gd name="connsiteX21" fmla="*/ 596 w 10000"/>
                  <a:gd name="connsiteY21" fmla="*/ 7465 h 10000"/>
                  <a:gd name="connsiteX22" fmla="*/ 1075 w 10000"/>
                  <a:gd name="connsiteY22" fmla="*/ 7500 h 10000"/>
                  <a:gd name="connsiteX23" fmla="*/ 1346 w 10000"/>
                  <a:gd name="connsiteY23" fmla="*/ 7635 h 10000"/>
                  <a:gd name="connsiteX24" fmla="*/ 1397 w 10000"/>
                  <a:gd name="connsiteY24" fmla="*/ 7872 h 10000"/>
                  <a:gd name="connsiteX25" fmla="*/ 2260 w 10000"/>
                  <a:gd name="connsiteY25" fmla="*/ 8277 h 10000"/>
                  <a:gd name="connsiteX26" fmla="*/ 2475 w 10000"/>
                  <a:gd name="connsiteY26" fmla="*/ 8683 h 10000"/>
                  <a:gd name="connsiteX27" fmla="*/ 3064 w 10000"/>
                  <a:gd name="connsiteY27" fmla="*/ 8886 h 10000"/>
                  <a:gd name="connsiteX28" fmla="*/ 3280 w 10000"/>
                  <a:gd name="connsiteY28" fmla="*/ 9154 h 10000"/>
                  <a:gd name="connsiteX29" fmla="*/ 3709 w 10000"/>
                  <a:gd name="connsiteY29" fmla="*/ 9494 h 10000"/>
                  <a:gd name="connsiteX30" fmla="*/ 4034 w 10000"/>
                  <a:gd name="connsiteY30" fmla="*/ 9594 h 10000"/>
                  <a:gd name="connsiteX31" fmla="*/ 4248 w 10000"/>
                  <a:gd name="connsiteY31" fmla="*/ 9494 h 10000"/>
                  <a:gd name="connsiteX32" fmla="*/ 4785 w 10000"/>
                  <a:gd name="connsiteY32" fmla="*/ 9527 h 10000"/>
                  <a:gd name="connsiteX33" fmla="*/ 5002 w 10000"/>
                  <a:gd name="connsiteY33" fmla="*/ 9459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9 h 10000"/>
                  <a:gd name="connsiteX37" fmla="*/ 6823 w 10000"/>
                  <a:gd name="connsiteY37" fmla="*/ 9899 h 10000"/>
                  <a:gd name="connsiteX38" fmla="*/ 6936 w 10000"/>
                  <a:gd name="connsiteY38" fmla="*/ 10000 h 10000"/>
                  <a:gd name="connsiteX39" fmla="*/ 7526 w 10000"/>
                  <a:gd name="connsiteY39" fmla="*/ 9864 h 10000"/>
                  <a:gd name="connsiteX40" fmla="*/ 8062 w 10000"/>
                  <a:gd name="connsiteY40" fmla="*/ 9864 h 10000"/>
                  <a:gd name="connsiteX41" fmla="*/ 8438 w 10000"/>
                  <a:gd name="connsiteY41" fmla="*/ 9730 h 10000"/>
                  <a:gd name="connsiteX42" fmla="*/ 8871 w 10000"/>
                  <a:gd name="connsiteY42" fmla="*/ 9459 h 10000"/>
                  <a:gd name="connsiteX43" fmla="*/ 10000 w 10000"/>
                  <a:gd name="connsiteY43" fmla="*/ 9459 h 10000"/>
                  <a:gd name="connsiteX44" fmla="*/ 10000 w 10000"/>
                  <a:gd name="connsiteY44" fmla="*/ 9088 h 10000"/>
                  <a:gd name="connsiteX45" fmla="*/ 9409 w 10000"/>
                  <a:gd name="connsiteY45" fmla="*/ 8920 h 10000"/>
                  <a:gd name="connsiteX46" fmla="*/ 9083 w 10000"/>
                  <a:gd name="connsiteY46" fmla="*/ 8379 h 10000"/>
                  <a:gd name="connsiteX47" fmla="*/ 8655 w 10000"/>
                  <a:gd name="connsiteY47" fmla="*/ 8176 h 10000"/>
                  <a:gd name="connsiteX48" fmla="*/ 8385 w 10000"/>
                  <a:gd name="connsiteY48" fmla="*/ 7905 h 10000"/>
                  <a:gd name="connsiteX49" fmla="*/ 7687 w 10000"/>
                  <a:gd name="connsiteY49" fmla="*/ 7703 h 10000"/>
                  <a:gd name="connsiteX50" fmla="*/ 7848 w 10000"/>
                  <a:gd name="connsiteY50" fmla="*/ 7635 h 10000"/>
                  <a:gd name="connsiteX51" fmla="*/ 7848 w 10000"/>
                  <a:gd name="connsiteY51" fmla="*/ 7465 h 10000"/>
                  <a:gd name="connsiteX52" fmla="*/ 8334 w 10000"/>
                  <a:gd name="connsiteY52" fmla="*/ 7465 h 10000"/>
                  <a:gd name="connsiteX53" fmla="*/ 8599 w 10000"/>
                  <a:gd name="connsiteY53" fmla="*/ 7331 h 10000"/>
                  <a:gd name="connsiteX54" fmla="*/ 8655 w 10000"/>
                  <a:gd name="connsiteY54" fmla="*/ 6352 h 10000"/>
                  <a:gd name="connsiteX55" fmla="*/ 8707 w 10000"/>
                  <a:gd name="connsiteY55" fmla="*/ 6385 h 10000"/>
                  <a:gd name="connsiteX56" fmla="*/ 8517 w 10000"/>
                  <a:gd name="connsiteY56" fmla="*/ 6447 h 10000"/>
                  <a:gd name="connsiteX57" fmla="*/ 8440 w 10000"/>
                  <a:gd name="connsiteY57" fmla="*/ 6579 h 10000"/>
                  <a:gd name="connsiteX58" fmla="*/ 7961 w 10000"/>
                  <a:gd name="connsiteY58" fmla="*/ 6319 h 10000"/>
                  <a:gd name="connsiteX59" fmla="*/ 7874 w 10000"/>
                  <a:gd name="connsiteY59" fmla="*/ 5616 h 10000"/>
                  <a:gd name="connsiteX60" fmla="*/ 7361 w 10000"/>
                  <a:gd name="connsiteY60" fmla="*/ 5921 h 10000"/>
                  <a:gd name="connsiteX61" fmla="*/ 7369 w 10000"/>
                  <a:gd name="connsiteY61" fmla="*/ 6283 h 10000"/>
                  <a:gd name="connsiteX62" fmla="*/ 6955 w 10000"/>
                  <a:gd name="connsiteY62" fmla="*/ 6501 h 10000"/>
                  <a:gd name="connsiteX63" fmla="*/ 6452 w 10000"/>
                  <a:gd name="connsiteY63" fmla="*/ 0 h 10000"/>
                  <a:gd name="connsiteX64" fmla="*/ 6343 w 10000"/>
                  <a:gd name="connsiteY64" fmla="*/ 0 h 10000"/>
                  <a:gd name="connsiteX65" fmla="*/ 6290 w 10000"/>
                  <a:gd name="connsiteY65" fmla="*/ 135 h 10000"/>
                  <a:gd name="connsiteX66" fmla="*/ 5644 w 10000"/>
                  <a:gd name="connsiteY66" fmla="*/ 135 h 10000"/>
                  <a:gd name="connsiteX67" fmla="*/ 5002 w 10000"/>
                  <a:gd name="connsiteY67" fmla="*/ 135 h 10000"/>
                  <a:gd name="connsiteX68" fmla="*/ 4356 w 10000"/>
                  <a:gd name="connsiteY68" fmla="*/ 135 h 10000"/>
                  <a:gd name="connsiteX69" fmla="*/ 3709 w 10000"/>
                  <a:gd name="connsiteY69" fmla="*/ 135 h 10000"/>
                  <a:gd name="connsiteX70" fmla="*/ 3120 w 10000"/>
                  <a:gd name="connsiteY70" fmla="*/ 135 h 10000"/>
                  <a:gd name="connsiteX71" fmla="*/ 2475 w 10000"/>
                  <a:gd name="connsiteY71" fmla="*/ 135 h 10000"/>
                  <a:gd name="connsiteX72" fmla="*/ 1884 w 10000"/>
                  <a:gd name="connsiteY72" fmla="*/ 135 h 10000"/>
                  <a:gd name="connsiteX73" fmla="*/ 1237 w 10000"/>
                  <a:gd name="connsiteY73" fmla="*/ 135 h 10000"/>
                  <a:gd name="connsiteX74" fmla="*/ 1237 w 10000"/>
                  <a:gd name="connsiteY74" fmla="*/ 608 h 10000"/>
                  <a:gd name="connsiteX75" fmla="*/ 1237 w 10000"/>
                  <a:gd name="connsiteY75" fmla="*/ 1216 h 10000"/>
                  <a:gd name="connsiteX76" fmla="*/ 433 w 10000"/>
                  <a:gd name="connsiteY76" fmla="*/ 1216 h 10000"/>
                  <a:gd name="connsiteX77" fmla="*/ 433 w 10000"/>
                  <a:gd name="connsiteY77" fmla="*/ 1486 h 10000"/>
                  <a:gd name="connsiteX0" fmla="*/ 433 w 10000"/>
                  <a:gd name="connsiteY0" fmla="*/ 1486 h 10000"/>
                  <a:gd name="connsiteX1" fmla="*/ 6675 w 10000"/>
                  <a:gd name="connsiteY1" fmla="*/ 6759 h 10000"/>
                  <a:gd name="connsiteX2" fmla="*/ 6234 w 10000"/>
                  <a:gd name="connsiteY2" fmla="*/ 6968 h 10000"/>
                  <a:gd name="connsiteX3" fmla="*/ 5864 w 10000"/>
                  <a:gd name="connsiteY3" fmla="*/ 6750 h 10000"/>
                  <a:gd name="connsiteX4" fmla="*/ 5325 w 10000"/>
                  <a:gd name="connsiteY4" fmla="*/ 6618 h 10000"/>
                  <a:gd name="connsiteX5" fmla="*/ 5058 w 10000"/>
                  <a:gd name="connsiteY5" fmla="*/ 6915 h 10000"/>
                  <a:gd name="connsiteX6" fmla="*/ 4396 w 10000"/>
                  <a:gd name="connsiteY6" fmla="*/ 7143 h 10000"/>
                  <a:gd name="connsiteX7" fmla="*/ 3972 w 10000"/>
                  <a:gd name="connsiteY7" fmla="*/ 7141 h 10000"/>
                  <a:gd name="connsiteX8" fmla="*/ 3044 w 10000"/>
                  <a:gd name="connsiteY8" fmla="*/ 6948 h 10000"/>
                  <a:gd name="connsiteX9" fmla="*/ 2796 w 10000"/>
                  <a:gd name="connsiteY9" fmla="*/ 7052 h 10000"/>
                  <a:gd name="connsiteX10" fmla="*/ 2177 w 10000"/>
                  <a:gd name="connsiteY10" fmla="*/ 6819 h 10000"/>
                  <a:gd name="connsiteX11" fmla="*/ 1903 w 10000"/>
                  <a:gd name="connsiteY11" fmla="*/ 6467 h 10000"/>
                  <a:gd name="connsiteX12" fmla="*/ 1449 w 10000"/>
                  <a:gd name="connsiteY12" fmla="*/ 6563 h 10000"/>
                  <a:gd name="connsiteX13" fmla="*/ 1324 w 10000"/>
                  <a:gd name="connsiteY13" fmla="*/ 6771 h 10000"/>
                  <a:gd name="connsiteX14" fmla="*/ 845 w 10000"/>
                  <a:gd name="connsiteY14" fmla="*/ 6860 h 10000"/>
                  <a:gd name="connsiteX15" fmla="*/ 526 w 10000"/>
                  <a:gd name="connsiteY15" fmla="*/ 6852 h 10000"/>
                  <a:gd name="connsiteX16" fmla="*/ 354 w 10000"/>
                  <a:gd name="connsiteY16" fmla="*/ 7017 h 10000"/>
                  <a:gd name="connsiteX17" fmla="*/ 56 w 10000"/>
                  <a:gd name="connsiteY17" fmla="*/ 6757 h 10000"/>
                  <a:gd name="connsiteX18" fmla="*/ 0 w 10000"/>
                  <a:gd name="connsiteY18" fmla="*/ 7229 h 10000"/>
                  <a:gd name="connsiteX19" fmla="*/ 106 w 10000"/>
                  <a:gd name="connsiteY19" fmla="*/ 7297 h 10000"/>
                  <a:gd name="connsiteX20" fmla="*/ 538 w 10000"/>
                  <a:gd name="connsiteY20" fmla="*/ 7331 h 10000"/>
                  <a:gd name="connsiteX21" fmla="*/ 596 w 10000"/>
                  <a:gd name="connsiteY21" fmla="*/ 7465 h 10000"/>
                  <a:gd name="connsiteX22" fmla="*/ 1075 w 10000"/>
                  <a:gd name="connsiteY22" fmla="*/ 7500 h 10000"/>
                  <a:gd name="connsiteX23" fmla="*/ 1346 w 10000"/>
                  <a:gd name="connsiteY23" fmla="*/ 7635 h 10000"/>
                  <a:gd name="connsiteX24" fmla="*/ 1397 w 10000"/>
                  <a:gd name="connsiteY24" fmla="*/ 7872 h 10000"/>
                  <a:gd name="connsiteX25" fmla="*/ 2260 w 10000"/>
                  <a:gd name="connsiteY25" fmla="*/ 8277 h 10000"/>
                  <a:gd name="connsiteX26" fmla="*/ 2475 w 10000"/>
                  <a:gd name="connsiteY26" fmla="*/ 8683 h 10000"/>
                  <a:gd name="connsiteX27" fmla="*/ 3064 w 10000"/>
                  <a:gd name="connsiteY27" fmla="*/ 8886 h 10000"/>
                  <a:gd name="connsiteX28" fmla="*/ 3280 w 10000"/>
                  <a:gd name="connsiteY28" fmla="*/ 9154 h 10000"/>
                  <a:gd name="connsiteX29" fmla="*/ 3709 w 10000"/>
                  <a:gd name="connsiteY29" fmla="*/ 9494 h 10000"/>
                  <a:gd name="connsiteX30" fmla="*/ 4034 w 10000"/>
                  <a:gd name="connsiteY30" fmla="*/ 9594 h 10000"/>
                  <a:gd name="connsiteX31" fmla="*/ 4248 w 10000"/>
                  <a:gd name="connsiteY31" fmla="*/ 9494 h 10000"/>
                  <a:gd name="connsiteX32" fmla="*/ 4785 w 10000"/>
                  <a:gd name="connsiteY32" fmla="*/ 9527 h 10000"/>
                  <a:gd name="connsiteX33" fmla="*/ 5002 w 10000"/>
                  <a:gd name="connsiteY33" fmla="*/ 9459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9 h 10000"/>
                  <a:gd name="connsiteX37" fmla="*/ 6823 w 10000"/>
                  <a:gd name="connsiteY37" fmla="*/ 9899 h 10000"/>
                  <a:gd name="connsiteX38" fmla="*/ 6936 w 10000"/>
                  <a:gd name="connsiteY38" fmla="*/ 10000 h 10000"/>
                  <a:gd name="connsiteX39" fmla="*/ 7526 w 10000"/>
                  <a:gd name="connsiteY39" fmla="*/ 9864 h 10000"/>
                  <a:gd name="connsiteX40" fmla="*/ 8062 w 10000"/>
                  <a:gd name="connsiteY40" fmla="*/ 9864 h 10000"/>
                  <a:gd name="connsiteX41" fmla="*/ 8438 w 10000"/>
                  <a:gd name="connsiteY41" fmla="*/ 9730 h 10000"/>
                  <a:gd name="connsiteX42" fmla="*/ 8871 w 10000"/>
                  <a:gd name="connsiteY42" fmla="*/ 9459 h 10000"/>
                  <a:gd name="connsiteX43" fmla="*/ 10000 w 10000"/>
                  <a:gd name="connsiteY43" fmla="*/ 9459 h 10000"/>
                  <a:gd name="connsiteX44" fmla="*/ 10000 w 10000"/>
                  <a:gd name="connsiteY44" fmla="*/ 9088 h 10000"/>
                  <a:gd name="connsiteX45" fmla="*/ 9409 w 10000"/>
                  <a:gd name="connsiteY45" fmla="*/ 8920 h 10000"/>
                  <a:gd name="connsiteX46" fmla="*/ 9083 w 10000"/>
                  <a:gd name="connsiteY46" fmla="*/ 8379 h 10000"/>
                  <a:gd name="connsiteX47" fmla="*/ 8655 w 10000"/>
                  <a:gd name="connsiteY47" fmla="*/ 8176 h 10000"/>
                  <a:gd name="connsiteX48" fmla="*/ 8385 w 10000"/>
                  <a:gd name="connsiteY48" fmla="*/ 7905 h 10000"/>
                  <a:gd name="connsiteX49" fmla="*/ 7687 w 10000"/>
                  <a:gd name="connsiteY49" fmla="*/ 7703 h 10000"/>
                  <a:gd name="connsiteX50" fmla="*/ 7848 w 10000"/>
                  <a:gd name="connsiteY50" fmla="*/ 7635 h 10000"/>
                  <a:gd name="connsiteX51" fmla="*/ 7848 w 10000"/>
                  <a:gd name="connsiteY51" fmla="*/ 7465 h 10000"/>
                  <a:gd name="connsiteX52" fmla="*/ 8334 w 10000"/>
                  <a:gd name="connsiteY52" fmla="*/ 7465 h 10000"/>
                  <a:gd name="connsiteX53" fmla="*/ 8599 w 10000"/>
                  <a:gd name="connsiteY53" fmla="*/ 7331 h 10000"/>
                  <a:gd name="connsiteX54" fmla="*/ 8655 w 10000"/>
                  <a:gd name="connsiteY54" fmla="*/ 6352 h 10000"/>
                  <a:gd name="connsiteX55" fmla="*/ 8707 w 10000"/>
                  <a:gd name="connsiteY55" fmla="*/ 6385 h 10000"/>
                  <a:gd name="connsiteX56" fmla="*/ 8517 w 10000"/>
                  <a:gd name="connsiteY56" fmla="*/ 6447 h 10000"/>
                  <a:gd name="connsiteX57" fmla="*/ 8440 w 10000"/>
                  <a:gd name="connsiteY57" fmla="*/ 6579 h 10000"/>
                  <a:gd name="connsiteX58" fmla="*/ 7961 w 10000"/>
                  <a:gd name="connsiteY58" fmla="*/ 6319 h 10000"/>
                  <a:gd name="connsiteX59" fmla="*/ 7874 w 10000"/>
                  <a:gd name="connsiteY59" fmla="*/ 5616 h 10000"/>
                  <a:gd name="connsiteX60" fmla="*/ 7361 w 10000"/>
                  <a:gd name="connsiteY60" fmla="*/ 5921 h 10000"/>
                  <a:gd name="connsiteX61" fmla="*/ 7369 w 10000"/>
                  <a:gd name="connsiteY61" fmla="*/ 6283 h 10000"/>
                  <a:gd name="connsiteX62" fmla="*/ 6955 w 10000"/>
                  <a:gd name="connsiteY62" fmla="*/ 6501 h 10000"/>
                  <a:gd name="connsiteX63" fmla="*/ 6452 w 10000"/>
                  <a:gd name="connsiteY63" fmla="*/ 0 h 10000"/>
                  <a:gd name="connsiteX64" fmla="*/ 6343 w 10000"/>
                  <a:gd name="connsiteY64" fmla="*/ 0 h 10000"/>
                  <a:gd name="connsiteX65" fmla="*/ 5644 w 10000"/>
                  <a:gd name="connsiteY65" fmla="*/ 135 h 10000"/>
                  <a:gd name="connsiteX66" fmla="*/ 5002 w 10000"/>
                  <a:gd name="connsiteY66" fmla="*/ 135 h 10000"/>
                  <a:gd name="connsiteX67" fmla="*/ 4356 w 10000"/>
                  <a:gd name="connsiteY67" fmla="*/ 135 h 10000"/>
                  <a:gd name="connsiteX68" fmla="*/ 3709 w 10000"/>
                  <a:gd name="connsiteY68" fmla="*/ 135 h 10000"/>
                  <a:gd name="connsiteX69" fmla="*/ 3120 w 10000"/>
                  <a:gd name="connsiteY69" fmla="*/ 135 h 10000"/>
                  <a:gd name="connsiteX70" fmla="*/ 2475 w 10000"/>
                  <a:gd name="connsiteY70" fmla="*/ 135 h 10000"/>
                  <a:gd name="connsiteX71" fmla="*/ 1884 w 10000"/>
                  <a:gd name="connsiteY71" fmla="*/ 135 h 10000"/>
                  <a:gd name="connsiteX72" fmla="*/ 1237 w 10000"/>
                  <a:gd name="connsiteY72" fmla="*/ 135 h 10000"/>
                  <a:gd name="connsiteX73" fmla="*/ 1237 w 10000"/>
                  <a:gd name="connsiteY73" fmla="*/ 608 h 10000"/>
                  <a:gd name="connsiteX74" fmla="*/ 1237 w 10000"/>
                  <a:gd name="connsiteY74" fmla="*/ 1216 h 10000"/>
                  <a:gd name="connsiteX75" fmla="*/ 433 w 10000"/>
                  <a:gd name="connsiteY75" fmla="*/ 1216 h 10000"/>
                  <a:gd name="connsiteX76" fmla="*/ 433 w 10000"/>
                  <a:gd name="connsiteY76" fmla="*/ 1486 h 10000"/>
                  <a:gd name="connsiteX0" fmla="*/ 433 w 10000"/>
                  <a:gd name="connsiteY0" fmla="*/ 1486 h 10000"/>
                  <a:gd name="connsiteX1" fmla="*/ 6675 w 10000"/>
                  <a:gd name="connsiteY1" fmla="*/ 6759 h 10000"/>
                  <a:gd name="connsiteX2" fmla="*/ 6234 w 10000"/>
                  <a:gd name="connsiteY2" fmla="*/ 6968 h 10000"/>
                  <a:gd name="connsiteX3" fmla="*/ 5864 w 10000"/>
                  <a:gd name="connsiteY3" fmla="*/ 6750 h 10000"/>
                  <a:gd name="connsiteX4" fmla="*/ 5325 w 10000"/>
                  <a:gd name="connsiteY4" fmla="*/ 6618 h 10000"/>
                  <a:gd name="connsiteX5" fmla="*/ 5058 w 10000"/>
                  <a:gd name="connsiteY5" fmla="*/ 6915 h 10000"/>
                  <a:gd name="connsiteX6" fmla="*/ 4396 w 10000"/>
                  <a:gd name="connsiteY6" fmla="*/ 7143 h 10000"/>
                  <a:gd name="connsiteX7" fmla="*/ 3972 w 10000"/>
                  <a:gd name="connsiteY7" fmla="*/ 7141 h 10000"/>
                  <a:gd name="connsiteX8" fmla="*/ 3044 w 10000"/>
                  <a:gd name="connsiteY8" fmla="*/ 6948 h 10000"/>
                  <a:gd name="connsiteX9" fmla="*/ 2796 w 10000"/>
                  <a:gd name="connsiteY9" fmla="*/ 7052 h 10000"/>
                  <a:gd name="connsiteX10" fmla="*/ 2177 w 10000"/>
                  <a:gd name="connsiteY10" fmla="*/ 6819 h 10000"/>
                  <a:gd name="connsiteX11" fmla="*/ 1903 w 10000"/>
                  <a:gd name="connsiteY11" fmla="*/ 6467 h 10000"/>
                  <a:gd name="connsiteX12" fmla="*/ 1449 w 10000"/>
                  <a:gd name="connsiteY12" fmla="*/ 6563 h 10000"/>
                  <a:gd name="connsiteX13" fmla="*/ 1324 w 10000"/>
                  <a:gd name="connsiteY13" fmla="*/ 6771 h 10000"/>
                  <a:gd name="connsiteX14" fmla="*/ 845 w 10000"/>
                  <a:gd name="connsiteY14" fmla="*/ 6860 h 10000"/>
                  <a:gd name="connsiteX15" fmla="*/ 526 w 10000"/>
                  <a:gd name="connsiteY15" fmla="*/ 6852 h 10000"/>
                  <a:gd name="connsiteX16" fmla="*/ 354 w 10000"/>
                  <a:gd name="connsiteY16" fmla="*/ 7017 h 10000"/>
                  <a:gd name="connsiteX17" fmla="*/ 56 w 10000"/>
                  <a:gd name="connsiteY17" fmla="*/ 6757 h 10000"/>
                  <a:gd name="connsiteX18" fmla="*/ 0 w 10000"/>
                  <a:gd name="connsiteY18" fmla="*/ 7229 h 10000"/>
                  <a:gd name="connsiteX19" fmla="*/ 106 w 10000"/>
                  <a:gd name="connsiteY19" fmla="*/ 7297 h 10000"/>
                  <a:gd name="connsiteX20" fmla="*/ 538 w 10000"/>
                  <a:gd name="connsiteY20" fmla="*/ 7331 h 10000"/>
                  <a:gd name="connsiteX21" fmla="*/ 596 w 10000"/>
                  <a:gd name="connsiteY21" fmla="*/ 7465 h 10000"/>
                  <a:gd name="connsiteX22" fmla="*/ 1075 w 10000"/>
                  <a:gd name="connsiteY22" fmla="*/ 7500 h 10000"/>
                  <a:gd name="connsiteX23" fmla="*/ 1346 w 10000"/>
                  <a:gd name="connsiteY23" fmla="*/ 7635 h 10000"/>
                  <a:gd name="connsiteX24" fmla="*/ 1397 w 10000"/>
                  <a:gd name="connsiteY24" fmla="*/ 7872 h 10000"/>
                  <a:gd name="connsiteX25" fmla="*/ 2260 w 10000"/>
                  <a:gd name="connsiteY25" fmla="*/ 8277 h 10000"/>
                  <a:gd name="connsiteX26" fmla="*/ 2475 w 10000"/>
                  <a:gd name="connsiteY26" fmla="*/ 8683 h 10000"/>
                  <a:gd name="connsiteX27" fmla="*/ 3064 w 10000"/>
                  <a:gd name="connsiteY27" fmla="*/ 8886 h 10000"/>
                  <a:gd name="connsiteX28" fmla="*/ 3280 w 10000"/>
                  <a:gd name="connsiteY28" fmla="*/ 9154 h 10000"/>
                  <a:gd name="connsiteX29" fmla="*/ 3709 w 10000"/>
                  <a:gd name="connsiteY29" fmla="*/ 9494 h 10000"/>
                  <a:gd name="connsiteX30" fmla="*/ 4034 w 10000"/>
                  <a:gd name="connsiteY30" fmla="*/ 9594 h 10000"/>
                  <a:gd name="connsiteX31" fmla="*/ 4248 w 10000"/>
                  <a:gd name="connsiteY31" fmla="*/ 9494 h 10000"/>
                  <a:gd name="connsiteX32" fmla="*/ 4785 w 10000"/>
                  <a:gd name="connsiteY32" fmla="*/ 9527 h 10000"/>
                  <a:gd name="connsiteX33" fmla="*/ 5002 w 10000"/>
                  <a:gd name="connsiteY33" fmla="*/ 9459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9 h 10000"/>
                  <a:gd name="connsiteX37" fmla="*/ 6823 w 10000"/>
                  <a:gd name="connsiteY37" fmla="*/ 9899 h 10000"/>
                  <a:gd name="connsiteX38" fmla="*/ 6936 w 10000"/>
                  <a:gd name="connsiteY38" fmla="*/ 10000 h 10000"/>
                  <a:gd name="connsiteX39" fmla="*/ 7526 w 10000"/>
                  <a:gd name="connsiteY39" fmla="*/ 9864 h 10000"/>
                  <a:gd name="connsiteX40" fmla="*/ 8062 w 10000"/>
                  <a:gd name="connsiteY40" fmla="*/ 9864 h 10000"/>
                  <a:gd name="connsiteX41" fmla="*/ 8438 w 10000"/>
                  <a:gd name="connsiteY41" fmla="*/ 9730 h 10000"/>
                  <a:gd name="connsiteX42" fmla="*/ 8871 w 10000"/>
                  <a:gd name="connsiteY42" fmla="*/ 9459 h 10000"/>
                  <a:gd name="connsiteX43" fmla="*/ 10000 w 10000"/>
                  <a:gd name="connsiteY43" fmla="*/ 9459 h 10000"/>
                  <a:gd name="connsiteX44" fmla="*/ 10000 w 10000"/>
                  <a:gd name="connsiteY44" fmla="*/ 9088 h 10000"/>
                  <a:gd name="connsiteX45" fmla="*/ 9409 w 10000"/>
                  <a:gd name="connsiteY45" fmla="*/ 8920 h 10000"/>
                  <a:gd name="connsiteX46" fmla="*/ 9083 w 10000"/>
                  <a:gd name="connsiteY46" fmla="*/ 8379 h 10000"/>
                  <a:gd name="connsiteX47" fmla="*/ 8655 w 10000"/>
                  <a:gd name="connsiteY47" fmla="*/ 8176 h 10000"/>
                  <a:gd name="connsiteX48" fmla="*/ 8385 w 10000"/>
                  <a:gd name="connsiteY48" fmla="*/ 7905 h 10000"/>
                  <a:gd name="connsiteX49" fmla="*/ 7687 w 10000"/>
                  <a:gd name="connsiteY49" fmla="*/ 7703 h 10000"/>
                  <a:gd name="connsiteX50" fmla="*/ 7848 w 10000"/>
                  <a:gd name="connsiteY50" fmla="*/ 7635 h 10000"/>
                  <a:gd name="connsiteX51" fmla="*/ 7848 w 10000"/>
                  <a:gd name="connsiteY51" fmla="*/ 7465 h 10000"/>
                  <a:gd name="connsiteX52" fmla="*/ 8334 w 10000"/>
                  <a:gd name="connsiteY52" fmla="*/ 7465 h 10000"/>
                  <a:gd name="connsiteX53" fmla="*/ 8599 w 10000"/>
                  <a:gd name="connsiteY53" fmla="*/ 7331 h 10000"/>
                  <a:gd name="connsiteX54" fmla="*/ 8655 w 10000"/>
                  <a:gd name="connsiteY54" fmla="*/ 6352 h 10000"/>
                  <a:gd name="connsiteX55" fmla="*/ 8707 w 10000"/>
                  <a:gd name="connsiteY55" fmla="*/ 6385 h 10000"/>
                  <a:gd name="connsiteX56" fmla="*/ 8517 w 10000"/>
                  <a:gd name="connsiteY56" fmla="*/ 6447 h 10000"/>
                  <a:gd name="connsiteX57" fmla="*/ 8440 w 10000"/>
                  <a:gd name="connsiteY57" fmla="*/ 6579 h 10000"/>
                  <a:gd name="connsiteX58" fmla="*/ 7961 w 10000"/>
                  <a:gd name="connsiteY58" fmla="*/ 6319 h 10000"/>
                  <a:gd name="connsiteX59" fmla="*/ 7874 w 10000"/>
                  <a:gd name="connsiteY59" fmla="*/ 5616 h 10000"/>
                  <a:gd name="connsiteX60" fmla="*/ 7361 w 10000"/>
                  <a:gd name="connsiteY60" fmla="*/ 5921 h 10000"/>
                  <a:gd name="connsiteX61" fmla="*/ 7369 w 10000"/>
                  <a:gd name="connsiteY61" fmla="*/ 6283 h 10000"/>
                  <a:gd name="connsiteX62" fmla="*/ 6955 w 10000"/>
                  <a:gd name="connsiteY62" fmla="*/ 6501 h 10000"/>
                  <a:gd name="connsiteX63" fmla="*/ 6452 w 10000"/>
                  <a:gd name="connsiteY63" fmla="*/ 0 h 10000"/>
                  <a:gd name="connsiteX64" fmla="*/ 5644 w 10000"/>
                  <a:gd name="connsiteY64" fmla="*/ 135 h 10000"/>
                  <a:gd name="connsiteX65" fmla="*/ 5002 w 10000"/>
                  <a:gd name="connsiteY65" fmla="*/ 135 h 10000"/>
                  <a:gd name="connsiteX66" fmla="*/ 4356 w 10000"/>
                  <a:gd name="connsiteY66" fmla="*/ 135 h 10000"/>
                  <a:gd name="connsiteX67" fmla="*/ 3709 w 10000"/>
                  <a:gd name="connsiteY67" fmla="*/ 135 h 10000"/>
                  <a:gd name="connsiteX68" fmla="*/ 3120 w 10000"/>
                  <a:gd name="connsiteY68" fmla="*/ 135 h 10000"/>
                  <a:gd name="connsiteX69" fmla="*/ 2475 w 10000"/>
                  <a:gd name="connsiteY69" fmla="*/ 135 h 10000"/>
                  <a:gd name="connsiteX70" fmla="*/ 1884 w 10000"/>
                  <a:gd name="connsiteY70" fmla="*/ 135 h 10000"/>
                  <a:gd name="connsiteX71" fmla="*/ 1237 w 10000"/>
                  <a:gd name="connsiteY71" fmla="*/ 135 h 10000"/>
                  <a:gd name="connsiteX72" fmla="*/ 1237 w 10000"/>
                  <a:gd name="connsiteY72" fmla="*/ 608 h 10000"/>
                  <a:gd name="connsiteX73" fmla="*/ 1237 w 10000"/>
                  <a:gd name="connsiteY73" fmla="*/ 1216 h 10000"/>
                  <a:gd name="connsiteX74" fmla="*/ 433 w 10000"/>
                  <a:gd name="connsiteY74" fmla="*/ 1216 h 10000"/>
                  <a:gd name="connsiteX75" fmla="*/ 433 w 10000"/>
                  <a:gd name="connsiteY75" fmla="*/ 1486 h 10000"/>
                  <a:gd name="connsiteX0" fmla="*/ 433 w 10000"/>
                  <a:gd name="connsiteY0" fmla="*/ 2412 h 10926"/>
                  <a:gd name="connsiteX1" fmla="*/ 6675 w 10000"/>
                  <a:gd name="connsiteY1" fmla="*/ 7685 h 10926"/>
                  <a:gd name="connsiteX2" fmla="*/ 6234 w 10000"/>
                  <a:gd name="connsiteY2" fmla="*/ 7894 h 10926"/>
                  <a:gd name="connsiteX3" fmla="*/ 5864 w 10000"/>
                  <a:gd name="connsiteY3" fmla="*/ 7676 h 10926"/>
                  <a:gd name="connsiteX4" fmla="*/ 5325 w 10000"/>
                  <a:gd name="connsiteY4" fmla="*/ 7544 h 10926"/>
                  <a:gd name="connsiteX5" fmla="*/ 5058 w 10000"/>
                  <a:gd name="connsiteY5" fmla="*/ 7841 h 10926"/>
                  <a:gd name="connsiteX6" fmla="*/ 4396 w 10000"/>
                  <a:gd name="connsiteY6" fmla="*/ 8069 h 10926"/>
                  <a:gd name="connsiteX7" fmla="*/ 3972 w 10000"/>
                  <a:gd name="connsiteY7" fmla="*/ 8067 h 10926"/>
                  <a:gd name="connsiteX8" fmla="*/ 3044 w 10000"/>
                  <a:gd name="connsiteY8" fmla="*/ 7874 h 10926"/>
                  <a:gd name="connsiteX9" fmla="*/ 2796 w 10000"/>
                  <a:gd name="connsiteY9" fmla="*/ 7978 h 10926"/>
                  <a:gd name="connsiteX10" fmla="*/ 2177 w 10000"/>
                  <a:gd name="connsiteY10" fmla="*/ 7745 h 10926"/>
                  <a:gd name="connsiteX11" fmla="*/ 1903 w 10000"/>
                  <a:gd name="connsiteY11" fmla="*/ 7393 h 10926"/>
                  <a:gd name="connsiteX12" fmla="*/ 1449 w 10000"/>
                  <a:gd name="connsiteY12" fmla="*/ 7489 h 10926"/>
                  <a:gd name="connsiteX13" fmla="*/ 1324 w 10000"/>
                  <a:gd name="connsiteY13" fmla="*/ 7697 h 10926"/>
                  <a:gd name="connsiteX14" fmla="*/ 845 w 10000"/>
                  <a:gd name="connsiteY14" fmla="*/ 7786 h 10926"/>
                  <a:gd name="connsiteX15" fmla="*/ 526 w 10000"/>
                  <a:gd name="connsiteY15" fmla="*/ 7778 h 10926"/>
                  <a:gd name="connsiteX16" fmla="*/ 354 w 10000"/>
                  <a:gd name="connsiteY16" fmla="*/ 7943 h 10926"/>
                  <a:gd name="connsiteX17" fmla="*/ 56 w 10000"/>
                  <a:gd name="connsiteY17" fmla="*/ 7683 h 10926"/>
                  <a:gd name="connsiteX18" fmla="*/ 0 w 10000"/>
                  <a:gd name="connsiteY18" fmla="*/ 8155 h 10926"/>
                  <a:gd name="connsiteX19" fmla="*/ 106 w 10000"/>
                  <a:gd name="connsiteY19" fmla="*/ 8223 h 10926"/>
                  <a:gd name="connsiteX20" fmla="*/ 538 w 10000"/>
                  <a:gd name="connsiteY20" fmla="*/ 8257 h 10926"/>
                  <a:gd name="connsiteX21" fmla="*/ 596 w 10000"/>
                  <a:gd name="connsiteY21" fmla="*/ 8391 h 10926"/>
                  <a:gd name="connsiteX22" fmla="*/ 1075 w 10000"/>
                  <a:gd name="connsiteY22" fmla="*/ 8426 h 10926"/>
                  <a:gd name="connsiteX23" fmla="*/ 1346 w 10000"/>
                  <a:gd name="connsiteY23" fmla="*/ 8561 h 10926"/>
                  <a:gd name="connsiteX24" fmla="*/ 1397 w 10000"/>
                  <a:gd name="connsiteY24" fmla="*/ 8798 h 10926"/>
                  <a:gd name="connsiteX25" fmla="*/ 2260 w 10000"/>
                  <a:gd name="connsiteY25" fmla="*/ 9203 h 10926"/>
                  <a:gd name="connsiteX26" fmla="*/ 2475 w 10000"/>
                  <a:gd name="connsiteY26" fmla="*/ 9609 h 10926"/>
                  <a:gd name="connsiteX27" fmla="*/ 3064 w 10000"/>
                  <a:gd name="connsiteY27" fmla="*/ 9812 h 10926"/>
                  <a:gd name="connsiteX28" fmla="*/ 3280 w 10000"/>
                  <a:gd name="connsiteY28" fmla="*/ 10080 h 10926"/>
                  <a:gd name="connsiteX29" fmla="*/ 3709 w 10000"/>
                  <a:gd name="connsiteY29" fmla="*/ 10420 h 10926"/>
                  <a:gd name="connsiteX30" fmla="*/ 4034 w 10000"/>
                  <a:gd name="connsiteY30" fmla="*/ 10520 h 10926"/>
                  <a:gd name="connsiteX31" fmla="*/ 4248 w 10000"/>
                  <a:gd name="connsiteY31" fmla="*/ 10420 h 10926"/>
                  <a:gd name="connsiteX32" fmla="*/ 4785 w 10000"/>
                  <a:gd name="connsiteY32" fmla="*/ 10453 h 10926"/>
                  <a:gd name="connsiteX33" fmla="*/ 5002 w 10000"/>
                  <a:gd name="connsiteY33" fmla="*/ 10385 h 10926"/>
                  <a:gd name="connsiteX34" fmla="*/ 5967 w 10000"/>
                  <a:gd name="connsiteY34" fmla="*/ 10893 h 10926"/>
                  <a:gd name="connsiteX35" fmla="*/ 6021 w 10000"/>
                  <a:gd name="connsiteY35" fmla="*/ 10893 h 10926"/>
                  <a:gd name="connsiteX36" fmla="*/ 6130 w 10000"/>
                  <a:gd name="connsiteY36" fmla="*/ 10825 h 10926"/>
                  <a:gd name="connsiteX37" fmla="*/ 6823 w 10000"/>
                  <a:gd name="connsiteY37" fmla="*/ 10825 h 10926"/>
                  <a:gd name="connsiteX38" fmla="*/ 6936 w 10000"/>
                  <a:gd name="connsiteY38" fmla="*/ 10926 h 10926"/>
                  <a:gd name="connsiteX39" fmla="*/ 7526 w 10000"/>
                  <a:gd name="connsiteY39" fmla="*/ 10790 h 10926"/>
                  <a:gd name="connsiteX40" fmla="*/ 8062 w 10000"/>
                  <a:gd name="connsiteY40" fmla="*/ 10790 h 10926"/>
                  <a:gd name="connsiteX41" fmla="*/ 8438 w 10000"/>
                  <a:gd name="connsiteY41" fmla="*/ 10656 h 10926"/>
                  <a:gd name="connsiteX42" fmla="*/ 8871 w 10000"/>
                  <a:gd name="connsiteY42" fmla="*/ 10385 h 10926"/>
                  <a:gd name="connsiteX43" fmla="*/ 10000 w 10000"/>
                  <a:gd name="connsiteY43" fmla="*/ 10385 h 10926"/>
                  <a:gd name="connsiteX44" fmla="*/ 10000 w 10000"/>
                  <a:gd name="connsiteY44" fmla="*/ 10014 h 10926"/>
                  <a:gd name="connsiteX45" fmla="*/ 9409 w 10000"/>
                  <a:gd name="connsiteY45" fmla="*/ 9846 h 10926"/>
                  <a:gd name="connsiteX46" fmla="*/ 9083 w 10000"/>
                  <a:gd name="connsiteY46" fmla="*/ 9305 h 10926"/>
                  <a:gd name="connsiteX47" fmla="*/ 8655 w 10000"/>
                  <a:gd name="connsiteY47" fmla="*/ 9102 h 10926"/>
                  <a:gd name="connsiteX48" fmla="*/ 8385 w 10000"/>
                  <a:gd name="connsiteY48" fmla="*/ 8831 h 10926"/>
                  <a:gd name="connsiteX49" fmla="*/ 7687 w 10000"/>
                  <a:gd name="connsiteY49" fmla="*/ 8629 h 10926"/>
                  <a:gd name="connsiteX50" fmla="*/ 7848 w 10000"/>
                  <a:gd name="connsiteY50" fmla="*/ 8561 h 10926"/>
                  <a:gd name="connsiteX51" fmla="*/ 7848 w 10000"/>
                  <a:gd name="connsiteY51" fmla="*/ 8391 h 10926"/>
                  <a:gd name="connsiteX52" fmla="*/ 8334 w 10000"/>
                  <a:gd name="connsiteY52" fmla="*/ 8391 h 10926"/>
                  <a:gd name="connsiteX53" fmla="*/ 8599 w 10000"/>
                  <a:gd name="connsiteY53" fmla="*/ 8257 h 10926"/>
                  <a:gd name="connsiteX54" fmla="*/ 8655 w 10000"/>
                  <a:gd name="connsiteY54" fmla="*/ 7278 h 10926"/>
                  <a:gd name="connsiteX55" fmla="*/ 8707 w 10000"/>
                  <a:gd name="connsiteY55" fmla="*/ 7311 h 10926"/>
                  <a:gd name="connsiteX56" fmla="*/ 8517 w 10000"/>
                  <a:gd name="connsiteY56" fmla="*/ 7373 h 10926"/>
                  <a:gd name="connsiteX57" fmla="*/ 8440 w 10000"/>
                  <a:gd name="connsiteY57" fmla="*/ 7505 h 10926"/>
                  <a:gd name="connsiteX58" fmla="*/ 7961 w 10000"/>
                  <a:gd name="connsiteY58" fmla="*/ 7245 h 10926"/>
                  <a:gd name="connsiteX59" fmla="*/ 7874 w 10000"/>
                  <a:gd name="connsiteY59" fmla="*/ 6542 h 10926"/>
                  <a:gd name="connsiteX60" fmla="*/ 7361 w 10000"/>
                  <a:gd name="connsiteY60" fmla="*/ 6847 h 10926"/>
                  <a:gd name="connsiteX61" fmla="*/ 7369 w 10000"/>
                  <a:gd name="connsiteY61" fmla="*/ 7209 h 10926"/>
                  <a:gd name="connsiteX62" fmla="*/ 6955 w 10000"/>
                  <a:gd name="connsiteY62" fmla="*/ 7427 h 10926"/>
                  <a:gd name="connsiteX63" fmla="*/ 5644 w 10000"/>
                  <a:gd name="connsiteY63" fmla="*/ 1061 h 10926"/>
                  <a:gd name="connsiteX64" fmla="*/ 5002 w 10000"/>
                  <a:gd name="connsiteY64" fmla="*/ 1061 h 10926"/>
                  <a:gd name="connsiteX65" fmla="*/ 4356 w 10000"/>
                  <a:gd name="connsiteY65" fmla="*/ 1061 h 10926"/>
                  <a:gd name="connsiteX66" fmla="*/ 3709 w 10000"/>
                  <a:gd name="connsiteY66" fmla="*/ 1061 h 10926"/>
                  <a:gd name="connsiteX67" fmla="*/ 3120 w 10000"/>
                  <a:gd name="connsiteY67" fmla="*/ 1061 h 10926"/>
                  <a:gd name="connsiteX68" fmla="*/ 2475 w 10000"/>
                  <a:gd name="connsiteY68" fmla="*/ 1061 h 10926"/>
                  <a:gd name="connsiteX69" fmla="*/ 1884 w 10000"/>
                  <a:gd name="connsiteY69" fmla="*/ 1061 h 10926"/>
                  <a:gd name="connsiteX70" fmla="*/ 1237 w 10000"/>
                  <a:gd name="connsiteY70" fmla="*/ 1061 h 10926"/>
                  <a:gd name="connsiteX71" fmla="*/ 1237 w 10000"/>
                  <a:gd name="connsiteY71" fmla="*/ 1534 h 10926"/>
                  <a:gd name="connsiteX72" fmla="*/ 1237 w 10000"/>
                  <a:gd name="connsiteY72" fmla="*/ 2142 h 10926"/>
                  <a:gd name="connsiteX73" fmla="*/ 433 w 10000"/>
                  <a:gd name="connsiteY73" fmla="*/ 2142 h 10926"/>
                  <a:gd name="connsiteX74" fmla="*/ 433 w 10000"/>
                  <a:gd name="connsiteY74" fmla="*/ 2412 h 10926"/>
                  <a:gd name="connsiteX0" fmla="*/ 433 w 10000"/>
                  <a:gd name="connsiteY0" fmla="*/ 2412 h 10926"/>
                  <a:gd name="connsiteX1" fmla="*/ 6675 w 10000"/>
                  <a:gd name="connsiteY1" fmla="*/ 7685 h 10926"/>
                  <a:gd name="connsiteX2" fmla="*/ 6234 w 10000"/>
                  <a:gd name="connsiteY2" fmla="*/ 7894 h 10926"/>
                  <a:gd name="connsiteX3" fmla="*/ 5864 w 10000"/>
                  <a:gd name="connsiteY3" fmla="*/ 7676 h 10926"/>
                  <a:gd name="connsiteX4" fmla="*/ 5325 w 10000"/>
                  <a:gd name="connsiteY4" fmla="*/ 7544 h 10926"/>
                  <a:gd name="connsiteX5" fmla="*/ 5058 w 10000"/>
                  <a:gd name="connsiteY5" fmla="*/ 7841 h 10926"/>
                  <a:gd name="connsiteX6" fmla="*/ 4396 w 10000"/>
                  <a:gd name="connsiteY6" fmla="*/ 8069 h 10926"/>
                  <a:gd name="connsiteX7" fmla="*/ 3972 w 10000"/>
                  <a:gd name="connsiteY7" fmla="*/ 8067 h 10926"/>
                  <a:gd name="connsiteX8" fmla="*/ 3044 w 10000"/>
                  <a:gd name="connsiteY8" fmla="*/ 7874 h 10926"/>
                  <a:gd name="connsiteX9" fmla="*/ 2796 w 10000"/>
                  <a:gd name="connsiteY9" fmla="*/ 7978 h 10926"/>
                  <a:gd name="connsiteX10" fmla="*/ 2177 w 10000"/>
                  <a:gd name="connsiteY10" fmla="*/ 7745 h 10926"/>
                  <a:gd name="connsiteX11" fmla="*/ 1903 w 10000"/>
                  <a:gd name="connsiteY11" fmla="*/ 7393 h 10926"/>
                  <a:gd name="connsiteX12" fmla="*/ 1449 w 10000"/>
                  <a:gd name="connsiteY12" fmla="*/ 7489 h 10926"/>
                  <a:gd name="connsiteX13" fmla="*/ 1324 w 10000"/>
                  <a:gd name="connsiteY13" fmla="*/ 7697 h 10926"/>
                  <a:gd name="connsiteX14" fmla="*/ 845 w 10000"/>
                  <a:gd name="connsiteY14" fmla="*/ 7786 h 10926"/>
                  <a:gd name="connsiteX15" fmla="*/ 526 w 10000"/>
                  <a:gd name="connsiteY15" fmla="*/ 7778 h 10926"/>
                  <a:gd name="connsiteX16" fmla="*/ 354 w 10000"/>
                  <a:gd name="connsiteY16" fmla="*/ 7943 h 10926"/>
                  <a:gd name="connsiteX17" fmla="*/ 56 w 10000"/>
                  <a:gd name="connsiteY17" fmla="*/ 7683 h 10926"/>
                  <a:gd name="connsiteX18" fmla="*/ 0 w 10000"/>
                  <a:gd name="connsiteY18" fmla="*/ 8155 h 10926"/>
                  <a:gd name="connsiteX19" fmla="*/ 106 w 10000"/>
                  <a:gd name="connsiteY19" fmla="*/ 8223 h 10926"/>
                  <a:gd name="connsiteX20" fmla="*/ 538 w 10000"/>
                  <a:gd name="connsiteY20" fmla="*/ 8257 h 10926"/>
                  <a:gd name="connsiteX21" fmla="*/ 596 w 10000"/>
                  <a:gd name="connsiteY21" fmla="*/ 8391 h 10926"/>
                  <a:gd name="connsiteX22" fmla="*/ 1075 w 10000"/>
                  <a:gd name="connsiteY22" fmla="*/ 8426 h 10926"/>
                  <a:gd name="connsiteX23" fmla="*/ 1346 w 10000"/>
                  <a:gd name="connsiteY23" fmla="*/ 8561 h 10926"/>
                  <a:gd name="connsiteX24" fmla="*/ 1397 w 10000"/>
                  <a:gd name="connsiteY24" fmla="*/ 8798 h 10926"/>
                  <a:gd name="connsiteX25" fmla="*/ 2260 w 10000"/>
                  <a:gd name="connsiteY25" fmla="*/ 9203 h 10926"/>
                  <a:gd name="connsiteX26" fmla="*/ 2475 w 10000"/>
                  <a:gd name="connsiteY26" fmla="*/ 9609 h 10926"/>
                  <a:gd name="connsiteX27" fmla="*/ 3064 w 10000"/>
                  <a:gd name="connsiteY27" fmla="*/ 9812 h 10926"/>
                  <a:gd name="connsiteX28" fmla="*/ 3280 w 10000"/>
                  <a:gd name="connsiteY28" fmla="*/ 10080 h 10926"/>
                  <a:gd name="connsiteX29" fmla="*/ 3709 w 10000"/>
                  <a:gd name="connsiteY29" fmla="*/ 10420 h 10926"/>
                  <a:gd name="connsiteX30" fmla="*/ 4034 w 10000"/>
                  <a:gd name="connsiteY30" fmla="*/ 10520 h 10926"/>
                  <a:gd name="connsiteX31" fmla="*/ 4248 w 10000"/>
                  <a:gd name="connsiteY31" fmla="*/ 10420 h 10926"/>
                  <a:gd name="connsiteX32" fmla="*/ 4785 w 10000"/>
                  <a:gd name="connsiteY32" fmla="*/ 10453 h 10926"/>
                  <a:gd name="connsiteX33" fmla="*/ 5002 w 10000"/>
                  <a:gd name="connsiteY33" fmla="*/ 10385 h 10926"/>
                  <a:gd name="connsiteX34" fmla="*/ 5967 w 10000"/>
                  <a:gd name="connsiteY34" fmla="*/ 10893 h 10926"/>
                  <a:gd name="connsiteX35" fmla="*/ 6021 w 10000"/>
                  <a:gd name="connsiteY35" fmla="*/ 10893 h 10926"/>
                  <a:gd name="connsiteX36" fmla="*/ 6130 w 10000"/>
                  <a:gd name="connsiteY36" fmla="*/ 10825 h 10926"/>
                  <a:gd name="connsiteX37" fmla="*/ 6823 w 10000"/>
                  <a:gd name="connsiteY37" fmla="*/ 10825 h 10926"/>
                  <a:gd name="connsiteX38" fmla="*/ 6936 w 10000"/>
                  <a:gd name="connsiteY38" fmla="*/ 10926 h 10926"/>
                  <a:gd name="connsiteX39" fmla="*/ 7526 w 10000"/>
                  <a:gd name="connsiteY39" fmla="*/ 10790 h 10926"/>
                  <a:gd name="connsiteX40" fmla="*/ 8062 w 10000"/>
                  <a:gd name="connsiteY40" fmla="*/ 10790 h 10926"/>
                  <a:gd name="connsiteX41" fmla="*/ 8438 w 10000"/>
                  <a:gd name="connsiteY41" fmla="*/ 10656 h 10926"/>
                  <a:gd name="connsiteX42" fmla="*/ 8871 w 10000"/>
                  <a:gd name="connsiteY42" fmla="*/ 10385 h 10926"/>
                  <a:gd name="connsiteX43" fmla="*/ 10000 w 10000"/>
                  <a:gd name="connsiteY43" fmla="*/ 10385 h 10926"/>
                  <a:gd name="connsiteX44" fmla="*/ 10000 w 10000"/>
                  <a:gd name="connsiteY44" fmla="*/ 10014 h 10926"/>
                  <a:gd name="connsiteX45" fmla="*/ 9409 w 10000"/>
                  <a:gd name="connsiteY45" fmla="*/ 9846 h 10926"/>
                  <a:gd name="connsiteX46" fmla="*/ 9083 w 10000"/>
                  <a:gd name="connsiteY46" fmla="*/ 9305 h 10926"/>
                  <a:gd name="connsiteX47" fmla="*/ 8655 w 10000"/>
                  <a:gd name="connsiteY47" fmla="*/ 9102 h 10926"/>
                  <a:gd name="connsiteX48" fmla="*/ 8385 w 10000"/>
                  <a:gd name="connsiteY48" fmla="*/ 8831 h 10926"/>
                  <a:gd name="connsiteX49" fmla="*/ 7687 w 10000"/>
                  <a:gd name="connsiteY49" fmla="*/ 8629 h 10926"/>
                  <a:gd name="connsiteX50" fmla="*/ 7848 w 10000"/>
                  <a:gd name="connsiteY50" fmla="*/ 8561 h 10926"/>
                  <a:gd name="connsiteX51" fmla="*/ 7848 w 10000"/>
                  <a:gd name="connsiteY51" fmla="*/ 8391 h 10926"/>
                  <a:gd name="connsiteX52" fmla="*/ 8334 w 10000"/>
                  <a:gd name="connsiteY52" fmla="*/ 8391 h 10926"/>
                  <a:gd name="connsiteX53" fmla="*/ 8599 w 10000"/>
                  <a:gd name="connsiteY53" fmla="*/ 8257 h 10926"/>
                  <a:gd name="connsiteX54" fmla="*/ 8655 w 10000"/>
                  <a:gd name="connsiteY54" fmla="*/ 7278 h 10926"/>
                  <a:gd name="connsiteX55" fmla="*/ 8707 w 10000"/>
                  <a:gd name="connsiteY55" fmla="*/ 7311 h 10926"/>
                  <a:gd name="connsiteX56" fmla="*/ 8517 w 10000"/>
                  <a:gd name="connsiteY56" fmla="*/ 7373 h 10926"/>
                  <a:gd name="connsiteX57" fmla="*/ 8440 w 10000"/>
                  <a:gd name="connsiteY57" fmla="*/ 7505 h 10926"/>
                  <a:gd name="connsiteX58" fmla="*/ 7961 w 10000"/>
                  <a:gd name="connsiteY58" fmla="*/ 7245 h 10926"/>
                  <a:gd name="connsiteX59" fmla="*/ 7874 w 10000"/>
                  <a:gd name="connsiteY59" fmla="*/ 6542 h 10926"/>
                  <a:gd name="connsiteX60" fmla="*/ 7361 w 10000"/>
                  <a:gd name="connsiteY60" fmla="*/ 6847 h 10926"/>
                  <a:gd name="connsiteX61" fmla="*/ 7369 w 10000"/>
                  <a:gd name="connsiteY61" fmla="*/ 7209 h 10926"/>
                  <a:gd name="connsiteX62" fmla="*/ 6955 w 10000"/>
                  <a:gd name="connsiteY62" fmla="*/ 7427 h 10926"/>
                  <a:gd name="connsiteX63" fmla="*/ 5002 w 10000"/>
                  <a:gd name="connsiteY63" fmla="*/ 1061 h 10926"/>
                  <a:gd name="connsiteX64" fmla="*/ 4356 w 10000"/>
                  <a:gd name="connsiteY64" fmla="*/ 1061 h 10926"/>
                  <a:gd name="connsiteX65" fmla="*/ 3709 w 10000"/>
                  <a:gd name="connsiteY65" fmla="*/ 1061 h 10926"/>
                  <a:gd name="connsiteX66" fmla="*/ 3120 w 10000"/>
                  <a:gd name="connsiteY66" fmla="*/ 1061 h 10926"/>
                  <a:gd name="connsiteX67" fmla="*/ 2475 w 10000"/>
                  <a:gd name="connsiteY67" fmla="*/ 1061 h 10926"/>
                  <a:gd name="connsiteX68" fmla="*/ 1884 w 10000"/>
                  <a:gd name="connsiteY68" fmla="*/ 1061 h 10926"/>
                  <a:gd name="connsiteX69" fmla="*/ 1237 w 10000"/>
                  <a:gd name="connsiteY69" fmla="*/ 1061 h 10926"/>
                  <a:gd name="connsiteX70" fmla="*/ 1237 w 10000"/>
                  <a:gd name="connsiteY70" fmla="*/ 1534 h 10926"/>
                  <a:gd name="connsiteX71" fmla="*/ 1237 w 10000"/>
                  <a:gd name="connsiteY71" fmla="*/ 2142 h 10926"/>
                  <a:gd name="connsiteX72" fmla="*/ 433 w 10000"/>
                  <a:gd name="connsiteY72" fmla="*/ 2142 h 10926"/>
                  <a:gd name="connsiteX73" fmla="*/ 433 w 10000"/>
                  <a:gd name="connsiteY73" fmla="*/ 2412 h 10926"/>
                  <a:gd name="connsiteX0" fmla="*/ 433 w 10000"/>
                  <a:gd name="connsiteY0" fmla="*/ 1351 h 9865"/>
                  <a:gd name="connsiteX1" fmla="*/ 6675 w 10000"/>
                  <a:gd name="connsiteY1" fmla="*/ 6624 h 9865"/>
                  <a:gd name="connsiteX2" fmla="*/ 6234 w 10000"/>
                  <a:gd name="connsiteY2" fmla="*/ 6833 h 9865"/>
                  <a:gd name="connsiteX3" fmla="*/ 5864 w 10000"/>
                  <a:gd name="connsiteY3" fmla="*/ 6615 h 9865"/>
                  <a:gd name="connsiteX4" fmla="*/ 5325 w 10000"/>
                  <a:gd name="connsiteY4" fmla="*/ 6483 h 9865"/>
                  <a:gd name="connsiteX5" fmla="*/ 5058 w 10000"/>
                  <a:gd name="connsiteY5" fmla="*/ 6780 h 9865"/>
                  <a:gd name="connsiteX6" fmla="*/ 4396 w 10000"/>
                  <a:gd name="connsiteY6" fmla="*/ 7008 h 9865"/>
                  <a:gd name="connsiteX7" fmla="*/ 3972 w 10000"/>
                  <a:gd name="connsiteY7" fmla="*/ 7006 h 9865"/>
                  <a:gd name="connsiteX8" fmla="*/ 3044 w 10000"/>
                  <a:gd name="connsiteY8" fmla="*/ 6813 h 9865"/>
                  <a:gd name="connsiteX9" fmla="*/ 2796 w 10000"/>
                  <a:gd name="connsiteY9" fmla="*/ 6917 h 9865"/>
                  <a:gd name="connsiteX10" fmla="*/ 2177 w 10000"/>
                  <a:gd name="connsiteY10" fmla="*/ 6684 h 9865"/>
                  <a:gd name="connsiteX11" fmla="*/ 1903 w 10000"/>
                  <a:gd name="connsiteY11" fmla="*/ 6332 h 9865"/>
                  <a:gd name="connsiteX12" fmla="*/ 1449 w 10000"/>
                  <a:gd name="connsiteY12" fmla="*/ 6428 h 9865"/>
                  <a:gd name="connsiteX13" fmla="*/ 1324 w 10000"/>
                  <a:gd name="connsiteY13" fmla="*/ 6636 h 9865"/>
                  <a:gd name="connsiteX14" fmla="*/ 845 w 10000"/>
                  <a:gd name="connsiteY14" fmla="*/ 6725 h 9865"/>
                  <a:gd name="connsiteX15" fmla="*/ 526 w 10000"/>
                  <a:gd name="connsiteY15" fmla="*/ 6717 h 9865"/>
                  <a:gd name="connsiteX16" fmla="*/ 354 w 10000"/>
                  <a:gd name="connsiteY16" fmla="*/ 6882 h 9865"/>
                  <a:gd name="connsiteX17" fmla="*/ 56 w 10000"/>
                  <a:gd name="connsiteY17" fmla="*/ 6622 h 9865"/>
                  <a:gd name="connsiteX18" fmla="*/ 0 w 10000"/>
                  <a:gd name="connsiteY18" fmla="*/ 7094 h 9865"/>
                  <a:gd name="connsiteX19" fmla="*/ 106 w 10000"/>
                  <a:gd name="connsiteY19" fmla="*/ 7162 h 9865"/>
                  <a:gd name="connsiteX20" fmla="*/ 538 w 10000"/>
                  <a:gd name="connsiteY20" fmla="*/ 7196 h 9865"/>
                  <a:gd name="connsiteX21" fmla="*/ 596 w 10000"/>
                  <a:gd name="connsiteY21" fmla="*/ 7330 h 9865"/>
                  <a:gd name="connsiteX22" fmla="*/ 1075 w 10000"/>
                  <a:gd name="connsiteY22" fmla="*/ 7365 h 9865"/>
                  <a:gd name="connsiteX23" fmla="*/ 1346 w 10000"/>
                  <a:gd name="connsiteY23" fmla="*/ 7500 h 9865"/>
                  <a:gd name="connsiteX24" fmla="*/ 1397 w 10000"/>
                  <a:gd name="connsiteY24" fmla="*/ 7737 h 9865"/>
                  <a:gd name="connsiteX25" fmla="*/ 2260 w 10000"/>
                  <a:gd name="connsiteY25" fmla="*/ 8142 h 9865"/>
                  <a:gd name="connsiteX26" fmla="*/ 2475 w 10000"/>
                  <a:gd name="connsiteY26" fmla="*/ 8548 h 9865"/>
                  <a:gd name="connsiteX27" fmla="*/ 3064 w 10000"/>
                  <a:gd name="connsiteY27" fmla="*/ 8751 h 9865"/>
                  <a:gd name="connsiteX28" fmla="*/ 3280 w 10000"/>
                  <a:gd name="connsiteY28" fmla="*/ 9019 h 9865"/>
                  <a:gd name="connsiteX29" fmla="*/ 3709 w 10000"/>
                  <a:gd name="connsiteY29" fmla="*/ 9359 h 9865"/>
                  <a:gd name="connsiteX30" fmla="*/ 4034 w 10000"/>
                  <a:gd name="connsiteY30" fmla="*/ 9459 h 9865"/>
                  <a:gd name="connsiteX31" fmla="*/ 4248 w 10000"/>
                  <a:gd name="connsiteY31" fmla="*/ 9359 h 9865"/>
                  <a:gd name="connsiteX32" fmla="*/ 4785 w 10000"/>
                  <a:gd name="connsiteY32" fmla="*/ 9392 h 9865"/>
                  <a:gd name="connsiteX33" fmla="*/ 5002 w 10000"/>
                  <a:gd name="connsiteY33" fmla="*/ 9324 h 9865"/>
                  <a:gd name="connsiteX34" fmla="*/ 5967 w 10000"/>
                  <a:gd name="connsiteY34" fmla="*/ 9832 h 9865"/>
                  <a:gd name="connsiteX35" fmla="*/ 6021 w 10000"/>
                  <a:gd name="connsiteY35" fmla="*/ 9832 h 9865"/>
                  <a:gd name="connsiteX36" fmla="*/ 6130 w 10000"/>
                  <a:gd name="connsiteY36" fmla="*/ 9764 h 9865"/>
                  <a:gd name="connsiteX37" fmla="*/ 6823 w 10000"/>
                  <a:gd name="connsiteY37" fmla="*/ 9764 h 9865"/>
                  <a:gd name="connsiteX38" fmla="*/ 6936 w 10000"/>
                  <a:gd name="connsiteY38" fmla="*/ 9865 h 9865"/>
                  <a:gd name="connsiteX39" fmla="*/ 7526 w 10000"/>
                  <a:gd name="connsiteY39" fmla="*/ 9729 h 9865"/>
                  <a:gd name="connsiteX40" fmla="*/ 8062 w 10000"/>
                  <a:gd name="connsiteY40" fmla="*/ 9729 h 9865"/>
                  <a:gd name="connsiteX41" fmla="*/ 8438 w 10000"/>
                  <a:gd name="connsiteY41" fmla="*/ 9595 h 9865"/>
                  <a:gd name="connsiteX42" fmla="*/ 8871 w 10000"/>
                  <a:gd name="connsiteY42" fmla="*/ 9324 h 9865"/>
                  <a:gd name="connsiteX43" fmla="*/ 10000 w 10000"/>
                  <a:gd name="connsiteY43" fmla="*/ 9324 h 9865"/>
                  <a:gd name="connsiteX44" fmla="*/ 10000 w 10000"/>
                  <a:gd name="connsiteY44" fmla="*/ 8953 h 9865"/>
                  <a:gd name="connsiteX45" fmla="*/ 9409 w 10000"/>
                  <a:gd name="connsiteY45" fmla="*/ 8785 h 9865"/>
                  <a:gd name="connsiteX46" fmla="*/ 9083 w 10000"/>
                  <a:gd name="connsiteY46" fmla="*/ 8244 h 9865"/>
                  <a:gd name="connsiteX47" fmla="*/ 8655 w 10000"/>
                  <a:gd name="connsiteY47" fmla="*/ 8041 h 9865"/>
                  <a:gd name="connsiteX48" fmla="*/ 8385 w 10000"/>
                  <a:gd name="connsiteY48" fmla="*/ 7770 h 9865"/>
                  <a:gd name="connsiteX49" fmla="*/ 7687 w 10000"/>
                  <a:gd name="connsiteY49" fmla="*/ 7568 h 9865"/>
                  <a:gd name="connsiteX50" fmla="*/ 7848 w 10000"/>
                  <a:gd name="connsiteY50" fmla="*/ 7500 h 9865"/>
                  <a:gd name="connsiteX51" fmla="*/ 7848 w 10000"/>
                  <a:gd name="connsiteY51" fmla="*/ 7330 h 9865"/>
                  <a:gd name="connsiteX52" fmla="*/ 8334 w 10000"/>
                  <a:gd name="connsiteY52" fmla="*/ 7330 h 9865"/>
                  <a:gd name="connsiteX53" fmla="*/ 8599 w 10000"/>
                  <a:gd name="connsiteY53" fmla="*/ 7196 h 9865"/>
                  <a:gd name="connsiteX54" fmla="*/ 8655 w 10000"/>
                  <a:gd name="connsiteY54" fmla="*/ 6217 h 9865"/>
                  <a:gd name="connsiteX55" fmla="*/ 8707 w 10000"/>
                  <a:gd name="connsiteY55" fmla="*/ 6250 h 9865"/>
                  <a:gd name="connsiteX56" fmla="*/ 8517 w 10000"/>
                  <a:gd name="connsiteY56" fmla="*/ 6312 h 9865"/>
                  <a:gd name="connsiteX57" fmla="*/ 8440 w 10000"/>
                  <a:gd name="connsiteY57" fmla="*/ 6444 h 9865"/>
                  <a:gd name="connsiteX58" fmla="*/ 7961 w 10000"/>
                  <a:gd name="connsiteY58" fmla="*/ 6184 h 9865"/>
                  <a:gd name="connsiteX59" fmla="*/ 7874 w 10000"/>
                  <a:gd name="connsiteY59" fmla="*/ 5481 h 9865"/>
                  <a:gd name="connsiteX60" fmla="*/ 7361 w 10000"/>
                  <a:gd name="connsiteY60" fmla="*/ 5786 h 9865"/>
                  <a:gd name="connsiteX61" fmla="*/ 7369 w 10000"/>
                  <a:gd name="connsiteY61" fmla="*/ 6148 h 9865"/>
                  <a:gd name="connsiteX62" fmla="*/ 6955 w 10000"/>
                  <a:gd name="connsiteY62" fmla="*/ 6366 h 9865"/>
                  <a:gd name="connsiteX63" fmla="*/ 4356 w 10000"/>
                  <a:gd name="connsiteY63" fmla="*/ 0 h 9865"/>
                  <a:gd name="connsiteX64" fmla="*/ 3709 w 10000"/>
                  <a:gd name="connsiteY64" fmla="*/ 0 h 9865"/>
                  <a:gd name="connsiteX65" fmla="*/ 3120 w 10000"/>
                  <a:gd name="connsiteY65" fmla="*/ 0 h 9865"/>
                  <a:gd name="connsiteX66" fmla="*/ 2475 w 10000"/>
                  <a:gd name="connsiteY66" fmla="*/ 0 h 9865"/>
                  <a:gd name="connsiteX67" fmla="*/ 1884 w 10000"/>
                  <a:gd name="connsiteY67" fmla="*/ 0 h 9865"/>
                  <a:gd name="connsiteX68" fmla="*/ 1237 w 10000"/>
                  <a:gd name="connsiteY68" fmla="*/ 0 h 9865"/>
                  <a:gd name="connsiteX69" fmla="*/ 1237 w 10000"/>
                  <a:gd name="connsiteY69" fmla="*/ 473 h 9865"/>
                  <a:gd name="connsiteX70" fmla="*/ 1237 w 10000"/>
                  <a:gd name="connsiteY70" fmla="*/ 1081 h 9865"/>
                  <a:gd name="connsiteX71" fmla="*/ 433 w 10000"/>
                  <a:gd name="connsiteY71" fmla="*/ 1081 h 9865"/>
                  <a:gd name="connsiteX72" fmla="*/ 433 w 10000"/>
                  <a:gd name="connsiteY72" fmla="*/ 1351 h 9865"/>
                  <a:gd name="connsiteX0" fmla="*/ 433 w 10000"/>
                  <a:gd name="connsiteY0" fmla="*/ 1369 h 10000"/>
                  <a:gd name="connsiteX1" fmla="*/ 6675 w 10000"/>
                  <a:gd name="connsiteY1" fmla="*/ 6715 h 10000"/>
                  <a:gd name="connsiteX2" fmla="*/ 6234 w 10000"/>
                  <a:gd name="connsiteY2" fmla="*/ 6927 h 10000"/>
                  <a:gd name="connsiteX3" fmla="*/ 5864 w 10000"/>
                  <a:gd name="connsiteY3" fmla="*/ 6706 h 10000"/>
                  <a:gd name="connsiteX4" fmla="*/ 5325 w 10000"/>
                  <a:gd name="connsiteY4" fmla="*/ 6572 h 10000"/>
                  <a:gd name="connsiteX5" fmla="*/ 5058 w 10000"/>
                  <a:gd name="connsiteY5" fmla="*/ 6873 h 10000"/>
                  <a:gd name="connsiteX6" fmla="*/ 4396 w 10000"/>
                  <a:gd name="connsiteY6" fmla="*/ 7104 h 10000"/>
                  <a:gd name="connsiteX7" fmla="*/ 3972 w 10000"/>
                  <a:gd name="connsiteY7" fmla="*/ 7102 h 10000"/>
                  <a:gd name="connsiteX8" fmla="*/ 3044 w 10000"/>
                  <a:gd name="connsiteY8" fmla="*/ 6906 h 10000"/>
                  <a:gd name="connsiteX9" fmla="*/ 2796 w 10000"/>
                  <a:gd name="connsiteY9" fmla="*/ 7012 h 10000"/>
                  <a:gd name="connsiteX10" fmla="*/ 2177 w 10000"/>
                  <a:gd name="connsiteY10" fmla="*/ 6775 h 10000"/>
                  <a:gd name="connsiteX11" fmla="*/ 1903 w 10000"/>
                  <a:gd name="connsiteY11" fmla="*/ 6419 h 10000"/>
                  <a:gd name="connsiteX12" fmla="*/ 1449 w 10000"/>
                  <a:gd name="connsiteY12" fmla="*/ 6516 h 10000"/>
                  <a:gd name="connsiteX13" fmla="*/ 1324 w 10000"/>
                  <a:gd name="connsiteY13" fmla="*/ 6727 h 10000"/>
                  <a:gd name="connsiteX14" fmla="*/ 845 w 10000"/>
                  <a:gd name="connsiteY14" fmla="*/ 6817 h 10000"/>
                  <a:gd name="connsiteX15" fmla="*/ 526 w 10000"/>
                  <a:gd name="connsiteY15" fmla="*/ 6809 h 10000"/>
                  <a:gd name="connsiteX16" fmla="*/ 354 w 10000"/>
                  <a:gd name="connsiteY16" fmla="*/ 6976 h 10000"/>
                  <a:gd name="connsiteX17" fmla="*/ 56 w 10000"/>
                  <a:gd name="connsiteY17" fmla="*/ 6713 h 10000"/>
                  <a:gd name="connsiteX18" fmla="*/ 0 w 10000"/>
                  <a:gd name="connsiteY18" fmla="*/ 7191 h 10000"/>
                  <a:gd name="connsiteX19" fmla="*/ 106 w 10000"/>
                  <a:gd name="connsiteY19" fmla="*/ 7260 h 10000"/>
                  <a:gd name="connsiteX20" fmla="*/ 538 w 10000"/>
                  <a:gd name="connsiteY20" fmla="*/ 7294 h 10000"/>
                  <a:gd name="connsiteX21" fmla="*/ 596 w 10000"/>
                  <a:gd name="connsiteY21" fmla="*/ 7430 h 10000"/>
                  <a:gd name="connsiteX22" fmla="*/ 1075 w 10000"/>
                  <a:gd name="connsiteY22" fmla="*/ 7466 h 10000"/>
                  <a:gd name="connsiteX23" fmla="*/ 1346 w 10000"/>
                  <a:gd name="connsiteY23" fmla="*/ 7603 h 10000"/>
                  <a:gd name="connsiteX24" fmla="*/ 1397 w 10000"/>
                  <a:gd name="connsiteY24" fmla="*/ 7843 h 10000"/>
                  <a:gd name="connsiteX25" fmla="*/ 2260 w 10000"/>
                  <a:gd name="connsiteY25" fmla="*/ 8253 h 10000"/>
                  <a:gd name="connsiteX26" fmla="*/ 2475 w 10000"/>
                  <a:gd name="connsiteY26" fmla="*/ 8665 h 10000"/>
                  <a:gd name="connsiteX27" fmla="*/ 3064 w 10000"/>
                  <a:gd name="connsiteY27" fmla="*/ 8871 h 10000"/>
                  <a:gd name="connsiteX28" fmla="*/ 3280 w 10000"/>
                  <a:gd name="connsiteY28" fmla="*/ 9142 h 10000"/>
                  <a:gd name="connsiteX29" fmla="*/ 3709 w 10000"/>
                  <a:gd name="connsiteY29" fmla="*/ 9487 h 10000"/>
                  <a:gd name="connsiteX30" fmla="*/ 4034 w 10000"/>
                  <a:gd name="connsiteY30" fmla="*/ 9588 h 10000"/>
                  <a:gd name="connsiteX31" fmla="*/ 4248 w 10000"/>
                  <a:gd name="connsiteY31" fmla="*/ 9487 h 10000"/>
                  <a:gd name="connsiteX32" fmla="*/ 4785 w 10000"/>
                  <a:gd name="connsiteY32" fmla="*/ 9521 h 10000"/>
                  <a:gd name="connsiteX33" fmla="*/ 5002 w 10000"/>
                  <a:gd name="connsiteY33" fmla="*/ 9452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8 h 10000"/>
                  <a:gd name="connsiteX37" fmla="*/ 6823 w 10000"/>
                  <a:gd name="connsiteY37" fmla="*/ 9898 h 10000"/>
                  <a:gd name="connsiteX38" fmla="*/ 6936 w 10000"/>
                  <a:gd name="connsiteY38" fmla="*/ 10000 h 10000"/>
                  <a:gd name="connsiteX39" fmla="*/ 7526 w 10000"/>
                  <a:gd name="connsiteY39" fmla="*/ 9862 h 10000"/>
                  <a:gd name="connsiteX40" fmla="*/ 8062 w 10000"/>
                  <a:gd name="connsiteY40" fmla="*/ 9862 h 10000"/>
                  <a:gd name="connsiteX41" fmla="*/ 8438 w 10000"/>
                  <a:gd name="connsiteY41" fmla="*/ 9726 h 10000"/>
                  <a:gd name="connsiteX42" fmla="*/ 8871 w 10000"/>
                  <a:gd name="connsiteY42" fmla="*/ 9452 h 10000"/>
                  <a:gd name="connsiteX43" fmla="*/ 10000 w 10000"/>
                  <a:gd name="connsiteY43" fmla="*/ 9452 h 10000"/>
                  <a:gd name="connsiteX44" fmla="*/ 10000 w 10000"/>
                  <a:gd name="connsiteY44" fmla="*/ 9076 h 10000"/>
                  <a:gd name="connsiteX45" fmla="*/ 9409 w 10000"/>
                  <a:gd name="connsiteY45" fmla="*/ 8905 h 10000"/>
                  <a:gd name="connsiteX46" fmla="*/ 9083 w 10000"/>
                  <a:gd name="connsiteY46" fmla="*/ 8357 h 10000"/>
                  <a:gd name="connsiteX47" fmla="*/ 8655 w 10000"/>
                  <a:gd name="connsiteY47" fmla="*/ 8151 h 10000"/>
                  <a:gd name="connsiteX48" fmla="*/ 8385 w 10000"/>
                  <a:gd name="connsiteY48" fmla="*/ 7876 h 10000"/>
                  <a:gd name="connsiteX49" fmla="*/ 7687 w 10000"/>
                  <a:gd name="connsiteY49" fmla="*/ 7672 h 10000"/>
                  <a:gd name="connsiteX50" fmla="*/ 7848 w 10000"/>
                  <a:gd name="connsiteY50" fmla="*/ 7603 h 10000"/>
                  <a:gd name="connsiteX51" fmla="*/ 7848 w 10000"/>
                  <a:gd name="connsiteY51" fmla="*/ 7430 h 10000"/>
                  <a:gd name="connsiteX52" fmla="*/ 8334 w 10000"/>
                  <a:gd name="connsiteY52" fmla="*/ 7430 h 10000"/>
                  <a:gd name="connsiteX53" fmla="*/ 8599 w 10000"/>
                  <a:gd name="connsiteY53" fmla="*/ 7294 h 10000"/>
                  <a:gd name="connsiteX54" fmla="*/ 8655 w 10000"/>
                  <a:gd name="connsiteY54" fmla="*/ 6302 h 10000"/>
                  <a:gd name="connsiteX55" fmla="*/ 8707 w 10000"/>
                  <a:gd name="connsiteY55" fmla="*/ 6336 h 10000"/>
                  <a:gd name="connsiteX56" fmla="*/ 8517 w 10000"/>
                  <a:gd name="connsiteY56" fmla="*/ 6398 h 10000"/>
                  <a:gd name="connsiteX57" fmla="*/ 8440 w 10000"/>
                  <a:gd name="connsiteY57" fmla="*/ 6532 h 10000"/>
                  <a:gd name="connsiteX58" fmla="*/ 7961 w 10000"/>
                  <a:gd name="connsiteY58" fmla="*/ 6269 h 10000"/>
                  <a:gd name="connsiteX59" fmla="*/ 7874 w 10000"/>
                  <a:gd name="connsiteY59" fmla="*/ 5556 h 10000"/>
                  <a:gd name="connsiteX60" fmla="*/ 7361 w 10000"/>
                  <a:gd name="connsiteY60" fmla="*/ 5865 h 10000"/>
                  <a:gd name="connsiteX61" fmla="*/ 7369 w 10000"/>
                  <a:gd name="connsiteY61" fmla="*/ 6232 h 10000"/>
                  <a:gd name="connsiteX62" fmla="*/ 6955 w 10000"/>
                  <a:gd name="connsiteY62" fmla="*/ 6453 h 10000"/>
                  <a:gd name="connsiteX63" fmla="*/ 3709 w 10000"/>
                  <a:gd name="connsiteY63" fmla="*/ 0 h 10000"/>
                  <a:gd name="connsiteX64" fmla="*/ 3120 w 10000"/>
                  <a:gd name="connsiteY64" fmla="*/ 0 h 10000"/>
                  <a:gd name="connsiteX65" fmla="*/ 2475 w 10000"/>
                  <a:gd name="connsiteY65" fmla="*/ 0 h 10000"/>
                  <a:gd name="connsiteX66" fmla="*/ 1884 w 10000"/>
                  <a:gd name="connsiteY66" fmla="*/ 0 h 10000"/>
                  <a:gd name="connsiteX67" fmla="*/ 1237 w 10000"/>
                  <a:gd name="connsiteY67" fmla="*/ 0 h 10000"/>
                  <a:gd name="connsiteX68" fmla="*/ 1237 w 10000"/>
                  <a:gd name="connsiteY68" fmla="*/ 479 h 10000"/>
                  <a:gd name="connsiteX69" fmla="*/ 1237 w 10000"/>
                  <a:gd name="connsiteY69" fmla="*/ 1096 h 10000"/>
                  <a:gd name="connsiteX70" fmla="*/ 433 w 10000"/>
                  <a:gd name="connsiteY70" fmla="*/ 1096 h 10000"/>
                  <a:gd name="connsiteX71" fmla="*/ 433 w 10000"/>
                  <a:gd name="connsiteY71" fmla="*/ 1369 h 10000"/>
                  <a:gd name="connsiteX0" fmla="*/ 433 w 10000"/>
                  <a:gd name="connsiteY0" fmla="*/ 1369 h 10000"/>
                  <a:gd name="connsiteX1" fmla="*/ 6675 w 10000"/>
                  <a:gd name="connsiteY1" fmla="*/ 6715 h 10000"/>
                  <a:gd name="connsiteX2" fmla="*/ 6234 w 10000"/>
                  <a:gd name="connsiteY2" fmla="*/ 6927 h 10000"/>
                  <a:gd name="connsiteX3" fmla="*/ 5864 w 10000"/>
                  <a:gd name="connsiteY3" fmla="*/ 6706 h 10000"/>
                  <a:gd name="connsiteX4" fmla="*/ 5325 w 10000"/>
                  <a:gd name="connsiteY4" fmla="*/ 6572 h 10000"/>
                  <a:gd name="connsiteX5" fmla="*/ 5058 w 10000"/>
                  <a:gd name="connsiteY5" fmla="*/ 6873 h 10000"/>
                  <a:gd name="connsiteX6" fmla="*/ 4396 w 10000"/>
                  <a:gd name="connsiteY6" fmla="*/ 7104 h 10000"/>
                  <a:gd name="connsiteX7" fmla="*/ 3972 w 10000"/>
                  <a:gd name="connsiteY7" fmla="*/ 7102 h 10000"/>
                  <a:gd name="connsiteX8" fmla="*/ 3044 w 10000"/>
                  <a:gd name="connsiteY8" fmla="*/ 6906 h 10000"/>
                  <a:gd name="connsiteX9" fmla="*/ 2796 w 10000"/>
                  <a:gd name="connsiteY9" fmla="*/ 7012 h 10000"/>
                  <a:gd name="connsiteX10" fmla="*/ 2177 w 10000"/>
                  <a:gd name="connsiteY10" fmla="*/ 6775 h 10000"/>
                  <a:gd name="connsiteX11" fmla="*/ 1903 w 10000"/>
                  <a:gd name="connsiteY11" fmla="*/ 6419 h 10000"/>
                  <a:gd name="connsiteX12" fmla="*/ 1449 w 10000"/>
                  <a:gd name="connsiteY12" fmla="*/ 6516 h 10000"/>
                  <a:gd name="connsiteX13" fmla="*/ 1324 w 10000"/>
                  <a:gd name="connsiteY13" fmla="*/ 6727 h 10000"/>
                  <a:gd name="connsiteX14" fmla="*/ 845 w 10000"/>
                  <a:gd name="connsiteY14" fmla="*/ 6817 h 10000"/>
                  <a:gd name="connsiteX15" fmla="*/ 526 w 10000"/>
                  <a:gd name="connsiteY15" fmla="*/ 6809 h 10000"/>
                  <a:gd name="connsiteX16" fmla="*/ 354 w 10000"/>
                  <a:gd name="connsiteY16" fmla="*/ 6976 h 10000"/>
                  <a:gd name="connsiteX17" fmla="*/ 56 w 10000"/>
                  <a:gd name="connsiteY17" fmla="*/ 6713 h 10000"/>
                  <a:gd name="connsiteX18" fmla="*/ 0 w 10000"/>
                  <a:gd name="connsiteY18" fmla="*/ 7191 h 10000"/>
                  <a:gd name="connsiteX19" fmla="*/ 106 w 10000"/>
                  <a:gd name="connsiteY19" fmla="*/ 7260 h 10000"/>
                  <a:gd name="connsiteX20" fmla="*/ 538 w 10000"/>
                  <a:gd name="connsiteY20" fmla="*/ 7294 h 10000"/>
                  <a:gd name="connsiteX21" fmla="*/ 596 w 10000"/>
                  <a:gd name="connsiteY21" fmla="*/ 7430 h 10000"/>
                  <a:gd name="connsiteX22" fmla="*/ 1075 w 10000"/>
                  <a:gd name="connsiteY22" fmla="*/ 7466 h 10000"/>
                  <a:gd name="connsiteX23" fmla="*/ 1346 w 10000"/>
                  <a:gd name="connsiteY23" fmla="*/ 7603 h 10000"/>
                  <a:gd name="connsiteX24" fmla="*/ 1397 w 10000"/>
                  <a:gd name="connsiteY24" fmla="*/ 7843 h 10000"/>
                  <a:gd name="connsiteX25" fmla="*/ 2260 w 10000"/>
                  <a:gd name="connsiteY25" fmla="*/ 8253 h 10000"/>
                  <a:gd name="connsiteX26" fmla="*/ 2475 w 10000"/>
                  <a:gd name="connsiteY26" fmla="*/ 8665 h 10000"/>
                  <a:gd name="connsiteX27" fmla="*/ 3064 w 10000"/>
                  <a:gd name="connsiteY27" fmla="*/ 8871 h 10000"/>
                  <a:gd name="connsiteX28" fmla="*/ 3280 w 10000"/>
                  <a:gd name="connsiteY28" fmla="*/ 9142 h 10000"/>
                  <a:gd name="connsiteX29" fmla="*/ 3709 w 10000"/>
                  <a:gd name="connsiteY29" fmla="*/ 9487 h 10000"/>
                  <a:gd name="connsiteX30" fmla="*/ 4034 w 10000"/>
                  <a:gd name="connsiteY30" fmla="*/ 9588 h 10000"/>
                  <a:gd name="connsiteX31" fmla="*/ 4248 w 10000"/>
                  <a:gd name="connsiteY31" fmla="*/ 9487 h 10000"/>
                  <a:gd name="connsiteX32" fmla="*/ 4785 w 10000"/>
                  <a:gd name="connsiteY32" fmla="*/ 9521 h 10000"/>
                  <a:gd name="connsiteX33" fmla="*/ 5002 w 10000"/>
                  <a:gd name="connsiteY33" fmla="*/ 9452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8 h 10000"/>
                  <a:gd name="connsiteX37" fmla="*/ 6823 w 10000"/>
                  <a:gd name="connsiteY37" fmla="*/ 9898 h 10000"/>
                  <a:gd name="connsiteX38" fmla="*/ 6936 w 10000"/>
                  <a:gd name="connsiteY38" fmla="*/ 10000 h 10000"/>
                  <a:gd name="connsiteX39" fmla="*/ 7526 w 10000"/>
                  <a:gd name="connsiteY39" fmla="*/ 9862 h 10000"/>
                  <a:gd name="connsiteX40" fmla="*/ 8062 w 10000"/>
                  <a:gd name="connsiteY40" fmla="*/ 9862 h 10000"/>
                  <a:gd name="connsiteX41" fmla="*/ 8438 w 10000"/>
                  <a:gd name="connsiteY41" fmla="*/ 9726 h 10000"/>
                  <a:gd name="connsiteX42" fmla="*/ 8871 w 10000"/>
                  <a:gd name="connsiteY42" fmla="*/ 9452 h 10000"/>
                  <a:gd name="connsiteX43" fmla="*/ 10000 w 10000"/>
                  <a:gd name="connsiteY43" fmla="*/ 9452 h 10000"/>
                  <a:gd name="connsiteX44" fmla="*/ 10000 w 10000"/>
                  <a:gd name="connsiteY44" fmla="*/ 9076 h 10000"/>
                  <a:gd name="connsiteX45" fmla="*/ 9409 w 10000"/>
                  <a:gd name="connsiteY45" fmla="*/ 8905 h 10000"/>
                  <a:gd name="connsiteX46" fmla="*/ 9083 w 10000"/>
                  <a:gd name="connsiteY46" fmla="*/ 8357 h 10000"/>
                  <a:gd name="connsiteX47" fmla="*/ 8655 w 10000"/>
                  <a:gd name="connsiteY47" fmla="*/ 8151 h 10000"/>
                  <a:gd name="connsiteX48" fmla="*/ 8385 w 10000"/>
                  <a:gd name="connsiteY48" fmla="*/ 7876 h 10000"/>
                  <a:gd name="connsiteX49" fmla="*/ 7687 w 10000"/>
                  <a:gd name="connsiteY49" fmla="*/ 7672 h 10000"/>
                  <a:gd name="connsiteX50" fmla="*/ 7848 w 10000"/>
                  <a:gd name="connsiteY50" fmla="*/ 7603 h 10000"/>
                  <a:gd name="connsiteX51" fmla="*/ 7848 w 10000"/>
                  <a:gd name="connsiteY51" fmla="*/ 7430 h 10000"/>
                  <a:gd name="connsiteX52" fmla="*/ 8334 w 10000"/>
                  <a:gd name="connsiteY52" fmla="*/ 7430 h 10000"/>
                  <a:gd name="connsiteX53" fmla="*/ 8599 w 10000"/>
                  <a:gd name="connsiteY53" fmla="*/ 7294 h 10000"/>
                  <a:gd name="connsiteX54" fmla="*/ 8655 w 10000"/>
                  <a:gd name="connsiteY54" fmla="*/ 6302 h 10000"/>
                  <a:gd name="connsiteX55" fmla="*/ 8707 w 10000"/>
                  <a:gd name="connsiteY55" fmla="*/ 6336 h 10000"/>
                  <a:gd name="connsiteX56" fmla="*/ 8517 w 10000"/>
                  <a:gd name="connsiteY56" fmla="*/ 6398 h 10000"/>
                  <a:gd name="connsiteX57" fmla="*/ 8440 w 10000"/>
                  <a:gd name="connsiteY57" fmla="*/ 6532 h 10000"/>
                  <a:gd name="connsiteX58" fmla="*/ 7961 w 10000"/>
                  <a:gd name="connsiteY58" fmla="*/ 6269 h 10000"/>
                  <a:gd name="connsiteX59" fmla="*/ 7874 w 10000"/>
                  <a:gd name="connsiteY59" fmla="*/ 5556 h 10000"/>
                  <a:gd name="connsiteX60" fmla="*/ 7361 w 10000"/>
                  <a:gd name="connsiteY60" fmla="*/ 5865 h 10000"/>
                  <a:gd name="connsiteX61" fmla="*/ 7369 w 10000"/>
                  <a:gd name="connsiteY61" fmla="*/ 6232 h 10000"/>
                  <a:gd name="connsiteX62" fmla="*/ 6955 w 10000"/>
                  <a:gd name="connsiteY62" fmla="*/ 6453 h 10000"/>
                  <a:gd name="connsiteX63" fmla="*/ 3120 w 10000"/>
                  <a:gd name="connsiteY63" fmla="*/ 0 h 10000"/>
                  <a:gd name="connsiteX64" fmla="*/ 2475 w 10000"/>
                  <a:gd name="connsiteY64" fmla="*/ 0 h 10000"/>
                  <a:gd name="connsiteX65" fmla="*/ 1884 w 10000"/>
                  <a:gd name="connsiteY65" fmla="*/ 0 h 10000"/>
                  <a:gd name="connsiteX66" fmla="*/ 1237 w 10000"/>
                  <a:gd name="connsiteY66" fmla="*/ 0 h 10000"/>
                  <a:gd name="connsiteX67" fmla="*/ 1237 w 10000"/>
                  <a:gd name="connsiteY67" fmla="*/ 479 h 10000"/>
                  <a:gd name="connsiteX68" fmla="*/ 1237 w 10000"/>
                  <a:gd name="connsiteY68" fmla="*/ 1096 h 10000"/>
                  <a:gd name="connsiteX69" fmla="*/ 433 w 10000"/>
                  <a:gd name="connsiteY69" fmla="*/ 1096 h 10000"/>
                  <a:gd name="connsiteX70" fmla="*/ 433 w 10000"/>
                  <a:gd name="connsiteY70" fmla="*/ 1369 h 10000"/>
                  <a:gd name="connsiteX0" fmla="*/ 433 w 10000"/>
                  <a:gd name="connsiteY0" fmla="*/ 1369 h 10000"/>
                  <a:gd name="connsiteX1" fmla="*/ 6675 w 10000"/>
                  <a:gd name="connsiteY1" fmla="*/ 6715 h 10000"/>
                  <a:gd name="connsiteX2" fmla="*/ 6234 w 10000"/>
                  <a:gd name="connsiteY2" fmla="*/ 6927 h 10000"/>
                  <a:gd name="connsiteX3" fmla="*/ 5864 w 10000"/>
                  <a:gd name="connsiteY3" fmla="*/ 6706 h 10000"/>
                  <a:gd name="connsiteX4" fmla="*/ 5325 w 10000"/>
                  <a:gd name="connsiteY4" fmla="*/ 6572 h 10000"/>
                  <a:gd name="connsiteX5" fmla="*/ 5058 w 10000"/>
                  <a:gd name="connsiteY5" fmla="*/ 6873 h 10000"/>
                  <a:gd name="connsiteX6" fmla="*/ 4396 w 10000"/>
                  <a:gd name="connsiteY6" fmla="*/ 7104 h 10000"/>
                  <a:gd name="connsiteX7" fmla="*/ 3972 w 10000"/>
                  <a:gd name="connsiteY7" fmla="*/ 7102 h 10000"/>
                  <a:gd name="connsiteX8" fmla="*/ 3044 w 10000"/>
                  <a:gd name="connsiteY8" fmla="*/ 6906 h 10000"/>
                  <a:gd name="connsiteX9" fmla="*/ 2796 w 10000"/>
                  <a:gd name="connsiteY9" fmla="*/ 7012 h 10000"/>
                  <a:gd name="connsiteX10" fmla="*/ 2177 w 10000"/>
                  <a:gd name="connsiteY10" fmla="*/ 6775 h 10000"/>
                  <a:gd name="connsiteX11" fmla="*/ 1903 w 10000"/>
                  <a:gd name="connsiteY11" fmla="*/ 6419 h 10000"/>
                  <a:gd name="connsiteX12" fmla="*/ 1449 w 10000"/>
                  <a:gd name="connsiteY12" fmla="*/ 6516 h 10000"/>
                  <a:gd name="connsiteX13" fmla="*/ 1324 w 10000"/>
                  <a:gd name="connsiteY13" fmla="*/ 6727 h 10000"/>
                  <a:gd name="connsiteX14" fmla="*/ 845 w 10000"/>
                  <a:gd name="connsiteY14" fmla="*/ 6817 h 10000"/>
                  <a:gd name="connsiteX15" fmla="*/ 526 w 10000"/>
                  <a:gd name="connsiteY15" fmla="*/ 6809 h 10000"/>
                  <a:gd name="connsiteX16" fmla="*/ 354 w 10000"/>
                  <a:gd name="connsiteY16" fmla="*/ 6976 h 10000"/>
                  <a:gd name="connsiteX17" fmla="*/ 56 w 10000"/>
                  <a:gd name="connsiteY17" fmla="*/ 6713 h 10000"/>
                  <a:gd name="connsiteX18" fmla="*/ 0 w 10000"/>
                  <a:gd name="connsiteY18" fmla="*/ 7191 h 10000"/>
                  <a:gd name="connsiteX19" fmla="*/ 106 w 10000"/>
                  <a:gd name="connsiteY19" fmla="*/ 7260 h 10000"/>
                  <a:gd name="connsiteX20" fmla="*/ 538 w 10000"/>
                  <a:gd name="connsiteY20" fmla="*/ 7294 h 10000"/>
                  <a:gd name="connsiteX21" fmla="*/ 596 w 10000"/>
                  <a:gd name="connsiteY21" fmla="*/ 7430 h 10000"/>
                  <a:gd name="connsiteX22" fmla="*/ 1075 w 10000"/>
                  <a:gd name="connsiteY22" fmla="*/ 7466 h 10000"/>
                  <a:gd name="connsiteX23" fmla="*/ 1346 w 10000"/>
                  <a:gd name="connsiteY23" fmla="*/ 7603 h 10000"/>
                  <a:gd name="connsiteX24" fmla="*/ 1397 w 10000"/>
                  <a:gd name="connsiteY24" fmla="*/ 7843 h 10000"/>
                  <a:gd name="connsiteX25" fmla="*/ 2260 w 10000"/>
                  <a:gd name="connsiteY25" fmla="*/ 8253 h 10000"/>
                  <a:gd name="connsiteX26" fmla="*/ 2475 w 10000"/>
                  <a:gd name="connsiteY26" fmla="*/ 8665 h 10000"/>
                  <a:gd name="connsiteX27" fmla="*/ 3064 w 10000"/>
                  <a:gd name="connsiteY27" fmla="*/ 8871 h 10000"/>
                  <a:gd name="connsiteX28" fmla="*/ 3280 w 10000"/>
                  <a:gd name="connsiteY28" fmla="*/ 9142 h 10000"/>
                  <a:gd name="connsiteX29" fmla="*/ 3709 w 10000"/>
                  <a:gd name="connsiteY29" fmla="*/ 9487 h 10000"/>
                  <a:gd name="connsiteX30" fmla="*/ 4034 w 10000"/>
                  <a:gd name="connsiteY30" fmla="*/ 9588 h 10000"/>
                  <a:gd name="connsiteX31" fmla="*/ 4248 w 10000"/>
                  <a:gd name="connsiteY31" fmla="*/ 9487 h 10000"/>
                  <a:gd name="connsiteX32" fmla="*/ 4785 w 10000"/>
                  <a:gd name="connsiteY32" fmla="*/ 9521 h 10000"/>
                  <a:gd name="connsiteX33" fmla="*/ 5002 w 10000"/>
                  <a:gd name="connsiteY33" fmla="*/ 9452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8 h 10000"/>
                  <a:gd name="connsiteX37" fmla="*/ 6823 w 10000"/>
                  <a:gd name="connsiteY37" fmla="*/ 9898 h 10000"/>
                  <a:gd name="connsiteX38" fmla="*/ 6936 w 10000"/>
                  <a:gd name="connsiteY38" fmla="*/ 10000 h 10000"/>
                  <a:gd name="connsiteX39" fmla="*/ 7526 w 10000"/>
                  <a:gd name="connsiteY39" fmla="*/ 9862 h 10000"/>
                  <a:gd name="connsiteX40" fmla="*/ 8062 w 10000"/>
                  <a:gd name="connsiteY40" fmla="*/ 9862 h 10000"/>
                  <a:gd name="connsiteX41" fmla="*/ 8438 w 10000"/>
                  <a:gd name="connsiteY41" fmla="*/ 9726 h 10000"/>
                  <a:gd name="connsiteX42" fmla="*/ 8871 w 10000"/>
                  <a:gd name="connsiteY42" fmla="*/ 9452 h 10000"/>
                  <a:gd name="connsiteX43" fmla="*/ 10000 w 10000"/>
                  <a:gd name="connsiteY43" fmla="*/ 9452 h 10000"/>
                  <a:gd name="connsiteX44" fmla="*/ 10000 w 10000"/>
                  <a:gd name="connsiteY44" fmla="*/ 9076 h 10000"/>
                  <a:gd name="connsiteX45" fmla="*/ 9409 w 10000"/>
                  <a:gd name="connsiteY45" fmla="*/ 8905 h 10000"/>
                  <a:gd name="connsiteX46" fmla="*/ 9083 w 10000"/>
                  <a:gd name="connsiteY46" fmla="*/ 8357 h 10000"/>
                  <a:gd name="connsiteX47" fmla="*/ 8655 w 10000"/>
                  <a:gd name="connsiteY47" fmla="*/ 8151 h 10000"/>
                  <a:gd name="connsiteX48" fmla="*/ 8385 w 10000"/>
                  <a:gd name="connsiteY48" fmla="*/ 7876 h 10000"/>
                  <a:gd name="connsiteX49" fmla="*/ 7687 w 10000"/>
                  <a:gd name="connsiteY49" fmla="*/ 7672 h 10000"/>
                  <a:gd name="connsiteX50" fmla="*/ 7848 w 10000"/>
                  <a:gd name="connsiteY50" fmla="*/ 7603 h 10000"/>
                  <a:gd name="connsiteX51" fmla="*/ 7848 w 10000"/>
                  <a:gd name="connsiteY51" fmla="*/ 7430 h 10000"/>
                  <a:gd name="connsiteX52" fmla="*/ 8334 w 10000"/>
                  <a:gd name="connsiteY52" fmla="*/ 7430 h 10000"/>
                  <a:gd name="connsiteX53" fmla="*/ 8599 w 10000"/>
                  <a:gd name="connsiteY53" fmla="*/ 7294 h 10000"/>
                  <a:gd name="connsiteX54" fmla="*/ 8655 w 10000"/>
                  <a:gd name="connsiteY54" fmla="*/ 6302 h 10000"/>
                  <a:gd name="connsiteX55" fmla="*/ 8707 w 10000"/>
                  <a:gd name="connsiteY55" fmla="*/ 6336 h 10000"/>
                  <a:gd name="connsiteX56" fmla="*/ 8517 w 10000"/>
                  <a:gd name="connsiteY56" fmla="*/ 6398 h 10000"/>
                  <a:gd name="connsiteX57" fmla="*/ 8440 w 10000"/>
                  <a:gd name="connsiteY57" fmla="*/ 6532 h 10000"/>
                  <a:gd name="connsiteX58" fmla="*/ 7961 w 10000"/>
                  <a:gd name="connsiteY58" fmla="*/ 6269 h 10000"/>
                  <a:gd name="connsiteX59" fmla="*/ 7874 w 10000"/>
                  <a:gd name="connsiteY59" fmla="*/ 5556 h 10000"/>
                  <a:gd name="connsiteX60" fmla="*/ 7361 w 10000"/>
                  <a:gd name="connsiteY60" fmla="*/ 5865 h 10000"/>
                  <a:gd name="connsiteX61" fmla="*/ 7369 w 10000"/>
                  <a:gd name="connsiteY61" fmla="*/ 6232 h 10000"/>
                  <a:gd name="connsiteX62" fmla="*/ 6955 w 10000"/>
                  <a:gd name="connsiteY62" fmla="*/ 6453 h 10000"/>
                  <a:gd name="connsiteX63" fmla="*/ 2475 w 10000"/>
                  <a:gd name="connsiteY63" fmla="*/ 0 h 10000"/>
                  <a:gd name="connsiteX64" fmla="*/ 1884 w 10000"/>
                  <a:gd name="connsiteY64" fmla="*/ 0 h 10000"/>
                  <a:gd name="connsiteX65" fmla="*/ 1237 w 10000"/>
                  <a:gd name="connsiteY65" fmla="*/ 0 h 10000"/>
                  <a:gd name="connsiteX66" fmla="*/ 1237 w 10000"/>
                  <a:gd name="connsiteY66" fmla="*/ 479 h 10000"/>
                  <a:gd name="connsiteX67" fmla="*/ 1237 w 10000"/>
                  <a:gd name="connsiteY67" fmla="*/ 1096 h 10000"/>
                  <a:gd name="connsiteX68" fmla="*/ 433 w 10000"/>
                  <a:gd name="connsiteY68" fmla="*/ 1096 h 10000"/>
                  <a:gd name="connsiteX69" fmla="*/ 433 w 10000"/>
                  <a:gd name="connsiteY69" fmla="*/ 1369 h 10000"/>
                  <a:gd name="connsiteX0" fmla="*/ 433 w 10000"/>
                  <a:gd name="connsiteY0" fmla="*/ 1369 h 10000"/>
                  <a:gd name="connsiteX1" fmla="*/ 6675 w 10000"/>
                  <a:gd name="connsiteY1" fmla="*/ 6715 h 10000"/>
                  <a:gd name="connsiteX2" fmla="*/ 6234 w 10000"/>
                  <a:gd name="connsiteY2" fmla="*/ 6927 h 10000"/>
                  <a:gd name="connsiteX3" fmla="*/ 5864 w 10000"/>
                  <a:gd name="connsiteY3" fmla="*/ 6706 h 10000"/>
                  <a:gd name="connsiteX4" fmla="*/ 5325 w 10000"/>
                  <a:gd name="connsiteY4" fmla="*/ 6572 h 10000"/>
                  <a:gd name="connsiteX5" fmla="*/ 5058 w 10000"/>
                  <a:gd name="connsiteY5" fmla="*/ 6873 h 10000"/>
                  <a:gd name="connsiteX6" fmla="*/ 4396 w 10000"/>
                  <a:gd name="connsiteY6" fmla="*/ 7104 h 10000"/>
                  <a:gd name="connsiteX7" fmla="*/ 3972 w 10000"/>
                  <a:gd name="connsiteY7" fmla="*/ 7102 h 10000"/>
                  <a:gd name="connsiteX8" fmla="*/ 3044 w 10000"/>
                  <a:gd name="connsiteY8" fmla="*/ 6906 h 10000"/>
                  <a:gd name="connsiteX9" fmla="*/ 2796 w 10000"/>
                  <a:gd name="connsiteY9" fmla="*/ 7012 h 10000"/>
                  <a:gd name="connsiteX10" fmla="*/ 2177 w 10000"/>
                  <a:gd name="connsiteY10" fmla="*/ 6775 h 10000"/>
                  <a:gd name="connsiteX11" fmla="*/ 1903 w 10000"/>
                  <a:gd name="connsiteY11" fmla="*/ 6419 h 10000"/>
                  <a:gd name="connsiteX12" fmla="*/ 1449 w 10000"/>
                  <a:gd name="connsiteY12" fmla="*/ 6516 h 10000"/>
                  <a:gd name="connsiteX13" fmla="*/ 1324 w 10000"/>
                  <a:gd name="connsiteY13" fmla="*/ 6727 h 10000"/>
                  <a:gd name="connsiteX14" fmla="*/ 845 w 10000"/>
                  <a:gd name="connsiteY14" fmla="*/ 6817 h 10000"/>
                  <a:gd name="connsiteX15" fmla="*/ 526 w 10000"/>
                  <a:gd name="connsiteY15" fmla="*/ 6809 h 10000"/>
                  <a:gd name="connsiteX16" fmla="*/ 354 w 10000"/>
                  <a:gd name="connsiteY16" fmla="*/ 6976 h 10000"/>
                  <a:gd name="connsiteX17" fmla="*/ 56 w 10000"/>
                  <a:gd name="connsiteY17" fmla="*/ 6713 h 10000"/>
                  <a:gd name="connsiteX18" fmla="*/ 0 w 10000"/>
                  <a:gd name="connsiteY18" fmla="*/ 7191 h 10000"/>
                  <a:gd name="connsiteX19" fmla="*/ 106 w 10000"/>
                  <a:gd name="connsiteY19" fmla="*/ 7260 h 10000"/>
                  <a:gd name="connsiteX20" fmla="*/ 538 w 10000"/>
                  <a:gd name="connsiteY20" fmla="*/ 7294 h 10000"/>
                  <a:gd name="connsiteX21" fmla="*/ 596 w 10000"/>
                  <a:gd name="connsiteY21" fmla="*/ 7430 h 10000"/>
                  <a:gd name="connsiteX22" fmla="*/ 1075 w 10000"/>
                  <a:gd name="connsiteY22" fmla="*/ 7466 h 10000"/>
                  <a:gd name="connsiteX23" fmla="*/ 1346 w 10000"/>
                  <a:gd name="connsiteY23" fmla="*/ 7603 h 10000"/>
                  <a:gd name="connsiteX24" fmla="*/ 1397 w 10000"/>
                  <a:gd name="connsiteY24" fmla="*/ 7843 h 10000"/>
                  <a:gd name="connsiteX25" fmla="*/ 2260 w 10000"/>
                  <a:gd name="connsiteY25" fmla="*/ 8253 h 10000"/>
                  <a:gd name="connsiteX26" fmla="*/ 2475 w 10000"/>
                  <a:gd name="connsiteY26" fmla="*/ 8665 h 10000"/>
                  <a:gd name="connsiteX27" fmla="*/ 3064 w 10000"/>
                  <a:gd name="connsiteY27" fmla="*/ 8871 h 10000"/>
                  <a:gd name="connsiteX28" fmla="*/ 3280 w 10000"/>
                  <a:gd name="connsiteY28" fmla="*/ 9142 h 10000"/>
                  <a:gd name="connsiteX29" fmla="*/ 3709 w 10000"/>
                  <a:gd name="connsiteY29" fmla="*/ 9487 h 10000"/>
                  <a:gd name="connsiteX30" fmla="*/ 4034 w 10000"/>
                  <a:gd name="connsiteY30" fmla="*/ 9588 h 10000"/>
                  <a:gd name="connsiteX31" fmla="*/ 4248 w 10000"/>
                  <a:gd name="connsiteY31" fmla="*/ 9487 h 10000"/>
                  <a:gd name="connsiteX32" fmla="*/ 4785 w 10000"/>
                  <a:gd name="connsiteY32" fmla="*/ 9521 h 10000"/>
                  <a:gd name="connsiteX33" fmla="*/ 5002 w 10000"/>
                  <a:gd name="connsiteY33" fmla="*/ 9452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8 h 10000"/>
                  <a:gd name="connsiteX37" fmla="*/ 6823 w 10000"/>
                  <a:gd name="connsiteY37" fmla="*/ 9898 h 10000"/>
                  <a:gd name="connsiteX38" fmla="*/ 6936 w 10000"/>
                  <a:gd name="connsiteY38" fmla="*/ 10000 h 10000"/>
                  <a:gd name="connsiteX39" fmla="*/ 7526 w 10000"/>
                  <a:gd name="connsiteY39" fmla="*/ 9862 h 10000"/>
                  <a:gd name="connsiteX40" fmla="*/ 8062 w 10000"/>
                  <a:gd name="connsiteY40" fmla="*/ 9862 h 10000"/>
                  <a:gd name="connsiteX41" fmla="*/ 8438 w 10000"/>
                  <a:gd name="connsiteY41" fmla="*/ 9726 h 10000"/>
                  <a:gd name="connsiteX42" fmla="*/ 8871 w 10000"/>
                  <a:gd name="connsiteY42" fmla="*/ 9452 h 10000"/>
                  <a:gd name="connsiteX43" fmla="*/ 10000 w 10000"/>
                  <a:gd name="connsiteY43" fmla="*/ 9452 h 10000"/>
                  <a:gd name="connsiteX44" fmla="*/ 10000 w 10000"/>
                  <a:gd name="connsiteY44" fmla="*/ 9076 h 10000"/>
                  <a:gd name="connsiteX45" fmla="*/ 9409 w 10000"/>
                  <a:gd name="connsiteY45" fmla="*/ 8905 h 10000"/>
                  <a:gd name="connsiteX46" fmla="*/ 9083 w 10000"/>
                  <a:gd name="connsiteY46" fmla="*/ 8357 h 10000"/>
                  <a:gd name="connsiteX47" fmla="*/ 8655 w 10000"/>
                  <a:gd name="connsiteY47" fmla="*/ 8151 h 10000"/>
                  <a:gd name="connsiteX48" fmla="*/ 8385 w 10000"/>
                  <a:gd name="connsiteY48" fmla="*/ 7876 h 10000"/>
                  <a:gd name="connsiteX49" fmla="*/ 7687 w 10000"/>
                  <a:gd name="connsiteY49" fmla="*/ 7672 h 10000"/>
                  <a:gd name="connsiteX50" fmla="*/ 7848 w 10000"/>
                  <a:gd name="connsiteY50" fmla="*/ 7603 h 10000"/>
                  <a:gd name="connsiteX51" fmla="*/ 7848 w 10000"/>
                  <a:gd name="connsiteY51" fmla="*/ 7430 h 10000"/>
                  <a:gd name="connsiteX52" fmla="*/ 8334 w 10000"/>
                  <a:gd name="connsiteY52" fmla="*/ 7430 h 10000"/>
                  <a:gd name="connsiteX53" fmla="*/ 8599 w 10000"/>
                  <a:gd name="connsiteY53" fmla="*/ 7294 h 10000"/>
                  <a:gd name="connsiteX54" fmla="*/ 8655 w 10000"/>
                  <a:gd name="connsiteY54" fmla="*/ 6302 h 10000"/>
                  <a:gd name="connsiteX55" fmla="*/ 8707 w 10000"/>
                  <a:gd name="connsiteY55" fmla="*/ 6336 h 10000"/>
                  <a:gd name="connsiteX56" fmla="*/ 8517 w 10000"/>
                  <a:gd name="connsiteY56" fmla="*/ 6398 h 10000"/>
                  <a:gd name="connsiteX57" fmla="*/ 8440 w 10000"/>
                  <a:gd name="connsiteY57" fmla="*/ 6532 h 10000"/>
                  <a:gd name="connsiteX58" fmla="*/ 7961 w 10000"/>
                  <a:gd name="connsiteY58" fmla="*/ 6269 h 10000"/>
                  <a:gd name="connsiteX59" fmla="*/ 7874 w 10000"/>
                  <a:gd name="connsiteY59" fmla="*/ 5556 h 10000"/>
                  <a:gd name="connsiteX60" fmla="*/ 7361 w 10000"/>
                  <a:gd name="connsiteY60" fmla="*/ 5865 h 10000"/>
                  <a:gd name="connsiteX61" fmla="*/ 7369 w 10000"/>
                  <a:gd name="connsiteY61" fmla="*/ 6232 h 10000"/>
                  <a:gd name="connsiteX62" fmla="*/ 6955 w 10000"/>
                  <a:gd name="connsiteY62" fmla="*/ 6453 h 10000"/>
                  <a:gd name="connsiteX63" fmla="*/ 1884 w 10000"/>
                  <a:gd name="connsiteY63" fmla="*/ 0 h 10000"/>
                  <a:gd name="connsiteX64" fmla="*/ 1237 w 10000"/>
                  <a:gd name="connsiteY64" fmla="*/ 0 h 10000"/>
                  <a:gd name="connsiteX65" fmla="*/ 1237 w 10000"/>
                  <a:gd name="connsiteY65" fmla="*/ 479 h 10000"/>
                  <a:gd name="connsiteX66" fmla="*/ 1237 w 10000"/>
                  <a:gd name="connsiteY66" fmla="*/ 1096 h 10000"/>
                  <a:gd name="connsiteX67" fmla="*/ 433 w 10000"/>
                  <a:gd name="connsiteY67" fmla="*/ 1096 h 10000"/>
                  <a:gd name="connsiteX68" fmla="*/ 433 w 10000"/>
                  <a:gd name="connsiteY68" fmla="*/ 1369 h 10000"/>
                  <a:gd name="connsiteX0" fmla="*/ 433 w 10000"/>
                  <a:gd name="connsiteY0" fmla="*/ 1369 h 10000"/>
                  <a:gd name="connsiteX1" fmla="*/ 6675 w 10000"/>
                  <a:gd name="connsiteY1" fmla="*/ 6715 h 10000"/>
                  <a:gd name="connsiteX2" fmla="*/ 6234 w 10000"/>
                  <a:gd name="connsiteY2" fmla="*/ 6927 h 10000"/>
                  <a:gd name="connsiteX3" fmla="*/ 5864 w 10000"/>
                  <a:gd name="connsiteY3" fmla="*/ 6706 h 10000"/>
                  <a:gd name="connsiteX4" fmla="*/ 5325 w 10000"/>
                  <a:gd name="connsiteY4" fmla="*/ 6572 h 10000"/>
                  <a:gd name="connsiteX5" fmla="*/ 5058 w 10000"/>
                  <a:gd name="connsiteY5" fmla="*/ 6873 h 10000"/>
                  <a:gd name="connsiteX6" fmla="*/ 4396 w 10000"/>
                  <a:gd name="connsiteY6" fmla="*/ 7104 h 10000"/>
                  <a:gd name="connsiteX7" fmla="*/ 3972 w 10000"/>
                  <a:gd name="connsiteY7" fmla="*/ 7102 h 10000"/>
                  <a:gd name="connsiteX8" fmla="*/ 3044 w 10000"/>
                  <a:gd name="connsiteY8" fmla="*/ 6906 h 10000"/>
                  <a:gd name="connsiteX9" fmla="*/ 2796 w 10000"/>
                  <a:gd name="connsiteY9" fmla="*/ 7012 h 10000"/>
                  <a:gd name="connsiteX10" fmla="*/ 2177 w 10000"/>
                  <a:gd name="connsiteY10" fmla="*/ 6775 h 10000"/>
                  <a:gd name="connsiteX11" fmla="*/ 1903 w 10000"/>
                  <a:gd name="connsiteY11" fmla="*/ 6419 h 10000"/>
                  <a:gd name="connsiteX12" fmla="*/ 1449 w 10000"/>
                  <a:gd name="connsiteY12" fmla="*/ 6516 h 10000"/>
                  <a:gd name="connsiteX13" fmla="*/ 1324 w 10000"/>
                  <a:gd name="connsiteY13" fmla="*/ 6727 h 10000"/>
                  <a:gd name="connsiteX14" fmla="*/ 845 w 10000"/>
                  <a:gd name="connsiteY14" fmla="*/ 6817 h 10000"/>
                  <a:gd name="connsiteX15" fmla="*/ 526 w 10000"/>
                  <a:gd name="connsiteY15" fmla="*/ 6809 h 10000"/>
                  <a:gd name="connsiteX16" fmla="*/ 354 w 10000"/>
                  <a:gd name="connsiteY16" fmla="*/ 6976 h 10000"/>
                  <a:gd name="connsiteX17" fmla="*/ 56 w 10000"/>
                  <a:gd name="connsiteY17" fmla="*/ 6713 h 10000"/>
                  <a:gd name="connsiteX18" fmla="*/ 0 w 10000"/>
                  <a:gd name="connsiteY18" fmla="*/ 7191 h 10000"/>
                  <a:gd name="connsiteX19" fmla="*/ 106 w 10000"/>
                  <a:gd name="connsiteY19" fmla="*/ 7260 h 10000"/>
                  <a:gd name="connsiteX20" fmla="*/ 538 w 10000"/>
                  <a:gd name="connsiteY20" fmla="*/ 7294 h 10000"/>
                  <a:gd name="connsiteX21" fmla="*/ 596 w 10000"/>
                  <a:gd name="connsiteY21" fmla="*/ 7430 h 10000"/>
                  <a:gd name="connsiteX22" fmla="*/ 1075 w 10000"/>
                  <a:gd name="connsiteY22" fmla="*/ 7466 h 10000"/>
                  <a:gd name="connsiteX23" fmla="*/ 1346 w 10000"/>
                  <a:gd name="connsiteY23" fmla="*/ 7603 h 10000"/>
                  <a:gd name="connsiteX24" fmla="*/ 1397 w 10000"/>
                  <a:gd name="connsiteY24" fmla="*/ 7843 h 10000"/>
                  <a:gd name="connsiteX25" fmla="*/ 2260 w 10000"/>
                  <a:gd name="connsiteY25" fmla="*/ 8253 h 10000"/>
                  <a:gd name="connsiteX26" fmla="*/ 2475 w 10000"/>
                  <a:gd name="connsiteY26" fmla="*/ 8665 h 10000"/>
                  <a:gd name="connsiteX27" fmla="*/ 3064 w 10000"/>
                  <a:gd name="connsiteY27" fmla="*/ 8871 h 10000"/>
                  <a:gd name="connsiteX28" fmla="*/ 3280 w 10000"/>
                  <a:gd name="connsiteY28" fmla="*/ 9142 h 10000"/>
                  <a:gd name="connsiteX29" fmla="*/ 3709 w 10000"/>
                  <a:gd name="connsiteY29" fmla="*/ 9487 h 10000"/>
                  <a:gd name="connsiteX30" fmla="*/ 4034 w 10000"/>
                  <a:gd name="connsiteY30" fmla="*/ 9588 h 10000"/>
                  <a:gd name="connsiteX31" fmla="*/ 4248 w 10000"/>
                  <a:gd name="connsiteY31" fmla="*/ 9487 h 10000"/>
                  <a:gd name="connsiteX32" fmla="*/ 4785 w 10000"/>
                  <a:gd name="connsiteY32" fmla="*/ 9521 h 10000"/>
                  <a:gd name="connsiteX33" fmla="*/ 5002 w 10000"/>
                  <a:gd name="connsiteY33" fmla="*/ 9452 h 10000"/>
                  <a:gd name="connsiteX34" fmla="*/ 5967 w 10000"/>
                  <a:gd name="connsiteY34" fmla="*/ 9967 h 10000"/>
                  <a:gd name="connsiteX35" fmla="*/ 6021 w 10000"/>
                  <a:gd name="connsiteY35" fmla="*/ 9967 h 10000"/>
                  <a:gd name="connsiteX36" fmla="*/ 6130 w 10000"/>
                  <a:gd name="connsiteY36" fmla="*/ 9898 h 10000"/>
                  <a:gd name="connsiteX37" fmla="*/ 6823 w 10000"/>
                  <a:gd name="connsiteY37" fmla="*/ 9898 h 10000"/>
                  <a:gd name="connsiteX38" fmla="*/ 6936 w 10000"/>
                  <a:gd name="connsiteY38" fmla="*/ 10000 h 10000"/>
                  <a:gd name="connsiteX39" fmla="*/ 7526 w 10000"/>
                  <a:gd name="connsiteY39" fmla="*/ 9862 h 10000"/>
                  <a:gd name="connsiteX40" fmla="*/ 8062 w 10000"/>
                  <a:gd name="connsiteY40" fmla="*/ 9862 h 10000"/>
                  <a:gd name="connsiteX41" fmla="*/ 8438 w 10000"/>
                  <a:gd name="connsiteY41" fmla="*/ 9726 h 10000"/>
                  <a:gd name="connsiteX42" fmla="*/ 8871 w 10000"/>
                  <a:gd name="connsiteY42" fmla="*/ 9452 h 10000"/>
                  <a:gd name="connsiteX43" fmla="*/ 10000 w 10000"/>
                  <a:gd name="connsiteY43" fmla="*/ 9452 h 10000"/>
                  <a:gd name="connsiteX44" fmla="*/ 10000 w 10000"/>
                  <a:gd name="connsiteY44" fmla="*/ 9076 h 10000"/>
                  <a:gd name="connsiteX45" fmla="*/ 9409 w 10000"/>
                  <a:gd name="connsiteY45" fmla="*/ 8905 h 10000"/>
                  <a:gd name="connsiteX46" fmla="*/ 9083 w 10000"/>
                  <a:gd name="connsiteY46" fmla="*/ 8357 h 10000"/>
                  <a:gd name="connsiteX47" fmla="*/ 8655 w 10000"/>
                  <a:gd name="connsiteY47" fmla="*/ 8151 h 10000"/>
                  <a:gd name="connsiteX48" fmla="*/ 8385 w 10000"/>
                  <a:gd name="connsiteY48" fmla="*/ 7876 h 10000"/>
                  <a:gd name="connsiteX49" fmla="*/ 7687 w 10000"/>
                  <a:gd name="connsiteY49" fmla="*/ 7672 h 10000"/>
                  <a:gd name="connsiteX50" fmla="*/ 7848 w 10000"/>
                  <a:gd name="connsiteY50" fmla="*/ 7603 h 10000"/>
                  <a:gd name="connsiteX51" fmla="*/ 7848 w 10000"/>
                  <a:gd name="connsiteY51" fmla="*/ 7430 h 10000"/>
                  <a:gd name="connsiteX52" fmla="*/ 8334 w 10000"/>
                  <a:gd name="connsiteY52" fmla="*/ 7430 h 10000"/>
                  <a:gd name="connsiteX53" fmla="*/ 8599 w 10000"/>
                  <a:gd name="connsiteY53" fmla="*/ 7294 h 10000"/>
                  <a:gd name="connsiteX54" fmla="*/ 8655 w 10000"/>
                  <a:gd name="connsiteY54" fmla="*/ 6302 h 10000"/>
                  <a:gd name="connsiteX55" fmla="*/ 8707 w 10000"/>
                  <a:gd name="connsiteY55" fmla="*/ 6336 h 10000"/>
                  <a:gd name="connsiteX56" fmla="*/ 8517 w 10000"/>
                  <a:gd name="connsiteY56" fmla="*/ 6398 h 10000"/>
                  <a:gd name="connsiteX57" fmla="*/ 8440 w 10000"/>
                  <a:gd name="connsiteY57" fmla="*/ 6532 h 10000"/>
                  <a:gd name="connsiteX58" fmla="*/ 7961 w 10000"/>
                  <a:gd name="connsiteY58" fmla="*/ 6269 h 10000"/>
                  <a:gd name="connsiteX59" fmla="*/ 7874 w 10000"/>
                  <a:gd name="connsiteY59" fmla="*/ 5556 h 10000"/>
                  <a:gd name="connsiteX60" fmla="*/ 7361 w 10000"/>
                  <a:gd name="connsiteY60" fmla="*/ 5865 h 10000"/>
                  <a:gd name="connsiteX61" fmla="*/ 7369 w 10000"/>
                  <a:gd name="connsiteY61" fmla="*/ 6232 h 10000"/>
                  <a:gd name="connsiteX62" fmla="*/ 6955 w 10000"/>
                  <a:gd name="connsiteY62" fmla="*/ 6453 h 10000"/>
                  <a:gd name="connsiteX63" fmla="*/ 1237 w 10000"/>
                  <a:gd name="connsiteY63" fmla="*/ 0 h 10000"/>
                  <a:gd name="connsiteX64" fmla="*/ 1237 w 10000"/>
                  <a:gd name="connsiteY64" fmla="*/ 479 h 10000"/>
                  <a:gd name="connsiteX65" fmla="*/ 1237 w 10000"/>
                  <a:gd name="connsiteY65" fmla="*/ 1096 h 10000"/>
                  <a:gd name="connsiteX66" fmla="*/ 433 w 10000"/>
                  <a:gd name="connsiteY66" fmla="*/ 1096 h 10000"/>
                  <a:gd name="connsiteX67" fmla="*/ 433 w 10000"/>
                  <a:gd name="connsiteY67" fmla="*/ 1369 h 10000"/>
                  <a:gd name="connsiteX0" fmla="*/ 433 w 10000"/>
                  <a:gd name="connsiteY0" fmla="*/ 890 h 9521"/>
                  <a:gd name="connsiteX1" fmla="*/ 6675 w 10000"/>
                  <a:gd name="connsiteY1" fmla="*/ 6236 h 9521"/>
                  <a:gd name="connsiteX2" fmla="*/ 6234 w 10000"/>
                  <a:gd name="connsiteY2" fmla="*/ 6448 h 9521"/>
                  <a:gd name="connsiteX3" fmla="*/ 5864 w 10000"/>
                  <a:gd name="connsiteY3" fmla="*/ 6227 h 9521"/>
                  <a:gd name="connsiteX4" fmla="*/ 5325 w 10000"/>
                  <a:gd name="connsiteY4" fmla="*/ 6093 h 9521"/>
                  <a:gd name="connsiteX5" fmla="*/ 5058 w 10000"/>
                  <a:gd name="connsiteY5" fmla="*/ 6394 h 9521"/>
                  <a:gd name="connsiteX6" fmla="*/ 4396 w 10000"/>
                  <a:gd name="connsiteY6" fmla="*/ 6625 h 9521"/>
                  <a:gd name="connsiteX7" fmla="*/ 3972 w 10000"/>
                  <a:gd name="connsiteY7" fmla="*/ 6623 h 9521"/>
                  <a:gd name="connsiteX8" fmla="*/ 3044 w 10000"/>
                  <a:gd name="connsiteY8" fmla="*/ 6427 h 9521"/>
                  <a:gd name="connsiteX9" fmla="*/ 2796 w 10000"/>
                  <a:gd name="connsiteY9" fmla="*/ 6533 h 9521"/>
                  <a:gd name="connsiteX10" fmla="*/ 2177 w 10000"/>
                  <a:gd name="connsiteY10" fmla="*/ 6296 h 9521"/>
                  <a:gd name="connsiteX11" fmla="*/ 1903 w 10000"/>
                  <a:gd name="connsiteY11" fmla="*/ 5940 h 9521"/>
                  <a:gd name="connsiteX12" fmla="*/ 1449 w 10000"/>
                  <a:gd name="connsiteY12" fmla="*/ 6037 h 9521"/>
                  <a:gd name="connsiteX13" fmla="*/ 1324 w 10000"/>
                  <a:gd name="connsiteY13" fmla="*/ 6248 h 9521"/>
                  <a:gd name="connsiteX14" fmla="*/ 845 w 10000"/>
                  <a:gd name="connsiteY14" fmla="*/ 6338 h 9521"/>
                  <a:gd name="connsiteX15" fmla="*/ 526 w 10000"/>
                  <a:gd name="connsiteY15" fmla="*/ 6330 h 9521"/>
                  <a:gd name="connsiteX16" fmla="*/ 354 w 10000"/>
                  <a:gd name="connsiteY16" fmla="*/ 6497 h 9521"/>
                  <a:gd name="connsiteX17" fmla="*/ 56 w 10000"/>
                  <a:gd name="connsiteY17" fmla="*/ 6234 h 9521"/>
                  <a:gd name="connsiteX18" fmla="*/ 0 w 10000"/>
                  <a:gd name="connsiteY18" fmla="*/ 6712 h 9521"/>
                  <a:gd name="connsiteX19" fmla="*/ 106 w 10000"/>
                  <a:gd name="connsiteY19" fmla="*/ 6781 h 9521"/>
                  <a:gd name="connsiteX20" fmla="*/ 538 w 10000"/>
                  <a:gd name="connsiteY20" fmla="*/ 6815 h 9521"/>
                  <a:gd name="connsiteX21" fmla="*/ 596 w 10000"/>
                  <a:gd name="connsiteY21" fmla="*/ 6951 h 9521"/>
                  <a:gd name="connsiteX22" fmla="*/ 1075 w 10000"/>
                  <a:gd name="connsiteY22" fmla="*/ 6987 h 9521"/>
                  <a:gd name="connsiteX23" fmla="*/ 1346 w 10000"/>
                  <a:gd name="connsiteY23" fmla="*/ 7124 h 9521"/>
                  <a:gd name="connsiteX24" fmla="*/ 1397 w 10000"/>
                  <a:gd name="connsiteY24" fmla="*/ 7364 h 9521"/>
                  <a:gd name="connsiteX25" fmla="*/ 2260 w 10000"/>
                  <a:gd name="connsiteY25" fmla="*/ 7774 h 9521"/>
                  <a:gd name="connsiteX26" fmla="*/ 2475 w 10000"/>
                  <a:gd name="connsiteY26" fmla="*/ 8186 h 9521"/>
                  <a:gd name="connsiteX27" fmla="*/ 3064 w 10000"/>
                  <a:gd name="connsiteY27" fmla="*/ 8392 h 9521"/>
                  <a:gd name="connsiteX28" fmla="*/ 3280 w 10000"/>
                  <a:gd name="connsiteY28" fmla="*/ 8663 h 9521"/>
                  <a:gd name="connsiteX29" fmla="*/ 3709 w 10000"/>
                  <a:gd name="connsiteY29" fmla="*/ 9008 h 9521"/>
                  <a:gd name="connsiteX30" fmla="*/ 4034 w 10000"/>
                  <a:gd name="connsiteY30" fmla="*/ 9109 h 9521"/>
                  <a:gd name="connsiteX31" fmla="*/ 4248 w 10000"/>
                  <a:gd name="connsiteY31" fmla="*/ 9008 h 9521"/>
                  <a:gd name="connsiteX32" fmla="*/ 4785 w 10000"/>
                  <a:gd name="connsiteY32" fmla="*/ 9042 h 9521"/>
                  <a:gd name="connsiteX33" fmla="*/ 5002 w 10000"/>
                  <a:gd name="connsiteY33" fmla="*/ 8973 h 9521"/>
                  <a:gd name="connsiteX34" fmla="*/ 5967 w 10000"/>
                  <a:gd name="connsiteY34" fmla="*/ 9488 h 9521"/>
                  <a:gd name="connsiteX35" fmla="*/ 6021 w 10000"/>
                  <a:gd name="connsiteY35" fmla="*/ 9488 h 9521"/>
                  <a:gd name="connsiteX36" fmla="*/ 6130 w 10000"/>
                  <a:gd name="connsiteY36" fmla="*/ 9419 h 9521"/>
                  <a:gd name="connsiteX37" fmla="*/ 6823 w 10000"/>
                  <a:gd name="connsiteY37" fmla="*/ 9419 h 9521"/>
                  <a:gd name="connsiteX38" fmla="*/ 6936 w 10000"/>
                  <a:gd name="connsiteY38" fmla="*/ 9521 h 9521"/>
                  <a:gd name="connsiteX39" fmla="*/ 7526 w 10000"/>
                  <a:gd name="connsiteY39" fmla="*/ 9383 h 9521"/>
                  <a:gd name="connsiteX40" fmla="*/ 8062 w 10000"/>
                  <a:gd name="connsiteY40" fmla="*/ 9383 h 9521"/>
                  <a:gd name="connsiteX41" fmla="*/ 8438 w 10000"/>
                  <a:gd name="connsiteY41" fmla="*/ 9247 h 9521"/>
                  <a:gd name="connsiteX42" fmla="*/ 8871 w 10000"/>
                  <a:gd name="connsiteY42" fmla="*/ 8973 h 9521"/>
                  <a:gd name="connsiteX43" fmla="*/ 10000 w 10000"/>
                  <a:gd name="connsiteY43" fmla="*/ 8973 h 9521"/>
                  <a:gd name="connsiteX44" fmla="*/ 10000 w 10000"/>
                  <a:gd name="connsiteY44" fmla="*/ 8597 h 9521"/>
                  <a:gd name="connsiteX45" fmla="*/ 9409 w 10000"/>
                  <a:gd name="connsiteY45" fmla="*/ 8426 h 9521"/>
                  <a:gd name="connsiteX46" fmla="*/ 9083 w 10000"/>
                  <a:gd name="connsiteY46" fmla="*/ 7878 h 9521"/>
                  <a:gd name="connsiteX47" fmla="*/ 8655 w 10000"/>
                  <a:gd name="connsiteY47" fmla="*/ 7672 h 9521"/>
                  <a:gd name="connsiteX48" fmla="*/ 8385 w 10000"/>
                  <a:gd name="connsiteY48" fmla="*/ 7397 h 9521"/>
                  <a:gd name="connsiteX49" fmla="*/ 7687 w 10000"/>
                  <a:gd name="connsiteY49" fmla="*/ 7193 h 9521"/>
                  <a:gd name="connsiteX50" fmla="*/ 7848 w 10000"/>
                  <a:gd name="connsiteY50" fmla="*/ 7124 h 9521"/>
                  <a:gd name="connsiteX51" fmla="*/ 7848 w 10000"/>
                  <a:gd name="connsiteY51" fmla="*/ 6951 h 9521"/>
                  <a:gd name="connsiteX52" fmla="*/ 8334 w 10000"/>
                  <a:gd name="connsiteY52" fmla="*/ 6951 h 9521"/>
                  <a:gd name="connsiteX53" fmla="*/ 8599 w 10000"/>
                  <a:gd name="connsiteY53" fmla="*/ 6815 h 9521"/>
                  <a:gd name="connsiteX54" fmla="*/ 8655 w 10000"/>
                  <a:gd name="connsiteY54" fmla="*/ 5823 h 9521"/>
                  <a:gd name="connsiteX55" fmla="*/ 8707 w 10000"/>
                  <a:gd name="connsiteY55" fmla="*/ 5857 h 9521"/>
                  <a:gd name="connsiteX56" fmla="*/ 8517 w 10000"/>
                  <a:gd name="connsiteY56" fmla="*/ 5919 h 9521"/>
                  <a:gd name="connsiteX57" fmla="*/ 8440 w 10000"/>
                  <a:gd name="connsiteY57" fmla="*/ 6053 h 9521"/>
                  <a:gd name="connsiteX58" fmla="*/ 7961 w 10000"/>
                  <a:gd name="connsiteY58" fmla="*/ 5790 h 9521"/>
                  <a:gd name="connsiteX59" fmla="*/ 7874 w 10000"/>
                  <a:gd name="connsiteY59" fmla="*/ 5077 h 9521"/>
                  <a:gd name="connsiteX60" fmla="*/ 7361 w 10000"/>
                  <a:gd name="connsiteY60" fmla="*/ 5386 h 9521"/>
                  <a:gd name="connsiteX61" fmla="*/ 7369 w 10000"/>
                  <a:gd name="connsiteY61" fmla="*/ 5753 h 9521"/>
                  <a:gd name="connsiteX62" fmla="*/ 6955 w 10000"/>
                  <a:gd name="connsiteY62" fmla="*/ 5974 h 9521"/>
                  <a:gd name="connsiteX63" fmla="*/ 1237 w 10000"/>
                  <a:gd name="connsiteY63" fmla="*/ 0 h 9521"/>
                  <a:gd name="connsiteX64" fmla="*/ 1237 w 10000"/>
                  <a:gd name="connsiteY64" fmla="*/ 617 h 9521"/>
                  <a:gd name="connsiteX65" fmla="*/ 433 w 10000"/>
                  <a:gd name="connsiteY65" fmla="*/ 617 h 9521"/>
                  <a:gd name="connsiteX66" fmla="*/ 433 w 10000"/>
                  <a:gd name="connsiteY66" fmla="*/ 890 h 9521"/>
                  <a:gd name="connsiteX0" fmla="*/ 433 w 10000"/>
                  <a:gd name="connsiteY0" fmla="*/ 287 h 9352"/>
                  <a:gd name="connsiteX1" fmla="*/ 6675 w 10000"/>
                  <a:gd name="connsiteY1" fmla="*/ 5902 h 9352"/>
                  <a:gd name="connsiteX2" fmla="*/ 6234 w 10000"/>
                  <a:gd name="connsiteY2" fmla="*/ 6124 h 9352"/>
                  <a:gd name="connsiteX3" fmla="*/ 5864 w 10000"/>
                  <a:gd name="connsiteY3" fmla="*/ 5892 h 9352"/>
                  <a:gd name="connsiteX4" fmla="*/ 5325 w 10000"/>
                  <a:gd name="connsiteY4" fmla="*/ 5752 h 9352"/>
                  <a:gd name="connsiteX5" fmla="*/ 5058 w 10000"/>
                  <a:gd name="connsiteY5" fmla="*/ 6068 h 9352"/>
                  <a:gd name="connsiteX6" fmla="*/ 4396 w 10000"/>
                  <a:gd name="connsiteY6" fmla="*/ 6310 h 9352"/>
                  <a:gd name="connsiteX7" fmla="*/ 3972 w 10000"/>
                  <a:gd name="connsiteY7" fmla="*/ 6308 h 9352"/>
                  <a:gd name="connsiteX8" fmla="*/ 3044 w 10000"/>
                  <a:gd name="connsiteY8" fmla="*/ 6102 h 9352"/>
                  <a:gd name="connsiteX9" fmla="*/ 2796 w 10000"/>
                  <a:gd name="connsiteY9" fmla="*/ 6214 h 9352"/>
                  <a:gd name="connsiteX10" fmla="*/ 2177 w 10000"/>
                  <a:gd name="connsiteY10" fmla="*/ 5965 h 9352"/>
                  <a:gd name="connsiteX11" fmla="*/ 1903 w 10000"/>
                  <a:gd name="connsiteY11" fmla="*/ 5591 h 9352"/>
                  <a:gd name="connsiteX12" fmla="*/ 1449 w 10000"/>
                  <a:gd name="connsiteY12" fmla="*/ 5693 h 9352"/>
                  <a:gd name="connsiteX13" fmla="*/ 1324 w 10000"/>
                  <a:gd name="connsiteY13" fmla="*/ 5914 h 9352"/>
                  <a:gd name="connsiteX14" fmla="*/ 845 w 10000"/>
                  <a:gd name="connsiteY14" fmla="*/ 6009 h 9352"/>
                  <a:gd name="connsiteX15" fmla="*/ 526 w 10000"/>
                  <a:gd name="connsiteY15" fmla="*/ 6000 h 9352"/>
                  <a:gd name="connsiteX16" fmla="*/ 354 w 10000"/>
                  <a:gd name="connsiteY16" fmla="*/ 6176 h 9352"/>
                  <a:gd name="connsiteX17" fmla="*/ 56 w 10000"/>
                  <a:gd name="connsiteY17" fmla="*/ 5900 h 9352"/>
                  <a:gd name="connsiteX18" fmla="*/ 0 w 10000"/>
                  <a:gd name="connsiteY18" fmla="*/ 6402 h 9352"/>
                  <a:gd name="connsiteX19" fmla="*/ 106 w 10000"/>
                  <a:gd name="connsiteY19" fmla="*/ 6474 h 9352"/>
                  <a:gd name="connsiteX20" fmla="*/ 538 w 10000"/>
                  <a:gd name="connsiteY20" fmla="*/ 6510 h 9352"/>
                  <a:gd name="connsiteX21" fmla="*/ 596 w 10000"/>
                  <a:gd name="connsiteY21" fmla="*/ 6653 h 9352"/>
                  <a:gd name="connsiteX22" fmla="*/ 1075 w 10000"/>
                  <a:gd name="connsiteY22" fmla="*/ 6691 h 9352"/>
                  <a:gd name="connsiteX23" fmla="*/ 1346 w 10000"/>
                  <a:gd name="connsiteY23" fmla="*/ 6834 h 9352"/>
                  <a:gd name="connsiteX24" fmla="*/ 1397 w 10000"/>
                  <a:gd name="connsiteY24" fmla="*/ 7086 h 9352"/>
                  <a:gd name="connsiteX25" fmla="*/ 2260 w 10000"/>
                  <a:gd name="connsiteY25" fmla="*/ 7517 h 9352"/>
                  <a:gd name="connsiteX26" fmla="*/ 2475 w 10000"/>
                  <a:gd name="connsiteY26" fmla="*/ 7950 h 9352"/>
                  <a:gd name="connsiteX27" fmla="*/ 3064 w 10000"/>
                  <a:gd name="connsiteY27" fmla="*/ 8166 h 9352"/>
                  <a:gd name="connsiteX28" fmla="*/ 3280 w 10000"/>
                  <a:gd name="connsiteY28" fmla="*/ 8451 h 9352"/>
                  <a:gd name="connsiteX29" fmla="*/ 3709 w 10000"/>
                  <a:gd name="connsiteY29" fmla="*/ 8813 h 9352"/>
                  <a:gd name="connsiteX30" fmla="*/ 4034 w 10000"/>
                  <a:gd name="connsiteY30" fmla="*/ 8919 h 9352"/>
                  <a:gd name="connsiteX31" fmla="*/ 4248 w 10000"/>
                  <a:gd name="connsiteY31" fmla="*/ 8813 h 9352"/>
                  <a:gd name="connsiteX32" fmla="*/ 4785 w 10000"/>
                  <a:gd name="connsiteY32" fmla="*/ 8849 h 9352"/>
                  <a:gd name="connsiteX33" fmla="*/ 5002 w 10000"/>
                  <a:gd name="connsiteY33" fmla="*/ 8776 h 9352"/>
                  <a:gd name="connsiteX34" fmla="*/ 5967 w 10000"/>
                  <a:gd name="connsiteY34" fmla="*/ 9317 h 9352"/>
                  <a:gd name="connsiteX35" fmla="*/ 6021 w 10000"/>
                  <a:gd name="connsiteY35" fmla="*/ 9317 h 9352"/>
                  <a:gd name="connsiteX36" fmla="*/ 6130 w 10000"/>
                  <a:gd name="connsiteY36" fmla="*/ 9245 h 9352"/>
                  <a:gd name="connsiteX37" fmla="*/ 6823 w 10000"/>
                  <a:gd name="connsiteY37" fmla="*/ 9245 h 9352"/>
                  <a:gd name="connsiteX38" fmla="*/ 6936 w 10000"/>
                  <a:gd name="connsiteY38" fmla="*/ 9352 h 9352"/>
                  <a:gd name="connsiteX39" fmla="*/ 7526 w 10000"/>
                  <a:gd name="connsiteY39" fmla="*/ 9207 h 9352"/>
                  <a:gd name="connsiteX40" fmla="*/ 8062 w 10000"/>
                  <a:gd name="connsiteY40" fmla="*/ 9207 h 9352"/>
                  <a:gd name="connsiteX41" fmla="*/ 8438 w 10000"/>
                  <a:gd name="connsiteY41" fmla="*/ 9064 h 9352"/>
                  <a:gd name="connsiteX42" fmla="*/ 8871 w 10000"/>
                  <a:gd name="connsiteY42" fmla="*/ 8776 h 9352"/>
                  <a:gd name="connsiteX43" fmla="*/ 10000 w 10000"/>
                  <a:gd name="connsiteY43" fmla="*/ 8776 h 9352"/>
                  <a:gd name="connsiteX44" fmla="*/ 10000 w 10000"/>
                  <a:gd name="connsiteY44" fmla="*/ 8382 h 9352"/>
                  <a:gd name="connsiteX45" fmla="*/ 9409 w 10000"/>
                  <a:gd name="connsiteY45" fmla="*/ 8202 h 9352"/>
                  <a:gd name="connsiteX46" fmla="*/ 9083 w 10000"/>
                  <a:gd name="connsiteY46" fmla="*/ 7626 h 9352"/>
                  <a:gd name="connsiteX47" fmla="*/ 8655 w 10000"/>
                  <a:gd name="connsiteY47" fmla="*/ 7410 h 9352"/>
                  <a:gd name="connsiteX48" fmla="*/ 8385 w 10000"/>
                  <a:gd name="connsiteY48" fmla="*/ 7121 h 9352"/>
                  <a:gd name="connsiteX49" fmla="*/ 7687 w 10000"/>
                  <a:gd name="connsiteY49" fmla="*/ 6907 h 9352"/>
                  <a:gd name="connsiteX50" fmla="*/ 7848 w 10000"/>
                  <a:gd name="connsiteY50" fmla="*/ 6834 h 9352"/>
                  <a:gd name="connsiteX51" fmla="*/ 7848 w 10000"/>
                  <a:gd name="connsiteY51" fmla="*/ 6653 h 9352"/>
                  <a:gd name="connsiteX52" fmla="*/ 8334 w 10000"/>
                  <a:gd name="connsiteY52" fmla="*/ 6653 h 9352"/>
                  <a:gd name="connsiteX53" fmla="*/ 8599 w 10000"/>
                  <a:gd name="connsiteY53" fmla="*/ 6510 h 9352"/>
                  <a:gd name="connsiteX54" fmla="*/ 8655 w 10000"/>
                  <a:gd name="connsiteY54" fmla="*/ 5468 h 9352"/>
                  <a:gd name="connsiteX55" fmla="*/ 8707 w 10000"/>
                  <a:gd name="connsiteY55" fmla="*/ 5504 h 9352"/>
                  <a:gd name="connsiteX56" fmla="*/ 8517 w 10000"/>
                  <a:gd name="connsiteY56" fmla="*/ 5569 h 9352"/>
                  <a:gd name="connsiteX57" fmla="*/ 8440 w 10000"/>
                  <a:gd name="connsiteY57" fmla="*/ 5710 h 9352"/>
                  <a:gd name="connsiteX58" fmla="*/ 7961 w 10000"/>
                  <a:gd name="connsiteY58" fmla="*/ 5433 h 9352"/>
                  <a:gd name="connsiteX59" fmla="*/ 7874 w 10000"/>
                  <a:gd name="connsiteY59" fmla="*/ 4684 h 9352"/>
                  <a:gd name="connsiteX60" fmla="*/ 7361 w 10000"/>
                  <a:gd name="connsiteY60" fmla="*/ 5009 h 9352"/>
                  <a:gd name="connsiteX61" fmla="*/ 7369 w 10000"/>
                  <a:gd name="connsiteY61" fmla="*/ 5394 h 9352"/>
                  <a:gd name="connsiteX62" fmla="*/ 6955 w 10000"/>
                  <a:gd name="connsiteY62" fmla="*/ 5627 h 9352"/>
                  <a:gd name="connsiteX63" fmla="*/ 1237 w 10000"/>
                  <a:gd name="connsiteY63" fmla="*/ 0 h 9352"/>
                  <a:gd name="connsiteX64" fmla="*/ 433 w 10000"/>
                  <a:gd name="connsiteY64" fmla="*/ 0 h 9352"/>
                  <a:gd name="connsiteX65" fmla="*/ 433 w 10000"/>
                  <a:gd name="connsiteY65" fmla="*/ 287 h 9352"/>
                  <a:gd name="connsiteX0" fmla="*/ 433 w 10000"/>
                  <a:gd name="connsiteY0" fmla="*/ 307 h 10000"/>
                  <a:gd name="connsiteX1" fmla="*/ 6675 w 10000"/>
                  <a:gd name="connsiteY1" fmla="*/ 6311 h 10000"/>
                  <a:gd name="connsiteX2" fmla="*/ 6234 w 10000"/>
                  <a:gd name="connsiteY2" fmla="*/ 6548 h 10000"/>
                  <a:gd name="connsiteX3" fmla="*/ 5864 w 10000"/>
                  <a:gd name="connsiteY3" fmla="*/ 6300 h 10000"/>
                  <a:gd name="connsiteX4" fmla="*/ 5325 w 10000"/>
                  <a:gd name="connsiteY4" fmla="*/ 6151 h 10000"/>
                  <a:gd name="connsiteX5" fmla="*/ 5058 w 10000"/>
                  <a:gd name="connsiteY5" fmla="*/ 6488 h 10000"/>
                  <a:gd name="connsiteX6" fmla="*/ 4396 w 10000"/>
                  <a:gd name="connsiteY6" fmla="*/ 6747 h 10000"/>
                  <a:gd name="connsiteX7" fmla="*/ 3972 w 10000"/>
                  <a:gd name="connsiteY7" fmla="*/ 6745 h 10000"/>
                  <a:gd name="connsiteX8" fmla="*/ 3044 w 10000"/>
                  <a:gd name="connsiteY8" fmla="*/ 6525 h 10000"/>
                  <a:gd name="connsiteX9" fmla="*/ 2796 w 10000"/>
                  <a:gd name="connsiteY9" fmla="*/ 6645 h 10000"/>
                  <a:gd name="connsiteX10" fmla="*/ 2177 w 10000"/>
                  <a:gd name="connsiteY10" fmla="*/ 6378 h 10000"/>
                  <a:gd name="connsiteX11" fmla="*/ 1903 w 10000"/>
                  <a:gd name="connsiteY11" fmla="*/ 5978 h 10000"/>
                  <a:gd name="connsiteX12" fmla="*/ 1449 w 10000"/>
                  <a:gd name="connsiteY12" fmla="*/ 6087 h 10000"/>
                  <a:gd name="connsiteX13" fmla="*/ 1324 w 10000"/>
                  <a:gd name="connsiteY13" fmla="*/ 6324 h 10000"/>
                  <a:gd name="connsiteX14" fmla="*/ 845 w 10000"/>
                  <a:gd name="connsiteY14" fmla="*/ 6425 h 10000"/>
                  <a:gd name="connsiteX15" fmla="*/ 526 w 10000"/>
                  <a:gd name="connsiteY15" fmla="*/ 6416 h 10000"/>
                  <a:gd name="connsiteX16" fmla="*/ 354 w 10000"/>
                  <a:gd name="connsiteY16" fmla="*/ 6604 h 10000"/>
                  <a:gd name="connsiteX17" fmla="*/ 56 w 10000"/>
                  <a:gd name="connsiteY17" fmla="*/ 6309 h 10000"/>
                  <a:gd name="connsiteX18" fmla="*/ 0 w 10000"/>
                  <a:gd name="connsiteY18" fmla="*/ 6846 h 10000"/>
                  <a:gd name="connsiteX19" fmla="*/ 106 w 10000"/>
                  <a:gd name="connsiteY19" fmla="*/ 6923 h 10000"/>
                  <a:gd name="connsiteX20" fmla="*/ 538 w 10000"/>
                  <a:gd name="connsiteY20" fmla="*/ 6961 h 10000"/>
                  <a:gd name="connsiteX21" fmla="*/ 596 w 10000"/>
                  <a:gd name="connsiteY21" fmla="*/ 7114 h 10000"/>
                  <a:gd name="connsiteX22" fmla="*/ 1075 w 10000"/>
                  <a:gd name="connsiteY22" fmla="*/ 7155 h 10000"/>
                  <a:gd name="connsiteX23" fmla="*/ 1346 w 10000"/>
                  <a:gd name="connsiteY23" fmla="*/ 7308 h 10000"/>
                  <a:gd name="connsiteX24" fmla="*/ 1397 w 10000"/>
                  <a:gd name="connsiteY24" fmla="*/ 7577 h 10000"/>
                  <a:gd name="connsiteX25" fmla="*/ 2260 w 10000"/>
                  <a:gd name="connsiteY25" fmla="*/ 8038 h 10000"/>
                  <a:gd name="connsiteX26" fmla="*/ 2475 w 10000"/>
                  <a:gd name="connsiteY26" fmla="*/ 8501 h 10000"/>
                  <a:gd name="connsiteX27" fmla="*/ 3064 w 10000"/>
                  <a:gd name="connsiteY27" fmla="*/ 8732 h 10000"/>
                  <a:gd name="connsiteX28" fmla="*/ 3280 w 10000"/>
                  <a:gd name="connsiteY28" fmla="*/ 9037 h 10000"/>
                  <a:gd name="connsiteX29" fmla="*/ 3709 w 10000"/>
                  <a:gd name="connsiteY29" fmla="*/ 9424 h 10000"/>
                  <a:gd name="connsiteX30" fmla="*/ 4034 w 10000"/>
                  <a:gd name="connsiteY30" fmla="*/ 9537 h 10000"/>
                  <a:gd name="connsiteX31" fmla="*/ 4248 w 10000"/>
                  <a:gd name="connsiteY31" fmla="*/ 9424 h 10000"/>
                  <a:gd name="connsiteX32" fmla="*/ 4785 w 10000"/>
                  <a:gd name="connsiteY32" fmla="*/ 9462 h 10000"/>
                  <a:gd name="connsiteX33" fmla="*/ 5002 w 10000"/>
                  <a:gd name="connsiteY33" fmla="*/ 9384 h 10000"/>
                  <a:gd name="connsiteX34" fmla="*/ 5967 w 10000"/>
                  <a:gd name="connsiteY34" fmla="*/ 9963 h 10000"/>
                  <a:gd name="connsiteX35" fmla="*/ 6021 w 10000"/>
                  <a:gd name="connsiteY35" fmla="*/ 9963 h 10000"/>
                  <a:gd name="connsiteX36" fmla="*/ 6130 w 10000"/>
                  <a:gd name="connsiteY36" fmla="*/ 9886 h 10000"/>
                  <a:gd name="connsiteX37" fmla="*/ 6823 w 10000"/>
                  <a:gd name="connsiteY37" fmla="*/ 9886 h 10000"/>
                  <a:gd name="connsiteX38" fmla="*/ 6936 w 10000"/>
                  <a:gd name="connsiteY38" fmla="*/ 10000 h 10000"/>
                  <a:gd name="connsiteX39" fmla="*/ 7526 w 10000"/>
                  <a:gd name="connsiteY39" fmla="*/ 9845 h 10000"/>
                  <a:gd name="connsiteX40" fmla="*/ 8062 w 10000"/>
                  <a:gd name="connsiteY40" fmla="*/ 9845 h 10000"/>
                  <a:gd name="connsiteX41" fmla="*/ 8438 w 10000"/>
                  <a:gd name="connsiteY41" fmla="*/ 9692 h 10000"/>
                  <a:gd name="connsiteX42" fmla="*/ 8871 w 10000"/>
                  <a:gd name="connsiteY42" fmla="*/ 9384 h 10000"/>
                  <a:gd name="connsiteX43" fmla="*/ 10000 w 10000"/>
                  <a:gd name="connsiteY43" fmla="*/ 9384 h 10000"/>
                  <a:gd name="connsiteX44" fmla="*/ 10000 w 10000"/>
                  <a:gd name="connsiteY44" fmla="*/ 8963 h 10000"/>
                  <a:gd name="connsiteX45" fmla="*/ 9409 w 10000"/>
                  <a:gd name="connsiteY45" fmla="*/ 8770 h 10000"/>
                  <a:gd name="connsiteX46" fmla="*/ 9083 w 10000"/>
                  <a:gd name="connsiteY46" fmla="*/ 8154 h 10000"/>
                  <a:gd name="connsiteX47" fmla="*/ 8655 w 10000"/>
                  <a:gd name="connsiteY47" fmla="*/ 7923 h 10000"/>
                  <a:gd name="connsiteX48" fmla="*/ 8385 w 10000"/>
                  <a:gd name="connsiteY48" fmla="*/ 7614 h 10000"/>
                  <a:gd name="connsiteX49" fmla="*/ 7687 w 10000"/>
                  <a:gd name="connsiteY49" fmla="*/ 7386 h 10000"/>
                  <a:gd name="connsiteX50" fmla="*/ 7848 w 10000"/>
                  <a:gd name="connsiteY50" fmla="*/ 7308 h 10000"/>
                  <a:gd name="connsiteX51" fmla="*/ 7848 w 10000"/>
                  <a:gd name="connsiteY51" fmla="*/ 7114 h 10000"/>
                  <a:gd name="connsiteX52" fmla="*/ 8334 w 10000"/>
                  <a:gd name="connsiteY52" fmla="*/ 7114 h 10000"/>
                  <a:gd name="connsiteX53" fmla="*/ 8599 w 10000"/>
                  <a:gd name="connsiteY53" fmla="*/ 6961 h 10000"/>
                  <a:gd name="connsiteX54" fmla="*/ 8655 w 10000"/>
                  <a:gd name="connsiteY54" fmla="*/ 5847 h 10000"/>
                  <a:gd name="connsiteX55" fmla="*/ 8707 w 10000"/>
                  <a:gd name="connsiteY55" fmla="*/ 5885 h 10000"/>
                  <a:gd name="connsiteX56" fmla="*/ 8517 w 10000"/>
                  <a:gd name="connsiteY56" fmla="*/ 5955 h 10000"/>
                  <a:gd name="connsiteX57" fmla="*/ 8440 w 10000"/>
                  <a:gd name="connsiteY57" fmla="*/ 6106 h 10000"/>
                  <a:gd name="connsiteX58" fmla="*/ 7961 w 10000"/>
                  <a:gd name="connsiteY58" fmla="*/ 5809 h 10000"/>
                  <a:gd name="connsiteX59" fmla="*/ 7874 w 10000"/>
                  <a:gd name="connsiteY59" fmla="*/ 5009 h 10000"/>
                  <a:gd name="connsiteX60" fmla="*/ 7361 w 10000"/>
                  <a:gd name="connsiteY60" fmla="*/ 5356 h 10000"/>
                  <a:gd name="connsiteX61" fmla="*/ 7369 w 10000"/>
                  <a:gd name="connsiteY61" fmla="*/ 5768 h 10000"/>
                  <a:gd name="connsiteX62" fmla="*/ 6955 w 10000"/>
                  <a:gd name="connsiteY62" fmla="*/ 6017 h 10000"/>
                  <a:gd name="connsiteX63" fmla="*/ 433 w 10000"/>
                  <a:gd name="connsiteY63" fmla="*/ 0 h 10000"/>
                  <a:gd name="connsiteX64" fmla="*/ 433 w 10000"/>
                  <a:gd name="connsiteY64" fmla="*/ 307 h 10000"/>
                  <a:gd name="connsiteX0" fmla="*/ 433 w 10000"/>
                  <a:gd name="connsiteY0" fmla="*/ 49 h 9742"/>
                  <a:gd name="connsiteX1" fmla="*/ 6675 w 10000"/>
                  <a:gd name="connsiteY1" fmla="*/ 6053 h 9742"/>
                  <a:gd name="connsiteX2" fmla="*/ 6234 w 10000"/>
                  <a:gd name="connsiteY2" fmla="*/ 6290 h 9742"/>
                  <a:gd name="connsiteX3" fmla="*/ 5864 w 10000"/>
                  <a:gd name="connsiteY3" fmla="*/ 6042 h 9742"/>
                  <a:gd name="connsiteX4" fmla="*/ 5325 w 10000"/>
                  <a:gd name="connsiteY4" fmla="*/ 5893 h 9742"/>
                  <a:gd name="connsiteX5" fmla="*/ 5058 w 10000"/>
                  <a:gd name="connsiteY5" fmla="*/ 6230 h 9742"/>
                  <a:gd name="connsiteX6" fmla="*/ 4396 w 10000"/>
                  <a:gd name="connsiteY6" fmla="*/ 6489 h 9742"/>
                  <a:gd name="connsiteX7" fmla="*/ 3972 w 10000"/>
                  <a:gd name="connsiteY7" fmla="*/ 6487 h 9742"/>
                  <a:gd name="connsiteX8" fmla="*/ 3044 w 10000"/>
                  <a:gd name="connsiteY8" fmla="*/ 6267 h 9742"/>
                  <a:gd name="connsiteX9" fmla="*/ 2796 w 10000"/>
                  <a:gd name="connsiteY9" fmla="*/ 6387 h 9742"/>
                  <a:gd name="connsiteX10" fmla="*/ 2177 w 10000"/>
                  <a:gd name="connsiteY10" fmla="*/ 6120 h 9742"/>
                  <a:gd name="connsiteX11" fmla="*/ 1903 w 10000"/>
                  <a:gd name="connsiteY11" fmla="*/ 5720 h 9742"/>
                  <a:gd name="connsiteX12" fmla="*/ 1449 w 10000"/>
                  <a:gd name="connsiteY12" fmla="*/ 5829 h 9742"/>
                  <a:gd name="connsiteX13" fmla="*/ 1324 w 10000"/>
                  <a:gd name="connsiteY13" fmla="*/ 6066 h 9742"/>
                  <a:gd name="connsiteX14" fmla="*/ 845 w 10000"/>
                  <a:gd name="connsiteY14" fmla="*/ 6167 h 9742"/>
                  <a:gd name="connsiteX15" fmla="*/ 526 w 10000"/>
                  <a:gd name="connsiteY15" fmla="*/ 6158 h 9742"/>
                  <a:gd name="connsiteX16" fmla="*/ 354 w 10000"/>
                  <a:gd name="connsiteY16" fmla="*/ 6346 h 9742"/>
                  <a:gd name="connsiteX17" fmla="*/ 56 w 10000"/>
                  <a:gd name="connsiteY17" fmla="*/ 6051 h 9742"/>
                  <a:gd name="connsiteX18" fmla="*/ 0 w 10000"/>
                  <a:gd name="connsiteY18" fmla="*/ 6588 h 9742"/>
                  <a:gd name="connsiteX19" fmla="*/ 106 w 10000"/>
                  <a:gd name="connsiteY19" fmla="*/ 6665 h 9742"/>
                  <a:gd name="connsiteX20" fmla="*/ 538 w 10000"/>
                  <a:gd name="connsiteY20" fmla="*/ 6703 h 9742"/>
                  <a:gd name="connsiteX21" fmla="*/ 596 w 10000"/>
                  <a:gd name="connsiteY21" fmla="*/ 6856 h 9742"/>
                  <a:gd name="connsiteX22" fmla="*/ 1075 w 10000"/>
                  <a:gd name="connsiteY22" fmla="*/ 6897 h 9742"/>
                  <a:gd name="connsiteX23" fmla="*/ 1346 w 10000"/>
                  <a:gd name="connsiteY23" fmla="*/ 7050 h 9742"/>
                  <a:gd name="connsiteX24" fmla="*/ 1397 w 10000"/>
                  <a:gd name="connsiteY24" fmla="*/ 7319 h 9742"/>
                  <a:gd name="connsiteX25" fmla="*/ 2260 w 10000"/>
                  <a:gd name="connsiteY25" fmla="*/ 7780 h 9742"/>
                  <a:gd name="connsiteX26" fmla="*/ 2475 w 10000"/>
                  <a:gd name="connsiteY26" fmla="*/ 8243 h 9742"/>
                  <a:gd name="connsiteX27" fmla="*/ 3064 w 10000"/>
                  <a:gd name="connsiteY27" fmla="*/ 8474 h 9742"/>
                  <a:gd name="connsiteX28" fmla="*/ 3280 w 10000"/>
                  <a:gd name="connsiteY28" fmla="*/ 8779 h 9742"/>
                  <a:gd name="connsiteX29" fmla="*/ 3709 w 10000"/>
                  <a:gd name="connsiteY29" fmla="*/ 9166 h 9742"/>
                  <a:gd name="connsiteX30" fmla="*/ 4034 w 10000"/>
                  <a:gd name="connsiteY30" fmla="*/ 9279 h 9742"/>
                  <a:gd name="connsiteX31" fmla="*/ 4248 w 10000"/>
                  <a:gd name="connsiteY31" fmla="*/ 9166 h 9742"/>
                  <a:gd name="connsiteX32" fmla="*/ 4785 w 10000"/>
                  <a:gd name="connsiteY32" fmla="*/ 9204 h 9742"/>
                  <a:gd name="connsiteX33" fmla="*/ 5002 w 10000"/>
                  <a:gd name="connsiteY33" fmla="*/ 9126 h 9742"/>
                  <a:gd name="connsiteX34" fmla="*/ 5967 w 10000"/>
                  <a:gd name="connsiteY34" fmla="*/ 9705 h 9742"/>
                  <a:gd name="connsiteX35" fmla="*/ 6021 w 10000"/>
                  <a:gd name="connsiteY35" fmla="*/ 9705 h 9742"/>
                  <a:gd name="connsiteX36" fmla="*/ 6130 w 10000"/>
                  <a:gd name="connsiteY36" fmla="*/ 9628 h 9742"/>
                  <a:gd name="connsiteX37" fmla="*/ 6823 w 10000"/>
                  <a:gd name="connsiteY37" fmla="*/ 9628 h 9742"/>
                  <a:gd name="connsiteX38" fmla="*/ 6936 w 10000"/>
                  <a:gd name="connsiteY38" fmla="*/ 9742 h 9742"/>
                  <a:gd name="connsiteX39" fmla="*/ 7526 w 10000"/>
                  <a:gd name="connsiteY39" fmla="*/ 9587 h 9742"/>
                  <a:gd name="connsiteX40" fmla="*/ 8062 w 10000"/>
                  <a:gd name="connsiteY40" fmla="*/ 9587 h 9742"/>
                  <a:gd name="connsiteX41" fmla="*/ 8438 w 10000"/>
                  <a:gd name="connsiteY41" fmla="*/ 9434 h 9742"/>
                  <a:gd name="connsiteX42" fmla="*/ 8871 w 10000"/>
                  <a:gd name="connsiteY42" fmla="*/ 9126 h 9742"/>
                  <a:gd name="connsiteX43" fmla="*/ 10000 w 10000"/>
                  <a:gd name="connsiteY43" fmla="*/ 9126 h 9742"/>
                  <a:gd name="connsiteX44" fmla="*/ 10000 w 10000"/>
                  <a:gd name="connsiteY44" fmla="*/ 8705 h 9742"/>
                  <a:gd name="connsiteX45" fmla="*/ 9409 w 10000"/>
                  <a:gd name="connsiteY45" fmla="*/ 8512 h 9742"/>
                  <a:gd name="connsiteX46" fmla="*/ 9083 w 10000"/>
                  <a:gd name="connsiteY46" fmla="*/ 7896 h 9742"/>
                  <a:gd name="connsiteX47" fmla="*/ 8655 w 10000"/>
                  <a:gd name="connsiteY47" fmla="*/ 7665 h 9742"/>
                  <a:gd name="connsiteX48" fmla="*/ 8385 w 10000"/>
                  <a:gd name="connsiteY48" fmla="*/ 7356 h 9742"/>
                  <a:gd name="connsiteX49" fmla="*/ 7687 w 10000"/>
                  <a:gd name="connsiteY49" fmla="*/ 7128 h 9742"/>
                  <a:gd name="connsiteX50" fmla="*/ 7848 w 10000"/>
                  <a:gd name="connsiteY50" fmla="*/ 7050 h 9742"/>
                  <a:gd name="connsiteX51" fmla="*/ 7848 w 10000"/>
                  <a:gd name="connsiteY51" fmla="*/ 6856 h 9742"/>
                  <a:gd name="connsiteX52" fmla="*/ 8334 w 10000"/>
                  <a:gd name="connsiteY52" fmla="*/ 6856 h 9742"/>
                  <a:gd name="connsiteX53" fmla="*/ 8599 w 10000"/>
                  <a:gd name="connsiteY53" fmla="*/ 6703 h 9742"/>
                  <a:gd name="connsiteX54" fmla="*/ 8655 w 10000"/>
                  <a:gd name="connsiteY54" fmla="*/ 5589 h 9742"/>
                  <a:gd name="connsiteX55" fmla="*/ 8707 w 10000"/>
                  <a:gd name="connsiteY55" fmla="*/ 5627 h 9742"/>
                  <a:gd name="connsiteX56" fmla="*/ 8517 w 10000"/>
                  <a:gd name="connsiteY56" fmla="*/ 5697 h 9742"/>
                  <a:gd name="connsiteX57" fmla="*/ 8440 w 10000"/>
                  <a:gd name="connsiteY57" fmla="*/ 5848 h 9742"/>
                  <a:gd name="connsiteX58" fmla="*/ 7961 w 10000"/>
                  <a:gd name="connsiteY58" fmla="*/ 5551 h 9742"/>
                  <a:gd name="connsiteX59" fmla="*/ 7874 w 10000"/>
                  <a:gd name="connsiteY59" fmla="*/ 4751 h 9742"/>
                  <a:gd name="connsiteX60" fmla="*/ 7361 w 10000"/>
                  <a:gd name="connsiteY60" fmla="*/ 5098 h 9742"/>
                  <a:gd name="connsiteX61" fmla="*/ 7369 w 10000"/>
                  <a:gd name="connsiteY61" fmla="*/ 5510 h 9742"/>
                  <a:gd name="connsiteX62" fmla="*/ 6955 w 10000"/>
                  <a:gd name="connsiteY62" fmla="*/ 5759 h 9742"/>
                  <a:gd name="connsiteX63" fmla="*/ 433 w 10000"/>
                  <a:gd name="connsiteY63" fmla="*/ 49 h 9742"/>
                  <a:gd name="connsiteX0" fmla="*/ 6955 w 10000"/>
                  <a:gd name="connsiteY0" fmla="*/ 1035 h 5123"/>
                  <a:gd name="connsiteX1" fmla="*/ 6675 w 10000"/>
                  <a:gd name="connsiteY1" fmla="*/ 1336 h 5123"/>
                  <a:gd name="connsiteX2" fmla="*/ 6234 w 10000"/>
                  <a:gd name="connsiteY2" fmla="*/ 1580 h 5123"/>
                  <a:gd name="connsiteX3" fmla="*/ 5864 w 10000"/>
                  <a:gd name="connsiteY3" fmla="*/ 1325 h 5123"/>
                  <a:gd name="connsiteX4" fmla="*/ 5325 w 10000"/>
                  <a:gd name="connsiteY4" fmla="*/ 1172 h 5123"/>
                  <a:gd name="connsiteX5" fmla="*/ 5058 w 10000"/>
                  <a:gd name="connsiteY5" fmla="*/ 1518 h 5123"/>
                  <a:gd name="connsiteX6" fmla="*/ 4396 w 10000"/>
                  <a:gd name="connsiteY6" fmla="*/ 1784 h 5123"/>
                  <a:gd name="connsiteX7" fmla="*/ 3972 w 10000"/>
                  <a:gd name="connsiteY7" fmla="*/ 1782 h 5123"/>
                  <a:gd name="connsiteX8" fmla="*/ 3044 w 10000"/>
                  <a:gd name="connsiteY8" fmla="*/ 1556 h 5123"/>
                  <a:gd name="connsiteX9" fmla="*/ 2796 w 10000"/>
                  <a:gd name="connsiteY9" fmla="*/ 1679 h 5123"/>
                  <a:gd name="connsiteX10" fmla="*/ 2177 w 10000"/>
                  <a:gd name="connsiteY10" fmla="*/ 1405 h 5123"/>
                  <a:gd name="connsiteX11" fmla="*/ 1903 w 10000"/>
                  <a:gd name="connsiteY11" fmla="*/ 994 h 5123"/>
                  <a:gd name="connsiteX12" fmla="*/ 1449 w 10000"/>
                  <a:gd name="connsiteY12" fmla="*/ 1106 h 5123"/>
                  <a:gd name="connsiteX13" fmla="*/ 1324 w 10000"/>
                  <a:gd name="connsiteY13" fmla="*/ 1350 h 5123"/>
                  <a:gd name="connsiteX14" fmla="*/ 845 w 10000"/>
                  <a:gd name="connsiteY14" fmla="*/ 1453 h 5123"/>
                  <a:gd name="connsiteX15" fmla="*/ 526 w 10000"/>
                  <a:gd name="connsiteY15" fmla="*/ 1444 h 5123"/>
                  <a:gd name="connsiteX16" fmla="*/ 354 w 10000"/>
                  <a:gd name="connsiteY16" fmla="*/ 1637 h 5123"/>
                  <a:gd name="connsiteX17" fmla="*/ 56 w 10000"/>
                  <a:gd name="connsiteY17" fmla="*/ 1334 h 5123"/>
                  <a:gd name="connsiteX18" fmla="*/ 0 w 10000"/>
                  <a:gd name="connsiteY18" fmla="*/ 1885 h 5123"/>
                  <a:gd name="connsiteX19" fmla="*/ 106 w 10000"/>
                  <a:gd name="connsiteY19" fmla="*/ 1965 h 5123"/>
                  <a:gd name="connsiteX20" fmla="*/ 538 w 10000"/>
                  <a:gd name="connsiteY20" fmla="*/ 2004 h 5123"/>
                  <a:gd name="connsiteX21" fmla="*/ 596 w 10000"/>
                  <a:gd name="connsiteY21" fmla="*/ 2161 h 5123"/>
                  <a:gd name="connsiteX22" fmla="*/ 1075 w 10000"/>
                  <a:gd name="connsiteY22" fmla="*/ 2203 h 5123"/>
                  <a:gd name="connsiteX23" fmla="*/ 1346 w 10000"/>
                  <a:gd name="connsiteY23" fmla="*/ 2360 h 5123"/>
                  <a:gd name="connsiteX24" fmla="*/ 1397 w 10000"/>
                  <a:gd name="connsiteY24" fmla="*/ 2636 h 5123"/>
                  <a:gd name="connsiteX25" fmla="*/ 2260 w 10000"/>
                  <a:gd name="connsiteY25" fmla="*/ 3109 h 5123"/>
                  <a:gd name="connsiteX26" fmla="*/ 2475 w 10000"/>
                  <a:gd name="connsiteY26" fmla="*/ 3584 h 5123"/>
                  <a:gd name="connsiteX27" fmla="*/ 3064 w 10000"/>
                  <a:gd name="connsiteY27" fmla="*/ 3821 h 5123"/>
                  <a:gd name="connsiteX28" fmla="*/ 3280 w 10000"/>
                  <a:gd name="connsiteY28" fmla="*/ 4134 h 5123"/>
                  <a:gd name="connsiteX29" fmla="*/ 3709 w 10000"/>
                  <a:gd name="connsiteY29" fmla="*/ 4532 h 5123"/>
                  <a:gd name="connsiteX30" fmla="*/ 4034 w 10000"/>
                  <a:gd name="connsiteY30" fmla="*/ 4648 h 5123"/>
                  <a:gd name="connsiteX31" fmla="*/ 4248 w 10000"/>
                  <a:gd name="connsiteY31" fmla="*/ 4532 h 5123"/>
                  <a:gd name="connsiteX32" fmla="*/ 4785 w 10000"/>
                  <a:gd name="connsiteY32" fmla="*/ 4571 h 5123"/>
                  <a:gd name="connsiteX33" fmla="*/ 5002 w 10000"/>
                  <a:gd name="connsiteY33" fmla="*/ 4491 h 5123"/>
                  <a:gd name="connsiteX34" fmla="*/ 5967 w 10000"/>
                  <a:gd name="connsiteY34" fmla="*/ 5085 h 5123"/>
                  <a:gd name="connsiteX35" fmla="*/ 6021 w 10000"/>
                  <a:gd name="connsiteY35" fmla="*/ 5085 h 5123"/>
                  <a:gd name="connsiteX36" fmla="*/ 6130 w 10000"/>
                  <a:gd name="connsiteY36" fmla="*/ 5006 h 5123"/>
                  <a:gd name="connsiteX37" fmla="*/ 6823 w 10000"/>
                  <a:gd name="connsiteY37" fmla="*/ 5006 h 5123"/>
                  <a:gd name="connsiteX38" fmla="*/ 6936 w 10000"/>
                  <a:gd name="connsiteY38" fmla="*/ 5123 h 5123"/>
                  <a:gd name="connsiteX39" fmla="*/ 7526 w 10000"/>
                  <a:gd name="connsiteY39" fmla="*/ 4964 h 5123"/>
                  <a:gd name="connsiteX40" fmla="*/ 8062 w 10000"/>
                  <a:gd name="connsiteY40" fmla="*/ 4964 h 5123"/>
                  <a:gd name="connsiteX41" fmla="*/ 8438 w 10000"/>
                  <a:gd name="connsiteY41" fmla="*/ 4807 h 5123"/>
                  <a:gd name="connsiteX42" fmla="*/ 8871 w 10000"/>
                  <a:gd name="connsiteY42" fmla="*/ 4491 h 5123"/>
                  <a:gd name="connsiteX43" fmla="*/ 10000 w 10000"/>
                  <a:gd name="connsiteY43" fmla="*/ 4491 h 5123"/>
                  <a:gd name="connsiteX44" fmla="*/ 10000 w 10000"/>
                  <a:gd name="connsiteY44" fmla="*/ 4059 h 5123"/>
                  <a:gd name="connsiteX45" fmla="*/ 9409 w 10000"/>
                  <a:gd name="connsiteY45" fmla="*/ 3860 h 5123"/>
                  <a:gd name="connsiteX46" fmla="*/ 9083 w 10000"/>
                  <a:gd name="connsiteY46" fmla="*/ 3228 h 5123"/>
                  <a:gd name="connsiteX47" fmla="*/ 8655 w 10000"/>
                  <a:gd name="connsiteY47" fmla="*/ 2991 h 5123"/>
                  <a:gd name="connsiteX48" fmla="*/ 8385 w 10000"/>
                  <a:gd name="connsiteY48" fmla="*/ 2674 h 5123"/>
                  <a:gd name="connsiteX49" fmla="*/ 7687 w 10000"/>
                  <a:gd name="connsiteY49" fmla="*/ 2440 h 5123"/>
                  <a:gd name="connsiteX50" fmla="*/ 7848 w 10000"/>
                  <a:gd name="connsiteY50" fmla="*/ 2360 h 5123"/>
                  <a:gd name="connsiteX51" fmla="*/ 7848 w 10000"/>
                  <a:gd name="connsiteY51" fmla="*/ 2161 h 5123"/>
                  <a:gd name="connsiteX52" fmla="*/ 8334 w 10000"/>
                  <a:gd name="connsiteY52" fmla="*/ 2161 h 5123"/>
                  <a:gd name="connsiteX53" fmla="*/ 8599 w 10000"/>
                  <a:gd name="connsiteY53" fmla="*/ 2004 h 5123"/>
                  <a:gd name="connsiteX54" fmla="*/ 8655 w 10000"/>
                  <a:gd name="connsiteY54" fmla="*/ 860 h 5123"/>
                  <a:gd name="connsiteX55" fmla="*/ 8707 w 10000"/>
                  <a:gd name="connsiteY55" fmla="*/ 899 h 5123"/>
                  <a:gd name="connsiteX56" fmla="*/ 8517 w 10000"/>
                  <a:gd name="connsiteY56" fmla="*/ 971 h 5123"/>
                  <a:gd name="connsiteX57" fmla="*/ 8440 w 10000"/>
                  <a:gd name="connsiteY57" fmla="*/ 1126 h 5123"/>
                  <a:gd name="connsiteX58" fmla="*/ 7961 w 10000"/>
                  <a:gd name="connsiteY58" fmla="*/ 821 h 5123"/>
                  <a:gd name="connsiteX59" fmla="*/ 7874 w 10000"/>
                  <a:gd name="connsiteY59" fmla="*/ 0 h 5123"/>
                  <a:gd name="connsiteX60" fmla="*/ 7361 w 10000"/>
                  <a:gd name="connsiteY60" fmla="*/ 356 h 5123"/>
                  <a:gd name="connsiteX61" fmla="*/ 7369 w 10000"/>
                  <a:gd name="connsiteY61" fmla="*/ 779 h 5123"/>
                  <a:gd name="connsiteX62" fmla="*/ 6955 w 10000"/>
                  <a:gd name="connsiteY62" fmla="*/ 1035 h 5123"/>
                  <a:gd name="connsiteX0" fmla="*/ 6955 w 10000"/>
                  <a:gd name="connsiteY0" fmla="*/ 2020 h 10000"/>
                  <a:gd name="connsiteX1" fmla="*/ 6675 w 10000"/>
                  <a:gd name="connsiteY1" fmla="*/ 2608 h 10000"/>
                  <a:gd name="connsiteX2" fmla="*/ 6234 w 10000"/>
                  <a:gd name="connsiteY2" fmla="*/ 3084 h 10000"/>
                  <a:gd name="connsiteX3" fmla="*/ 5864 w 10000"/>
                  <a:gd name="connsiteY3" fmla="*/ 2586 h 10000"/>
                  <a:gd name="connsiteX4" fmla="*/ 5325 w 10000"/>
                  <a:gd name="connsiteY4" fmla="*/ 2288 h 10000"/>
                  <a:gd name="connsiteX5" fmla="*/ 5058 w 10000"/>
                  <a:gd name="connsiteY5" fmla="*/ 2963 h 10000"/>
                  <a:gd name="connsiteX6" fmla="*/ 4396 w 10000"/>
                  <a:gd name="connsiteY6" fmla="*/ 3482 h 10000"/>
                  <a:gd name="connsiteX7" fmla="*/ 3972 w 10000"/>
                  <a:gd name="connsiteY7" fmla="*/ 3478 h 10000"/>
                  <a:gd name="connsiteX8" fmla="*/ 3044 w 10000"/>
                  <a:gd name="connsiteY8" fmla="*/ 3037 h 10000"/>
                  <a:gd name="connsiteX9" fmla="*/ 2796 w 10000"/>
                  <a:gd name="connsiteY9" fmla="*/ 3277 h 10000"/>
                  <a:gd name="connsiteX10" fmla="*/ 2177 w 10000"/>
                  <a:gd name="connsiteY10" fmla="*/ 2743 h 10000"/>
                  <a:gd name="connsiteX11" fmla="*/ 1903 w 10000"/>
                  <a:gd name="connsiteY11" fmla="*/ 1940 h 10000"/>
                  <a:gd name="connsiteX12" fmla="*/ 1449 w 10000"/>
                  <a:gd name="connsiteY12" fmla="*/ 2159 h 10000"/>
                  <a:gd name="connsiteX13" fmla="*/ 1324 w 10000"/>
                  <a:gd name="connsiteY13" fmla="*/ 2635 h 10000"/>
                  <a:gd name="connsiteX14" fmla="*/ 845 w 10000"/>
                  <a:gd name="connsiteY14" fmla="*/ 2836 h 10000"/>
                  <a:gd name="connsiteX15" fmla="*/ 526 w 10000"/>
                  <a:gd name="connsiteY15" fmla="*/ 2819 h 10000"/>
                  <a:gd name="connsiteX16" fmla="*/ 354 w 10000"/>
                  <a:gd name="connsiteY16" fmla="*/ 3195 h 10000"/>
                  <a:gd name="connsiteX17" fmla="*/ 56 w 10000"/>
                  <a:gd name="connsiteY17" fmla="*/ 2604 h 10000"/>
                  <a:gd name="connsiteX18" fmla="*/ 0 w 10000"/>
                  <a:gd name="connsiteY18" fmla="*/ 3679 h 10000"/>
                  <a:gd name="connsiteX19" fmla="*/ 106 w 10000"/>
                  <a:gd name="connsiteY19" fmla="*/ 3836 h 10000"/>
                  <a:gd name="connsiteX20" fmla="*/ 538 w 10000"/>
                  <a:gd name="connsiteY20" fmla="*/ 3912 h 10000"/>
                  <a:gd name="connsiteX21" fmla="*/ 596 w 10000"/>
                  <a:gd name="connsiteY21" fmla="*/ 4218 h 10000"/>
                  <a:gd name="connsiteX22" fmla="*/ 1075 w 10000"/>
                  <a:gd name="connsiteY22" fmla="*/ 4300 h 10000"/>
                  <a:gd name="connsiteX23" fmla="*/ 1346 w 10000"/>
                  <a:gd name="connsiteY23" fmla="*/ 4607 h 10000"/>
                  <a:gd name="connsiteX24" fmla="*/ 1397 w 10000"/>
                  <a:gd name="connsiteY24" fmla="*/ 5145 h 10000"/>
                  <a:gd name="connsiteX25" fmla="*/ 2260 w 10000"/>
                  <a:gd name="connsiteY25" fmla="*/ 6069 h 10000"/>
                  <a:gd name="connsiteX26" fmla="*/ 2475 w 10000"/>
                  <a:gd name="connsiteY26" fmla="*/ 6996 h 10000"/>
                  <a:gd name="connsiteX27" fmla="*/ 3064 w 10000"/>
                  <a:gd name="connsiteY27" fmla="*/ 7459 h 10000"/>
                  <a:gd name="connsiteX28" fmla="*/ 3280 w 10000"/>
                  <a:gd name="connsiteY28" fmla="*/ 8069 h 10000"/>
                  <a:gd name="connsiteX29" fmla="*/ 3709 w 10000"/>
                  <a:gd name="connsiteY29" fmla="*/ 8846 h 10000"/>
                  <a:gd name="connsiteX30" fmla="*/ 4034 w 10000"/>
                  <a:gd name="connsiteY30" fmla="*/ 9073 h 10000"/>
                  <a:gd name="connsiteX31" fmla="*/ 4248 w 10000"/>
                  <a:gd name="connsiteY31" fmla="*/ 8846 h 10000"/>
                  <a:gd name="connsiteX32" fmla="*/ 4785 w 10000"/>
                  <a:gd name="connsiteY32" fmla="*/ 8923 h 10000"/>
                  <a:gd name="connsiteX33" fmla="*/ 5002 w 10000"/>
                  <a:gd name="connsiteY33" fmla="*/ 8766 h 10000"/>
                  <a:gd name="connsiteX34" fmla="*/ 5967 w 10000"/>
                  <a:gd name="connsiteY34" fmla="*/ 9926 h 10000"/>
                  <a:gd name="connsiteX35" fmla="*/ 6021 w 10000"/>
                  <a:gd name="connsiteY35" fmla="*/ 9926 h 10000"/>
                  <a:gd name="connsiteX36" fmla="*/ 6130 w 10000"/>
                  <a:gd name="connsiteY36" fmla="*/ 9772 h 10000"/>
                  <a:gd name="connsiteX37" fmla="*/ 6823 w 10000"/>
                  <a:gd name="connsiteY37" fmla="*/ 9772 h 10000"/>
                  <a:gd name="connsiteX38" fmla="*/ 6936 w 10000"/>
                  <a:gd name="connsiteY38" fmla="*/ 10000 h 10000"/>
                  <a:gd name="connsiteX39" fmla="*/ 7526 w 10000"/>
                  <a:gd name="connsiteY39" fmla="*/ 9690 h 10000"/>
                  <a:gd name="connsiteX40" fmla="*/ 8062 w 10000"/>
                  <a:gd name="connsiteY40" fmla="*/ 9690 h 10000"/>
                  <a:gd name="connsiteX41" fmla="*/ 8438 w 10000"/>
                  <a:gd name="connsiteY41" fmla="*/ 9383 h 10000"/>
                  <a:gd name="connsiteX42" fmla="*/ 8871 w 10000"/>
                  <a:gd name="connsiteY42" fmla="*/ 8766 h 10000"/>
                  <a:gd name="connsiteX43" fmla="*/ 10000 w 10000"/>
                  <a:gd name="connsiteY43" fmla="*/ 8766 h 10000"/>
                  <a:gd name="connsiteX44" fmla="*/ 10000 w 10000"/>
                  <a:gd name="connsiteY44" fmla="*/ 7923 h 10000"/>
                  <a:gd name="connsiteX45" fmla="*/ 9409 w 10000"/>
                  <a:gd name="connsiteY45" fmla="*/ 7535 h 10000"/>
                  <a:gd name="connsiteX46" fmla="*/ 9083 w 10000"/>
                  <a:gd name="connsiteY46" fmla="*/ 6301 h 10000"/>
                  <a:gd name="connsiteX47" fmla="*/ 8655 w 10000"/>
                  <a:gd name="connsiteY47" fmla="*/ 5838 h 10000"/>
                  <a:gd name="connsiteX48" fmla="*/ 8385 w 10000"/>
                  <a:gd name="connsiteY48" fmla="*/ 5220 h 10000"/>
                  <a:gd name="connsiteX49" fmla="*/ 7687 w 10000"/>
                  <a:gd name="connsiteY49" fmla="*/ 4763 h 10000"/>
                  <a:gd name="connsiteX50" fmla="*/ 7848 w 10000"/>
                  <a:gd name="connsiteY50" fmla="*/ 4607 h 10000"/>
                  <a:gd name="connsiteX51" fmla="*/ 7848 w 10000"/>
                  <a:gd name="connsiteY51" fmla="*/ 4218 h 10000"/>
                  <a:gd name="connsiteX52" fmla="*/ 8334 w 10000"/>
                  <a:gd name="connsiteY52" fmla="*/ 4218 h 10000"/>
                  <a:gd name="connsiteX53" fmla="*/ 8599 w 10000"/>
                  <a:gd name="connsiteY53" fmla="*/ 3912 h 10000"/>
                  <a:gd name="connsiteX54" fmla="*/ 8655 w 10000"/>
                  <a:gd name="connsiteY54" fmla="*/ 1679 h 10000"/>
                  <a:gd name="connsiteX55" fmla="*/ 8707 w 10000"/>
                  <a:gd name="connsiteY55" fmla="*/ 1755 h 10000"/>
                  <a:gd name="connsiteX56" fmla="*/ 8517 w 10000"/>
                  <a:gd name="connsiteY56" fmla="*/ 1895 h 10000"/>
                  <a:gd name="connsiteX57" fmla="*/ 8440 w 10000"/>
                  <a:gd name="connsiteY57" fmla="*/ 2198 h 10000"/>
                  <a:gd name="connsiteX58" fmla="*/ 7961 w 10000"/>
                  <a:gd name="connsiteY58" fmla="*/ 1603 h 10000"/>
                  <a:gd name="connsiteX59" fmla="*/ 7874 w 10000"/>
                  <a:gd name="connsiteY59" fmla="*/ 0 h 10000"/>
                  <a:gd name="connsiteX60" fmla="*/ 7361 w 10000"/>
                  <a:gd name="connsiteY60" fmla="*/ 695 h 10000"/>
                  <a:gd name="connsiteX61" fmla="*/ 7237 w 10000"/>
                  <a:gd name="connsiteY61" fmla="*/ 1489 h 10000"/>
                  <a:gd name="connsiteX62" fmla="*/ 6955 w 10000"/>
                  <a:gd name="connsiteY62" fmla="*/ 2020 h 10000"/>
                  <a:gd name="connsiteX0" fmla="*/ 6955 w 10000"/>
                  <a:gd name="connsiteY0" fmla="*/ 2020 h 10000"/>
                  <a:gd name="connsiteX1" fmla="*/ 6675 w 10000"/>
                  <a:gd name="connsiteY1" fmla="*/ 2608 h 10000"/>
                  <a:gd name="connsiteX2" fmla="*/ 6234 w 10000"/>
                  <a:gd name="connsiteY2" fmla="*/ 3084 h 10000"/>
                  <a:gd name="connsiteX3" fmla="*/ 5864 w 10000"/>
                  <a:gd name="connsiteY3" fmla="*/ 2586 h 10000"/>
                  <a:gd name="connsiteX4" fmla="*/ 5325 w 10000"/>
                  <a:gd name="connsiteY4" fmla="*/ 2288 h 10000"/>
                  <a:gd name="connsiteX5" fmla="*/ 5058 w 10000"/>
                  <a:gd name="connsiteY5" fmla="*/ 2963 h 10000"/>
                  <a:gd name="connsiteX6" fmla="*/ 4396 w 10000"/>
                  <a:gd name="connsiteY6" fmla="*/ 3482 h 10000"/>
                  <a:gd name="connsiteX7" fmla="*/ 3972 w 10000"/>
                  <a:gd name="connsiteY7" fmla="*/ 3478 h 10000"/>
                  <a:gd name="connsiteX8" fmla="*/ 3044 w 10000"/>
                  <a:gd name="connsiteY8" fmla="*/ 3037 h 10000"/>
                  <a:gd name="connsiteX9" fmla="*/ 2774 w 10000"/>
                  <a:gd name="connsiteY9" fmla="*/ 3182 h 10000"/>
                  <a:gd name="connsiteX10" fmla="*/ 2177 w 10000"/>
                  <a:gd name="connsiteY10" fmla="*/ 2743 h 10000"/>
                  <a:gd name="connsiteX11" fmla="*/ 1903 w 10000"/>
                  <a:gd name="connsiteY11" fmla="*/ 1940 h 10000"/>
                  <a:gd name="connsiteX12" fmla="*/ 1449 w 10000"/>
                  <a:gd name="connsiteY12" fmla="*/ 2159 h 10000"/>
                  <a:gd name="connsiteX13" fmla="*/ 1324 w 10000"/>
                  <a:gd name="connsiteY13" fmla="*/ 2635 h 10000"/>
                  <a:gd name="connsiteX14" fmla="*/ 845 w 10000"/>
                  <a:gd name="connsiteY14" fmla="*/ 2836 h 10000"/>
                  <a:gd name="connsiteX15" fmla="*/ 526 w 10000"/>
                  <a:gd name="connsiteY15" fmla="*/ 2819 h 10000"/>
                  <a:gd name="connsiteX16" fmla="*/ 354 w 10000"/>
                  <a:gd name="connsiteY16" fmla="*/ 3195 h 10000"/>
                  <a:gd name="connsiteX17" fmla="*/ 56 w 10000"/>
                  <a:gd name="connsiteY17" fmla="*/ 2604 h 10000"/>
                  <a:gd name="connsiteX18" fmla="*/ 0 w 10000"/>
                  <a:gd name="connsiteY18" fmla="*/ 3679 h 10000"/>
                  <a:gd name="connsiteX19" fmla="*/ 106 w 10000"/>
                  <a:gd name="connsiteY19" fmla="*/ 3836 h 10000"/>
                  <a:gd name="connsiteX20" fmla="*/ 538 w 10000"/>
                  <a:gd name="connsiteY20" fmla="*/ 3912 h 10000"/>
                  <a:gd name="connsiteX21" fmla="*/ 596 w 10000"/>
                  <a:gd name="connsiteY21" fmla="*/ 4218 h 10000"/>
                  <a:gd name="connsiteX22" fmla="*/ 1075 w 10000"/>
                  <a:gd name="connsiteY22" fmla="*/ 4300 h 10000"/>
                  <a:gd name="connsiteX23" fmla="*/ 1346 w 10000"/>
                  <a:gd name="connsiteY23" fmla="*/ 4607 h 10000"/>
                  <a:gd name="connsiteX24" fmla="*/ 1397 w 10000"/>
                  <a:gd name="connsiteY24" fmla="*/ 5145 h 10000"/>
                  <a:gd name="connsiteX25" fmla="*/ 2260 w 10000"/>
                  <a:gd name="connsiteY25" fmla="*/ 6069 h 10000"/>
                  <a:gd name="connsiteX26" fmla="*/ 2475 w 10000"/>
                  <a:gd name="connsiteY26" fmla="*/ 6996 h 10000"/>
                  <a:gd name="connsiteX27" fmla="*/ 3064 w 10000"/>
                  <a:gd name="connsiteY27" fmla="*/ 7459 h 10000"/>
                  <a:gd name="connsiteX28" fmla="*/ 3280 w 10000"/>
                  <a:gd name="connsiteY28" fmla="*/ 8069 h 10000"/>
                  <a:gd name="connsiteX29" fmla="*/ 3709 w 10000"/>
                  <a:gd name="connsiteY29" fmla="*/ 8846 h 10000"/>
                  <a:gd name="connsiteX30" fmla="*/ 4034 w 10000"/>
                  <a:gd name="connsiteY30" fmla="*/ 9073 h 10000"/>
                  <a:gd name="connsiteX31" fmla="*/ 4248 w 10000"/>
                  <a:gd name="connsiteY31" fmla="*/ 8846 h 10000"/>
                  <a:gd name="connsiteX32" fmla="*/ 4785 w 10000"/>
                  <a:gd name="connsiteY32" fmla="*/ 8923 h 10000"/>
                  <a:gd name="connsiteX33" fmla="*/ 5002 w 10000"/>
                  <a:gd name="connsiteY33" fmla="*/ 8766 h 10000"/>
                  <a:gd name="connsiteX34" fmla="*/ 5967 w 10000"/>
                  <a:gd name="connsiteY34" fmla="*/ 9926 h 10000"/>
                  <a:gd name="connsiteX35" fmla="*/ 6021 w 10000"/>
                  <a:gd name="connsiteY35" fmla="*/ 9926 h 10000"/>
                  <a:gd name="connsiteX36" fmla="*/ 6130 w 10000"/>
                  <a:gd name="connsiteY36" fmla="*/ 9772 h 10000"/>
                  <a:gd name="connsiteX37" fmla="*/ 6823 w 10000"/>
                  <a:gd name="connsiteY37" fmla="*/ 9772 h 10000"/>
                  <a:gd name="connsiteX38" fmla="*/ 6936 w 10000"/>
                  <a:gd name="connsiteY38" fmla="*/ 10000 h 10000"/>
                  <a:gd name="connsiteX39" fmla="*/ 7526 w 10000"/>
                  <a:gd name="connsiteY39" fmla="*/ 9690 h 10000"/>
                  <a:gd name="connsiteX40" fmla="*/ 8062 w 10000"/>
                  <a:gd name="connsiteY40" fmla="*/ 9690 h 10000"/>
                  <a:gd name="connsiteX41" fmla="*/ 8438 w 10000"/>
                  <a:gd name="connsiteY41" fmla="*/ 9383 h 10000"/>
                  <a:gd name="connsiteX42" fmla="*/ 8871 w 10000"/>
                  <a:gd name="connsiteY42" fmla="*/ 8766 h 10000"/>
                  <a:gd name="connsiteX43" fmla="*/ 10000 w 10000"/>
                  <a:gd name="connsiteY43" fmla="*/ 8766 h 10000"/>
                  <a:gd name="connsiteX44" fmla="*/ 10000 w 10000"/>
                  <a:gd name="connsiteY44" fmla="*/ 7923 h 10000"/>
                  <a:gd name="connsiteX45" fmla="*/ 9409 w 10000"/>
                  <a:gd name="connsiteY45" fmla="*/ 7535 h 10000"/>
                  <a:gd name="connsiteX46" fmla="*/ 9083 w 10000"/>
                  <a:gd name="connsiteY46" fmla="*/ 6301 h 10000"/>
                  <a:gd name="connsiteX47" fmla="*/ 8655 w 10000"/>
                  <a:gd name="connsiteY47" fmla="*/ 5838 h 10000"/>
                  <a:gd name="connsiteX48" fmla="*/ 8385 w 10000"/>
                  <a:gd name="connsiteY48" fmla="*/ 5220 h 10000"/>
                  <a:gd name="connsiteX49" fmla="*/ 7687 w 10000"/>
                  <a:gd name="connsiteY49" fmla="*/ 4763 h 10000"/>
                  <a:gd name="connsiteX50" fmla="*/ 7848 w 10000"/>
                  <a:gd name="connsiteY50" fmla="*/ 4607 h 10000"/>
                  <a:gd name="connsiteX51" fmla="*/ 7848 w 10000"/>
                  <a:gd name="connsiteY51" fmla="*/ 4218 h 10000"/>
                  <a:gd name="connsiteX52" fmla="*/ 8334 w 10000"/>
                  <a:gd name="connsiteY52" fmla="*/ 4218 h 10000"/>
                  <a:gd name="connsiteX53" fmla="*/ 8599 w 10000"/>
                  <a:gd name="connsiteY53" fmla="*/ 3912 h 10000"/>
                  <a:gd name="connsiteX54" fmla="*/ 8655 w 10000"/>
                  <a:gd name="connsiteY54" fmla="*/ 1679 h 10000"/>
                  <a:gd name="connsiteX55" fmla="*/ 8707 w 10000"/>
                  <a:gd name="connsiteY55" fmla="*/ 1755 h 10000"/>
                  <a:gd name="connsiteX56" fmla="*/ 8517 w 10000"/>
                  <a:gd name="connsiteY56" fmla="*/ 1895 h 10000"/>
                  <a:gd name="connsiteX57" fmla="*/ 8440 w 10000"/>
                  <a:gd name="connsiteY57" fmla="*/ 2198 h 10000"/>
                  <a:gd name="connsiteX58" fmla="*/ 7961 w 10000"/>
                  <a:gd name="connsiteY58" fmla="*/ 1603 h 10000"/>
                  <a:gd name="connsiteX59" fmla="*/ 7874 w 10000"/>
                  <a:gd name="connsiteY59" fmla="*/ 0 h 10000"/>
                  <a:gd name="connsiteX60" fmla="*/ 7361 w 10000"/>
                  <a:gd name="connsiteY60" fmla="*/ 695 h 10000"/>
                  <a:gd name="connsiteX61" fmla="*/ 7237 w 10000"/>
                  <a:gd name="connsiteY61" fmla="*/ 1489 h 10000"/>
                  <a:gd name="connsiteX62" fmla="*/ 6955 w 10000"/>
                  <a:gd name="connsiteY62" fmla="*/ 2020 h 10000"/>
                  <a:gd name="connsiteX0" fmla="*/ 6955 w 10000"/>
                  <a:gd name="connsiteY0" fmla="*/ 2020 h 10000"/>
                  <a:gd name="connsiteX1" fmla="*/ 6675 w 10000"/>
                  <a:gd name="connsiteY1" fmla="*/ 2608 h 10000"/>
                  <a:gd name="connsiteX2" fmla="*/ 6212 w 10000"/>
                  <a:gd name="connsiteY2" fmla="*/ 2957 h 10000"/>
                  <a:gd name="connsiteX3" fmla="*/ 5864 w 10000"/>
                  <a:gd name="connsiteY3" fmla="*/ 2586 h 10000"/>
                  <a:gd name="connsiteX4" fmla="*/ 5325 w 10000"/>
                  <a:gd name="connsiteY4" fmla="*/ 2288 h 10000"/>
                  <a:gd name="connsiteX5" fmla="*/ 5058 w 10000"/>
                  <a:gd name="connsiteY5" fmla="*/ 2963 h 10000"/>
                  <a:gd name="connsiteX6" fmla="*/ 4396 w 10000"/>
                  <a:gd name="connsiteY6" fmla="*/ 3482 h 10000"/>
                  <a:gd name="connsiteX7" fmla="*/ 3972 w 10000"/>
                  <a:gd name="connsiteY7" fmla="*/ 3478 h 10000"/>
                  <a:gd name="connsiteX8" fmla="*/ 3044 w 10000"/>
                  <a:gd name="connsiteY8" fmla="*/ 3037 h 10000"/>
                  <a:gd name="connsiteX9" fmla="*/ 2774 w 10000"/>
                  <a:gd name="connsiteY9" fmla="*/ 3182 h 10000"/>
                  <a:gd name="connsiteX10" fmla="*/ 2177 w 10000"/>
                  <a:gd name="connsiteY10" fmla="*/ 2743 h 10000"/>
                  <a:gd name="connsiteX11" fmla="*/ 1903 w 10000"/>
                  <a:gd name="connsiteY11" fmla="*/ 1940 h 10000"/>
                  <a:gd name="connsiteX12" fmla="*/ 1449 w 10000"/>
                  <a:gd name="connsiteY12" fmla="*/ 2159 h 10000"/>
                  <a:gd name="connsiteX13" fmla="*/ 1324 w 10000"/>
                  <a:gd name="connsiteY13" fmla="*/ 2635 h 10000"/>
                  <a:gd name="connsiteX14" fmla="*/ 845 w 10000"/>
                  <a:gd name="connsiteY14" fmla="*/ 2836 h 10000"/>
                  <a:gd name="connsiteX15" fmla="*/ 526 w 10000"/>
                  <a:gd name="connsiteY15" fmla="*/ 2819 h 10000"/>
                  <a:gd name="connsiteX16" fmla="*/ 354 w 10000"/>
                  <a:gd name="connsiteY16" fmla="*/ 3195 h 10000"/>
                  <a:gd name="connsiteX17" fmla="*/ 56 w 10000"/>
                  <a:gd name="connsiteY17" fmla="*/ 2604 h 10000"/>
                  <a:gd name="connsiteX18" fmla="*/ 0 w 10000"/>
                  <a:gd name="connsiteY18" fmla="*/ 3679 h 10000"/>
                  <a:gd name="connsiteX19" fmla="*/ 106 w 10000"/>
                  <a:gd name="connsiteY19" fmla="*/ 3836 h 10000"/>
                  <a:gd name="connsiteX20" fmla="*/ 538 w 10000"/>
                  <a:gd name="connsiteY20" fmla="*/ 3912 h 10000"/>
                  <a:gd name="connsiteX21" fmla="*/ 596 w 10000"/>
                  <a:gd name="connsiteY21" fmla="*/ 4218 h 10000"/>
                  <a:gd name="connsiteX22" fmla="*/ 1075 w 10000"/>
                  <a:gd name="connsiteY22" fmla="*/ 4300 h 10000"/>
                  <a:gd name="connsiteX23" fmla="*/ 1346 w 10000"/>
                  <a:gd name="connsiteY23" fmla="*/ 4607 h 10000"/>
                  <a:gd name="connsiteX24" fmla="*/ 1397 w 10000"/>
                  <a:gd name="connsiteY24" fmla="*/ 5145 h 10000"/>
                  <a:gd name="connsiteX25" fmla="*/ 2260 w 10000"/>
                  <a:gd name="connsiteY25" fmla="*/ 6069 h 10000"/>
                  <a:gd name="connsiteX26" fmla="*/ 2475 w 10000"/>
                  <a:gd name="connsiteY26" fmla="*/ 6996 h 10000"/>
                  <a:gd name="connsiteX27" fmla="*/ 3064 w 10000"/>
                  <a:gd name="connsiteY27" fmla="*/ 7459 h 10000"/>
                  <a:gd name="connsiteX28" fmla="*/ 3280 w 10000"/>
                  <a:gd name="connsiteY28" fmla="*/ 8069 h 10000"/>
                  <a:gd name="connsiteX29" fmla="*/ 3709 w 10000"/>
                  <a:gd name="connsiteY29" fmla="*/ 8846 h 10000"/>
                  <a:gd name="connsiteX30" fmla="*/ 4034 w 10000"/>
                  <a:gd name="connsiteY30" fmla="*/ 9073 h 10000"/>
                  <a:gd name="connsiteX31" fmla="*/ 4248 w 10000"/>
                  <a:gd name="connsiteY31" fmla="*/ 8846 h 10000"/>
                  <a:gd name="connsiteX32" fmla="*/ 4785 w 10000"/>
                  <a:gd name="connsiteY32" fmla="*/ 8923 h 10000"/>
                  <a:gd name="connsiteX33" fmla="*/ 5002 w 10000"/>
                  <a:gd name="connsiteY33" fmla="*/ 8766 h 10000"/>
                  <a:gd name="connsiteX34" fmla="*/ 5967 w 10000"/>
                  <a:gd name="connsiteY34" fmla="*/ 9926 h 10000"/>
                  <a:gd name="connsiteX35" fmla="*/ 6021 w 10000"/>
                  <a:gd name="connsiteY35" fmla="*/ 9926 h 10000"/>
                  <a:gd name="connsiteX36" fmla="*/ 6130 w 10000"/>
                  <a:gd name="connsiteY36" fmla="*/ 9772 h 10000"/>
                  <a:gd name="connsiteX37" fmla="*/ 6823 w 10000"/>
                  <a:gd name="connsiteY37" fmla="*/ 9772 h 10000"/>
                  <a:gd name="connsiteX38" fmla="*/ 6936 w 10000"/>
                  <a:gd name="connsiteY38" fmla="*/ 10000 h 10000"/>
                  <a:gd name="connsiteX39" fmla="*/ 7526 w 10000"/>
                  <a:gd name="connsiteY39" fmla="*/ 9690 h 10000"/>
                  <a:gd name="connsiteX40" fmla="*/ 8062 w 10000"/>
                  <a:gd name="connsiteY40" fmla="*/ 9690 h 10000"/>
                  <a:gd name="connsiteX41" fmla="*/ 8438 w 10000"/>
                  <a:gd name="connsiteY41" fmla="*/ 9383 h 10000"/>
                  <a:gd name="connsiteX42" fmla="*/ 8871 w 10000"/>
                  <a:gd name="connsiteY42" fmla="*/ 8766 h 10000"/>
                  <a:gd name="connsiteX43" fmla="*/ 10000 w 10000"/>
                  <a:gd name="connsiteY43" fmla="*/ 8766 h 10000"/>
                  <a:gd name="connsiteX44" fmla="*/ 10000 w 10000"/>
                  <a:gd name="connsiteY44" fmla="*/ 7923 h 10000"/>
                  <a:gd name="connsiteX45" fmla="*/ 9409 w 10000"/>
                  <a:gd name="connsiteY45" fmla="*/ 7535 h 10000"/>
                  <a:gd name="connsiteX46" fmla="*/ 9083 w 10000"/>
                  <a:gd name="connsiteY46" fmla="*/ 6301 h 10000"/>
                  <a:gd name="connsiteX47" fmla="*/ 8655 w 10000"/>
                  <a:gd name="connsiteY47" fmla="*/ 5838 h 10000"/>
                  <a:gd name="connsiteX48" fmla="*/ 8385 w 10000"/>
                  <a:gd name="connsiteY48" fmla="*/ 5220 h 10000"/>
                  <a:gd name="connsiteX49" fmla="*/ 7687 w 10000"/>
                  <a:gd name="connsiteY49" fmla="*/ 4763 h 10000"/>
                  <a:gd name="connsiteX50" fmla="*/ 7848 w 10000"/>
                  <a:gd name="connsiteY50" fmla="*/ 4607 h 10000"/>
                  <a:gd name="connsiteX51" fmla="*/ 7848 w 10000"/>
                  <a:gd name="connsiteY51" fmla="*/ 4218 h 10000"/>
                  <a:gd name="connsiteX52" fmla="*/ 8334 w 10000"/>
                  <a:gd name="connsiteY52" fmla="*/ 4218 h 10000"/>
                  <a:gd name="connsiteX53" fmla="*/ 8599 w 10000"/>
                  <a:gd name="connsiteY53" fmla="*/ 3912 h 10000"/>
                  <a:gd name="connsiteX54" fmla="*/ 8655 w 10000"/>
                  <a:gd name="connsiteY54" fmla="*/ 1679 h 10000"/>
                  <a:gd name="connsiteX55" fmla="*/ 8707 w 10000"/>
                  <a:gd name="connsiteY55" fmla="*/ 1755 h 10000"/>
                  <a:gd name="connsiteX56" fmla="*/ 8517 w 10000"/>
                  <a:gd name="connsiteY56" fmla="*/ 1895 h 10000"/>
                  <a:gd name="connsiteX57" fmla="*/ 8440 w 10000"/>
                  <a:gd name="connsiteY57" fmla="*/ 2198 h 10000"/>
                  <a:gd name="connsiteX58" fmla="*/ 7961 w 10000"/>
                  <a:gd name="connsiteY58" fmla="*/ 1603 h 10000"/>
                  <a:gd name="connsiteX59" fmla="*/ 7874 w 10000"/>
                  <a:gd name="connsiteY59" fmla="*/ 0 h 10000"/>
                  <a:gd name="connsiteX60" fmla="*/ 7361 w 10000"/>
                  <a:gd name="connsiteY60" fmla="*/ 695 h 10000"/>
                  <a:gd name="connsiteX61" fmla="*/ 7237 w 10000"/>
                  <a:gd name="connsiteY61" fmla="*/ 1489 h 10000"/>
                  <a:gd name="connsiteX62" fmla="*/ 6955 w 10000"/>
                  <a:gd name="connsiteY62" fmla="*/ 2020 h 10000"/>
                  <a:gd name="connsiteX0" fmla="*/ 6955 w 10000"/>
                  <a:gd name="connsiteY0" fmla="*/ 2020 h 10000"/>
                  <a:gd name="connsiteX1" fmla="*/ 6675 w 10000"/>
                  <a:gd name="connsiteY1" fmla="*/ 2608 h 10000"/>
                  <a:gd name="connsiteX2" fmla="*/ 6212 w 10000"/>
                  <a:gd name="connsiteY2" fmla="*/ 2957 h 10000"/>
                  <a:gd name="connsiteX3" fmla="*/ 5864 w 10000"/>
                  <a:gd name="connsiteY3" fmla="*/ 2586 h 10000"/>
                  <a:gd name="connsiteX4" fmla="*/ 5325 w 10000"/>
                  <a:gd name="connsiteY4" fmla="*/ 2288 h 10000"/>
                  <a:gd name="connsiteX5" fmla="*/ 5058 w 10000"/>
                  <a:gd name="connsiteY5" fmla="*/ 2963 h 10000"/>
                  <a:gd name="connsiteX6" fmla="*/ 4396 w 10000"/>
                  <a:gd name="connsiteY6" fmla="*/ 3482 h 10000"/>
                  <a:gd name="connsiteX7" fmla="*/ 3972 w 10000"/>
                  <a:gd name="connsiteY7" fmla="*/ 3478 h 10000"/>
                  <a:gd name="connsiteX8" fmla="*/ 3044 w 10000"/>
                  <a:gd name="connsiteY8" fmla="*/ 3037 h 10000"/>
                  <a:gd name="connsiteX9" fmla="*/ 2774 w 10000"/>
                  <a:gd name="connsiteY9" fmla="*/ 3182 h 10000"/>
                  <a:gd name="connsiteX10" fmla="*/ 2177 w 10000"/>
                  <a:gd name="connsiteY10" fmla="*/ 2743 h 10000"/>
                  <a:gd name="connsiteX11" fmla="*/ 1903 w 10000"/>
                  <a:gd name="connsiteY11" fmla="*/ 1940 h 10000"/>
                  <a:gd name="connsiteX12" fmla="*/ 1449 w 10000"/>
                  <a:gd name="connsiteY12" fmla="*/ 2159 h 10000"/>
                  <a:gd name="connsiteX13" fmla="*/ 1324 w 10000"/>
                  <a:gd name="connsiteY13" fmla="*/ 2635 h 10000"/>
                  <a:gd name="connsiteX14" fmla="*/ 845 w 10000"/>
                  <a:gd name="connsiteY14" fmla="*/ 2836 h 10000"/>
                  <a:gd name="connsiteX15" fmla="*/ 526 w 10000"/>
                  <a:gd name="connsiteY15" fmla="*/ 2819 h 10000"/>
                  <a:gd name="connsiteX16" fmla="*/ 354 w 10000"/>
                  <a:gd name="connsiteY16" fmla="*/ 3195 h 10000"/>
                  <a:gd name="connsiteX17" fmla="*/ 56 w 10000"/>
                  <a:gd name="connsiteY17" fmla="*/ 2604 h 10000"/>
                  <a:gd name="connsiteX18" fmla="*/ 0 w 10000"/>
                  <a:gd name="connsiteY18" fmla="*/ 3679 h 10000"/>
                  <a:gd name="connsiteX19" fmla="*/ 106 w 10000"/>
                  <a:gd name="connsiteY19" fmla="*/ 3836 h 10000"/>
                  <a:gd name="connsiteX20" fmla="*/ 538 w 10000"/>
                  <a:gd name="connsiteY20" fmla="*/ 3912 h 10000"/>
                  <a:gd name="connsiteX21" fmla="*/ 596 w 10000"/>
                  <a:gd name="connsiteY21" fmla="*/ 4218 h 10000"/>
                  <a:gd name="connsiteX22" fmla="*/ 1075 w 10000"/>
                  <a:gd name="connsiteY22" fmla="*/ 4300 h 10000"/>
                  <a:gd name="connsiteX23" fmla="*/ 1346 w 10000"/>
                  <a:gd name="connsiteY23" fmla="*/ 4607 h 10000"/>
                  <a:gd name="connsiteX24" fmla="*/ 1397 w 10000"/>
                  <a:gd name="connsiteY24" fmla="*/ 5145 h 10000"/>
                  <a:gd name="connsiteX25" fmla="*/ 2260 w 10000"/>
                  <a:gd name="connsiteY25" fmla="*/ 6069 h 10000"/>
                  <a:gd name="connsiteX26" fmla="*/ 2475 w 10000"/>
                  <a:gd name="connsiteY26" fmla="*/ 6996 h 10000"/>
                  <a:gd name="connsiteX27" fmla="*/ 3064 w 10000"/>
                  <a:gd name="connsiteY27" fmla="*/ 7459 h 10000"/>
                  <a:gd name="connsiteX28" fmla="*/ 3280 w 10000"/>
                  <a:gd name="connsiteY28" fmla="*/ 8069 h 10000"/>
                  <a:gd name="connsiteX29" fmla="*/ 3709 w 10000"/>
                  <a:gd name="connsiteY29" fmla="*/ 8846 h 10000"/>
                  <a:gd name="connsiteX30" fmla="*/ 4034 w 10000"/>
                  <a:gd name="connsiteY30" fmla="*/ 9073 h 10000"/>
                  <a:gd name="connsiteX31" fmla="*/ 4248 w 10000"/>
                  <a:gd name="connsiteY31" fmla="*/ 8846 h 10000"/>
                  <a:gd name="connsiteX32" fmla="*/ 4785 w 10000"/>
                  <a:gd name="connsiteY32" fmla="*/ 8923 h 10000"/>
                  <a:gd name="connsiteX33" fmla="*/ 5002 w 10000"/>
                  <a:gd name="connsiteY33" fmla="*/ 8766 h 10000"/>
                  <a:gd name="connsiteX34" fmla="*/ 5967 w 10000"/>
                  <a:gd name="connsiteY34" fmla="*/ 9926 h 10000"/>
                  <a:gd name="connsiteX35" fmla="*/ 6021 w 10000"/>
                  <a:gd name="connsiteY35" fmla="*/ 9926 h 10000"/>
                  <a:gd name="connsiteX36" fmla="*/ 6130 w 10000"/>
                  <a:gd name="connsiteY36" fmla="*/ 9772 h 10000"/>
                  <a:gd name="connsiteX37" fmla="*/ 6823 w 10000"/>
                  <a:gd name="connsiteY37" fmla="*/ 9772 h 10000"/>
                  <a:gd name="connsiteX38" fmla="*/ 6936 w 10000"/>
                  <a:gd name="connsiteY38" fmla="*/ 10000 h 10000"/>
                  <a:gd name="connsiteX39" fmla="*/ 7526 w 10000"/>
                  <a:gd name="connsiteY39" fmla="*/ 9690 h 10000"/>
                  <a:gd name="connsiteX40" fmla="*/ 8062 w 10000"/>
                  <a:gd name="connsiteY40" fmla="*/ 9690 h 10000"/>
                  <a:gd name="connsiteX41" fmla="*/ 8438 w 10000"/>
                  <a:gd name="connsiteY41" fmla="*/ 9383 h 10000"/>
                  <a:gd name="connsiteX42" fmla="*/ 8871 w 10000"/>
                  <a:gd name="connsiteY42" fmla="*/ 8766 h 10000"/>
                  <a:gd name="connsiteX43" fmla="*/ 10000 w 10000"/>
                  <a:gd name="connsiteY43" fmla="*/ 8766 h 10000"/>
                  <a:gd name="connsiteX44" fmla="*/ 10000 w 10000"/>
                  <a:gd name="connsiteY44" fmla="*/ 7923 h 10000"/>
                  <a:gd name="connsiteX45" fmla="*/ 9409 w 10000"/>
                  <a:gd name="connsiteY45" fmla="*/ 7535 h 10000"/>
                  <a:gd name="connsiteX46" fmla="*/ 9083 w 10000"/>
                  <a:gd name="connsiteY46" fmla="*/ 6301 h 10000"/>
                  <a:gd name="connsiteX47" fmla="*/ 8655 w 10000"/>
                  <a:gd name="connsiteY47" fmla="*/ 5838 h 10000"/>
                  <a:gd name="connsiteX48" fmla="*/ 8385 w 10000"/>
                  <a:gd name="connsiteY48" fmla="*/ 5220 h 10000"/>
                  <a:gd name="connsiteX49" fmla="*/ 7687 w 10000"/>
                  <a:gd name="connsiteY49" fmla="*/ 4763 h 10000"/>
                  <a:gd name="connsiteX50" fmla="*/ 7848 w 10000"/>
                  <a:gd name="connsiteY50" fmla="*/ 4607 h 10000"/>
                  <a:gd name="connsiteX51" fmla="*/ 7848 w 10000"/>
                  <a:gd name="connsiteY51" fmla="*/ 4218 h 10000"/>
                  <a:gd name="connsiteX52" fmla="*/ 8334 w 10000"/>
                  <a:gd name="connsiteY52" fmla="*/ 4218 h 10000"/>
                  <a:gd name="connsiteX53" fmla="*/ 8599 w 10000"/>
                  <a:gd name="connsiteY53" fmla="*/ 3912 h 10000"/>
                  <a:gd name="connsiteX54" fmla="*/ 8655 w 10000"/>
                  <a:gd name="connsiteY54" fmla="*/ 1679 h 10000"/>
                  <a:gd name="connsiteX55" fmla="*/ 8707 w 10000"/>
                  <a:gd name="connsiteY55" fmla="*/ 1755 h 10000"/>
                  <a:gd name="connsiteX56" fmla="*/ 8517 w 10000"/>
                  <a:gd name="connsiteY56" fmla="*/ 1895 h 10000"/>
                  <a:gd name="connsiteX57" fmla="*/ 8440 w 10000"/>
                  <a:gd name="connsiteY57" fmla="*/ 2198 h 10000"/>
                  <a:gd name="connsiteX58" fmla="*/ 7961 w 10000"/>
                  <a:gd name="connsiteY58" fmla="*/ 1603 h 10000"/>
                  <a:gd name="connsiteX59" fmla="*/ 7874 w 10000"/>
                  <a:gd name="connsiteY59" fmla="*/ 0 h 10000"/>
                  <a:gd name="connsiteX60" fmla="*/ 7582 w 10000"/>
                  <a:gd name="connsiteY60" fmla="*/ 379 h 10000"/>
                  <a:gd name="connsiteX61" fmla="*/ 7237 w 10000"/>
                  <a:gd name="connsiteY61" fmla="*/ 1489 h 10000"/>
                  <a:gd name="connsiteX62" fmla="*/ 6955 w 10000"/>
                  <a:gd name="connsiteY62" fmla="*/ 2020 h 10000"/>
                  <a:gd name="connsiteX0" fmla="*/ 6955 w 10000"/>
                  <a:gd name="connsiteY0" fmla="*/ 2020 h 10000"/>
                  <a:gd name="connsiteX1" fmla="*/ 6675 w 10000"/>
                  <a:gd name="connsiteY1" fmla="*/ 2608 h 10000"/>
                  <a:gd name="connsiteX2" fmla="*/ 6212 w 10000"/>
                  <a:gd name="connsiteY2" fmla="*/ 2957 h 10000"/>
                  <a:gd name="connsiteX3" fmla="*/ 5864 w 10000"/>
                  <a:gd name="connsiteY3" fmla="*/ 2586 h 10000"/>
                  <a:gd name="connsiteX4" fmla="*/ 5325 w 10000"/>
                  <a:gd name="connsiteY4" fmla="*/ 2288 h 10000"/>
                  <a:gd name="connsiteX5" fmla="*/ 5058 w 10000"/>
                  <a:gd name="connsiteY5" fmla="*/ 2963 h 10000"/>
                  <a:gd name="connsiteX6" fmla="*/ 4396 w 10000"/>
                  <a:gd name="connsiteY6" fmla="*/ 3482 h 10000"/>
                  <a:gd name="connsiteX7" fmla="*/ 3972 w 10000"/>
                  <a:gd name="connsiteY7" fmla="*/ 3478 h 10000"/>
                  <a:gd name="connsiteX8" fmla="*/ 3044 w 10000"/>
                  <a:gd name="connsiteY8" fmla="*/ 3037 h 10000"/>
                  <a:gd name="connsiteX9" fmla="*/ 2774 w 10000"/>
                  <a:gd name="connsiteY9" fmla="*/ 3182 h 10000"/>
                  <a:gd name="connsiteX10" fmla="*/ 2177 w 10000"/>
                  <a:gd name="connsiteY10" fmla="*/ 2743 h 10000"/>
                  <a:gd name="connsiteX11" fmla="*/ 1903 w 10000"/>
                  <a:gd name="connsiteY11" fmla="*/ 1940 h 10000"/>
                  <a:gd name="connsiteX12" fmla="*/ 1449 w 10000"/>
                  <a:gd name="connsiteY12" fmla="*/ 2159 h 10000"/>
                  <a:gd name="connsiteX13" fmla="*/ 1324 w 10000"/>
                  <a:gd name="connsiteY13" fmla="*/ 2635 h 10000"/>
                  <a:gd name="connsiteX14" fmla="*/ 845 w 10000"/>
                  <a:gd name="connsiteY14" fmla="*/ 2836 h 10000"/>
                  <a:gd name="connsiteX15" fmla="*/ 526 w 10000"/>
                  <a:gd name="connsiteY15" fmla="*/ 2819 h 10000"/>
                  <a:gd name="connsiteX16" fmla="*/ 354 w 10000"/>
                  <a:gd name="connsiteY16" fmla="*/ 3195 h 10000"/>
                  <a:gd name="connsiteX17" fmla="*/ 56 w 10000"/>
                  <a:gd name="connsiteY17" fmla="*/ 2604 h 10000"/>
                  <a:gd name="connsiteX18" fmla="*/ 0 w 10000"/>
                  <a:gd name="connsiteY18" fmla="*/ 3679 h 10000"/>
                  <a:gd name="connsiteX19" fmla="*/ 106 w 10000"/>
                  <a:gd name="connsiteY19" fmla="*/ 3836 h 10000"/>
                  <a:gd name="connsiteX20" fmla="*/ 538 w 10000"/>
                  <a:gd name="connsiteY20" fmla="*/ 3912 h 10000"/>
                  <a:gd name="connsiteX21" fmla="*/ 596 w 10000"/>
                  <a:gd name="connsiteY21" fmla="*/ 4218 h 10000"/>
                  <a:gd name="connsiteX22" fmla="*/ 1075 w 10000"/>
                  <a:gd name="connsiteY22" fmla="*/ 4300 h 10000"/>
                  <a:gd name="connsiteX23" fmla="*/ 1346 w 10000"/>
                  <a:gd name="connsiteY23" fmla="*/ 4607 h 10000"/>
                  <a:gd name="connsiteX24" fmla="*/ 1397 w 10000"/>
                  <a:gd name="connsiteY24" fmla="*/ 5145 h 10000"/>
                  <a:gd name="connsiteX25" fmla="*/ 2260 w 10000"/>
                  <a:gd name="connsiteY25" fmla="*/ 6069 h 10000"/>
                  <a:gd name="connsiteX26" fmla="*/ 2475 w 10000"/>
                  <a:gd name="connsiteY26" fmla="*/ 6996 h 10000"/>
                  <a:gd name="connsiteX27" fmla="*/ 3064 w 10000"/>
                  <a:gd name="connsiteY27" fmla="*/ 7459 h 10000"/>
                  <a:gd name="connsiteX28" fmla="*/ 3280 w 10000"/>
                  <a:gd name="connsiteY28" fmla="*/ 8069 h 10000"/>
                  <a:gd name="connsiteX29" fmla="*/ 3709 w 10000"/>
                  <a:gd name="connsiteY29" fmla="*/ 8846 h 10000"/>
                  <a:gd name="connsiteX30" fmla="*/ 4034 w 10000"/>
                  <a:gd name="connsiteY30" fmla="*/ 9073 h 10000"/>
                  <a:gd name="connsiteX31" fmla="*/ 4248 w 10000"/>
                  <a:gd name="connsiteY31" fmla="*/ 8846 h 10000"/>
                  <a:gd name="connsiteX32" fmla="*/ 4785 w 10000"/>
                  <a:gd name="connsiteY32" fmla="*/ 8923 h 10000"/>
                  <a:gd name="connsiteX33" fmla="*/ 5002 w 10000"/>
                  <a:gd name="connsiteY33" fmla="*/ 8766 h 10000"/>
                  <a:gd name="connsiteX34" fmla="*/ 5967 w 10000"/>
                  <a:gd name="connsiteY34" fmla="*/ 9926 h 10000"/>
                  <a:gd name="connsiteX35" fmla="*/ 6021 w 10000"/>
                  <a:gd name="connsiteY35" fmla="*/ 9926 h 10000"/>
                  <a:gd name="connsiteX36" fmla="*/ 6130 w 10000"/>
                  <a:gd name="connsiteY36" fmla="*/ 9772 h 10000"/>
                  <a:gd name="connsiteX37" fmla="*/ 6823 w 10000"/>
                  <a:gd name="connsiteY37" fmla="*/ 9772 h 10000"/>
                  <a:gd name="connsiteX38" fmla="*/ 6936 w 10000"/>
                  <a:gd name="connsiteY38" fmla="*/ 10000 h 10000"/>
                  <a:gd name="connsiteX39" fmla="*/ 7526 w 10000"/>
                  <a:gd name="connsiteY39" fmla="*/ 9690 h 10000"/>
                  <a:gd name="connsiteX40" fmla="*/ 8062 w 10000"/>
                  <a:gd name="connsiteY40" fmla="*/ 9690 h 10000"/>
                  <a:gd name="connsiteX41" fmla="*/ 8438 w 10000"/>
                  <a:gd name="connsiteY41" fmla="*/ 9383 h 10000"/>
                  <a:gd name="connsiteX42" fmla="*/ 8871 w 10000"/>
                  <a:gd name="connsiteY42" fmla="*/ 8766 h 10000"/>
                  <a:gd name="connsiteX43" fmla="*/ 10000 w 10000"/>
                  <a:gd name="connsiteY43" fmla="*/ 8766 h 10000"/>
                  <a:gd name="connsiteX44" fmla="*/ 10000 w 10000"/>
                  <a:gd name="connsiteY44" fmla="*/ 7923 h 10000"/>
                  <a:gd name="connsiteX45" fmla="*/ 9409 w 10000"/>
                  <a:gd name="connsiteY45" fmla="*/ 7535 h 10000"/>
                  <a:gd name="connsiteX46" fmla="*/ 9083 w 10000"/>
                  <a:gd name="connsiteY46" fmla="*/ 6301 h 10000"/>
                  <a:gd name="connsiteX47" fmla="*/ 8655 w 10000"/>
                  <a:gd name="connsiteY47" fmla="*/ 5838 h 10000"/>
                  <a:gd name="connsiteX48" fmla="*/ 8385 w 10000"/>
                  <a:gd name="connsiteY48" fmla="*/ 5220 h 10000"/>
                  <a:gd name="connsiteX49" fmla="*/ 7687 w 10000"/>
                  <a:gd name="connsiteY49" fmla="*/ 4763 h 10000"/>
                  <a:gd name="connsiteX50" fmla="*/ 7848 w 10000"/>
                  <a:gd name="connsiteY50" fmla="*/ 4607 h 10000"/>
                  <a:gd name="connsiteX51" fmla="*/ 7848 w 10000"/>
                  <a:gd name="connsiteY51" fmla="*/ 4218 h 10000"/>
                  <a:gd name="connsiteX52" fmla="*/ 8334 w 10000"/>
                  <a:gd name="connsiteY52" fmla="*/ 4218 h 10000"/>
                  <a:gd name="connsiteX53" fmla="*/ 8599 w 10000"/>
                  <a:gd name="connsiteY53" fmla="*/ 3912 h 10000"/>
                  <a:gd name="connsiteX54" fmla="*/ 8655 w 10000"/>
                  <a:gd name="connsiteY54" fmla="*/ 1679 h 10000"/>
                  <a:gd name="connsiteX55" fmla="*/ 8707 w 10000"/>
                  <a:gd name="connsiteY55" fmla="*/ 1755 h 10000"/>
                  <a:gd name="connsiteX56" fmla="*/ 8517 w 10000"/>
                  <a:gd name="connsiteY56" fmla="*/ 1895 h 10000"/>
                  <a:gd name="connsiteX57" fmla="*/ 8440 w 10000"/>
                  <a:gd name="connsiteY57" fmla="*/ 2198 h 10000"/>
                  <a:gd name="connsiteX58" fmla="*/ 7961 w 10000"/>
                  <a:gd name="connsiteY58" fmla="*/ 1603 h 10000"/>
                  <a:gd name="connsiteX59" fmla="*/ 7874 w 10000"/>
                  <a:gd name="connsiteY59" fmla="*/ 0 h 10000"/>
                  <a:gd name="connsiteX60" fmla="*/ 7582 w 10000"/>
                  <a:gd name="connsiteY60" fmla="*/ 379 h 10000"/>
                  <a:gd name="connsiteX61" fmla="*/ 7329 w 10000"/>
                  <a:gd name="connsiteY61" fmla="*/ 1075 h 10000"/>
                  <a:gd name="connsiteX62" fmla="*/ 7237 w 10000"/>
                  <a:gd name="connsiteY62" fmla="*/ 1489 h 10000"/>
                  <a:gd name="connsiteX63" fmla="*/ 6955 w 10000"/>
                  <a:gd name="connsiteY63" fmla="*/ 2020 h 10000"/>
                  <a:gd name="connsiteX0" fmla="*/ 6955 w 10000"/>
                  <a:gd name="connsiteY0" fmla="*/ 2020 h 10000"/>
                  <a:gd name="connsiteX1" fmla="*/ 6675 w 10000"/>
                  <a:gd name="connsiteY1" fmla="*/ 2608 h 10000"/>
                  <a:gd name="connsiteX2" fmla="*/ 6212 w 10000"/>
                  <a:gd name="connsiteY2" fmla="*/ 2957 h 10000"/>
                  <a:gd name="connsiteX3" fmla="*/ 5864 w 10000"/>
                  <a:gd name="connsiteY3" fmla="*/ 2586 h 10000"/>
                  <a:gd name="connsiteX4" fmla="*/ 5325 w 10000"/>
                  <a:gd name="connsiteY4" fmla="*/ 2288 h 10000"/>
                  <a:gd name="connsiteX5" fmla="*/ 5058 w 10000"/>
                  <a:gd name="connsiteY5" fmla="*/ 2963 h 10000"/>
                  <a:gd name="connsiteX6" fmla="*/ 4396 w 10000"/>
                  <a:gd name="connsiteY6" fmla="*/ 3482 h 10000"/>
                  <a:gd name="connsiteX7" fmla="*/ 3972 w 10000"/>
                  <a:gd name="connsiteY7" fmla="*/ 3478 h 10000"/>
                  <a:gd name="connsiteX8" fmla="*/ 3044 w 10000"/>
                  <a:gd name="connsiteY8" fmla="*/ 3037 h 10000"/>
                  <a:gd name="connsiteX9" fmla="*/ 2774 w 10000"/>
                  <a:gd name="connsiteY9" fmla="*/ 3182 h 10000"/>
                  <a:gd name="connsiteX10" fmla="*/ 2177 w 10000"/>
                  <a:gd name="connsiteY10" fmla="*/ 2743 h 10000"/>
                  <a:gd name="connsiteX11" fmla="*/ 1903 w 10000"/>
                  <a:gd name="connsiteY11" fmla="*/ 1940 h 10000"/>
                  <a:gd name="connsiteX12" fmla="*/ 1449 w 10000"/>
                  <a:gd name="connsiteY12" fmla="*/ 2159 h 10000"/>
                  <a:gd name="connsiteX13" fmla="*/ 1324 w 10000"/>
                  <a:gd name="connsiteY13" fmla="*/ 2635 h 10000"/>
                  <a:gd name="connsiteX14" fmla="*/ 845 w 10000"/>
                  <a:gd name="connsiteY14" fmla="*/ 2836 h 10000"/>
                  <a:gd name="connsiteX15" fmla="*/ 526 w 10000"/>
                  <a:gd name="connsiteY15" fmla="*/ 2819 h 10000"/>
                  <a:gd name="connsiteX16" fmla="*/ 354 w 10000"/>
                  <a:gd name="connsiteY16" fmla="*/ 3195 h 10000"/>
                  <a:gd name="connsiteX17" fmla="*/ 56 w 10000"/>
                  <a:gd name="connsiteY17" fmla="*/ 2604 h 10000"/>
                  <a:gd name="connsiteX18" fmla="*/ 0 w 10000"/>
                  <a:gd name="connsiteY18" fmla="*/ 3679 h 10000"/>
                  <a:gd name="connsiteX19" fmla="*/ 106 w 10000"/>
                  <a:gd name="connsiteY19" fmla="*/ 3836 h 10000"/>
                  <a:gd name="connsiteX20" fmla="*/ 538 w 10000"/>
                  <a:gd name="connsiteY20" fmla="*/ 3912 h 10000"/>
                  <a:gd name="connsiteX21" fmla="*/ 596 w 10000"/>
                  <a:gd name="connsiteY21" fmla="*/ 4218 h 10000"/>
                  <a:gd name="connsiteX22" fmla="*/ 1075 w 10000"/>
                  <a:gd name="connsiteY22" fmla="*/ 4300 h 10000"/>
                  <a:gd name="connsiteX23" fmla="*/ 1346 w 10000"/>
                  <a:gd name="connsiteY23" fmla="*/ 4607 h 10000"/>
                  <a:gd name="connsiteX24" fmla="*/ 1397 w 10000"/>
                  <a:gd name="connsiteY24" fmla="*/ 5145 h 10000"/>
                  <a:gd name="connsiteX25" fmla="*/ 2260 w 10000"/>
                  <a:gd name="connsiteY25" fmla="*/ 6069 h 10000"/>
                  <a:gd name="connsiteX26" fmla="*/ 2475 w 10000"/>
                  <a:gd name="connsiteY26" fmla="*/ 6996 h 10000"/>
                  <a:gd name="connsiteX27" fmla="*/ 3064 w 10000"/>
                  <a:gd name="connsiteY27" fmla="*/ 7459 h 10000"/>
                  <a:gd name="connsiteX28" fmla="*/ 3280 w 10000"/>
                  <a:gd name="connsiteY28" fmla="*/ 8069 h 10000"/>
                  <a:gd name="connsiteX29" fmla="*/ 3709 w 10000"/>
                  <a:gd name="connsiteY29" fmla="*/ 8846 h 10000"/>
                  <a:gd name="connsiteX30" fmla="*/ 4034 w 10000"/>
                  <a:gd name="connsiteY30" fmla="*/ 9073 h 10000"/>
                  <a:gd name="connsiteX31" fmla="*/ 4248 w 10000"/>
                  <a:gd name="connsiteY31" fmla="*/ 8846 h 10000"/>
                  <a:gd name="connsiteX32" fmla="*/ 4785 w 10000"/>
                  <a:gd name="connsiteY32" fmla="*/ 8923 h 10000"/>
                  <a:gd name="connsiteX33" fmla="*/ 5002 w 10000"/>
                  <a:gd name="connsiteY33" fmla="*/ 8766 h 10000"/>
                  <a:gd name="connsiteX34" fmla="*/ 5967 w 10000"/>
                  <a:gd name="connsiteY34" fmla="*/ 9926 h 10000"/>
                  <a:gd name="connsiteX35" fmla="*/ 6021 w 10000"/>
                  <a:gd name="connsiteY35" fmla="*/ 9926 h 10000"/>
                  <a:gd name="connsiteX36" fmla="*/ 6130 w 10000"/>
                  <a:gd name="connsiteY36" fmla="*/ 9772 h 10000"/>
                  <a:gd name="connsiteX37" fmla="*/ 6823 w 10000"/>
                  <a:gd name="connsiteY37" fmla="*/ 9772 h 10000"/>
                  <a:gd name="connsiteX38" fmla="*/ 6936 w 10000"/>
                  <a:gd name="connsiteY38" fmla="*/ 10000 h 10000"/>
                  <a:gd name="connsiteX39" fmla="*/ 7526 w 10000"/>
                  <a:gd name="connsiteY39" fmla="*/ 9690 h 10000"/>
                  <a:gd name="connsiteX40" fmla="*/ 8062 w 10000"/>
                  <a:gd name="connsiteY40" fmla="*/ 9690 h 10000"/>
                  <a:gd name="connsiteX41" fmla="*/ 8438 w 10000"/>
                  <a:gd name="connsiteY41" fmla="*/ 9383 h 10000"/>
                  <a:gd name="connsiteX42" fmla="*/ 8871 w 10000"/>
                  <a:gd name="connsiteY42" fmla="*/ 8766 h 10000"/>
                  <a:gd name="connsiteX43" fmla="*/ 10000 w 10000"/>
                  <a:gd name="connsiteY43" fmla="*/ 8766 h 10000"/>
                  <a:gd name="connsiteX44" fmla="*/ 10000 w 10000"/>
                  <a:gd name="connsiteY44" fmla="*/ 7923 h 10000"/>
                  <a:gd name="connsiteX45" fmla="*/ 9409 w 10000"/>
                  <a:gd name="connsiteY45" fmla="*/ 7535 h 10000"/>
                  <a:gd name="connsiteX46" fmla="*/ 9083 w 10000"/>
                  <a:gd name="connsiteY46" fmla="*/ 6301 h 10000"/>
                  <a:gd name="connsiteX47" fmla="*/ 8655 w 10000"/>
                  <a:gd name="connsiteY47" fmla="*/ 5838 h 10000"/>
                  <a:gd name="connsiteX48" fmla="*/ 8385 w 10000"/>
                  <a:gd name="connsiteY48" fmla="*/ 5220 h 10000"/>
                  <a:gd name="connsiteX49" fmla="*/ 7687 w 10000"/>
                  <a:gd name="connsiteY49" fmla="*/ 4763 h 10000"/>
                  <a:gd name="connsiteX50" fmla="*/ 7848 w 10000"/>
                  <a:gd name="connsiteY50" fmla="*/ 4607 h 10000"/>
                  <a:gd name="connsiteX51" fmla="*/ 7848 w 10000"/>
                  <a:gd name="connsiteY51" fmla="*/ 4218 h 10000"/>
                  <a:gd name="connsiteX52" fmla="*/ 8334 w 10000"/>
                  <a:gd name="connsiteY52" fmla="*/ 4218 h 10000"/>
                  <a:gd name="connsiteX53" fmla="*/ 8599 w 10000"/>
                  <a:gd name="connsiteY53" fmla="*/ 3912 h 10000"/>
                  <a:gd name="connsiteX54" fmla="*/ 8655 w 10000"/>
                  <a:gd name="connsiteY54" fmla="*/ 1679 h 10000"/>
                  <a:gd name="connsiteX55" fmla="*/ 8707 w 10000"/>
                  <a:gd name="connsiteY55" fmla="*/ 1755 h 10000"/>
                  <a:gd name="connsiteX56" fmla="*/ 8517 w 10000"/>
                  <a:gd name="connsiteY56" fmla="*/ 1895 h 10000"/>
                  <a:gd name="connsiteX57" fmla="*/ 8440 w 10000"/>
                  <a:gd name="connsiteY57" fmla="*/ 2198 h 10000"/>
                  <a:gd name="connsiteX58" fmla="*/ 7961 w 10000"/>
                  <a:gd name="connsiteY58" fmla="*/ 1603 h 10000"/>
                  <a:gd name="connsiteX59" fmla="*/ 7874 w 10000"/>
                  <a:gd name="connsiteY59" fmla="*/ 0 h 10000"/>
                  <a:gd name="connsiteX60" fmla="*/ 7582 w 10000"/>
                  <a:gd name="connsiteY60" fmla="*/ 379 h 10000"/>
                  <a:gd name="connsiteX61" fmla="*/ 7506 w 10000"/>
                  <a:gd name="connsiteY61" fmla="*/ 885 h 10000"/>
                  <a:gd name="connsiteX62" fmla="*/ 7237 w 10000"/>
                  <a:gd name="connsiteY62" fmla="*/ 1489 h 10000"/>
                  <a:gd name="connsiteX63" fmla="*/ 6955 w 10000"/>
                  <a:gd name="connsiteY63" fmla="*/ 2020 h 10000"/>
                  <a:gd name="connsiteX0" fmla="*/ 6955 w 10000"/>
                  <a:gd name="connsiteY0" fmla="*/ 2020 h 10000"/>
                  <a:gd name="connsiteX1" fmla="*/ 6675 w 10000"/>
                  <a:gd name="connsiteY1" fmla="*/ 2608 h 10000"/>
                  <a:gd name="connsiteX2" fmla="*/ 6212 w 10000"/>
                  <a:gd name="connsiteY2" fmla="*/ 2957 h 10000"/>
                  <a:gd name="connsiteX3" fmla="*/ 5864 w 10000"/>
                  <a:gd name="connsiteY3" fmla="*/ 2586 h 10000"/>
                  <a:gd name="connsiteX4" fmla="*/ 5325 w 10000"/>
                  <a:gd name="connsiteY4" fmla="*/ 2288 h 10000"/>
                  <a:gd name="connsiteX5" fmla="*/ 5058 w 10000"/>
                  <a:gd name="connsiteY5" fmla="*/ 2963 h 10000"/>
                  <a:gd name="connsiteX6" fmla="*/ 4396 w 10000"/>
                  <a:gd name="connsiteY6" fmla="*/ 3482 h 10000"/>
                  <a:gd name="connsiteX7" fmla="*/ 3972 w 10000"/>
                  <a:gd name="connsiteY7" fmla="*/ 3478 h 10000"/>
                  <a:gd name="connsiteX8" fmla="*/ 3044 w 10000"/>
                  <a:gd name="connsiteY8" fmla="*/ 3037 h 10000"/>
                  <a:gd name="connsiteX9" fmla="*/ 2774 w 10000"/>
                  <a:gd name="connsiteY9" fmla="*/ 3182 h 10000"/>
                  <a:gd name="connsiteX10" fmla="*/ 2177 w 10000"/>
                  <a:gd name="connsiteY10" fmla="*/ 2743 h 10000"/>
                  <a:gd name="connsiteX11" fmla="*/ 1903 w 10000"/>
                  <a:gd name="connsiteY11" fmla="*/ 1940 h 10000"/>
                  <a:gd name="connsiteX12" fmla="*/ 1449 w 10000"/>
                  <a:gd name="connsiteY12" fmla="*/ 2159 h 10000"/>
                  <a:gd name="connsiteX13" fmla="*/ 1324 w 10000"/>
                  <a:gd name="connsiteY13" fmla="*/ 2635 h 10000"/>
                  <a:gd name="connsiteX14" fmla="*/ 845 w 10000"/>
                  <a:gd name="connsiteY14" fmla="*/ 2836 h 10000"/>
                  <a:gd name="connsiteX15" fmla="*/ 526 w 10000"/>
                  <a:gd name="connsiteY15" fmla="*/ 2819 h 10000"/>
                  <a:gd name="connsiteX16" fmla="*/ 354 w 10000"/>
                  <a:gd name="connsiteY16" fmla="*/ 3195 h 10000"/>
                  <a:gd name="connsiteX17" fmla="*/ 56 w 10000"/>
                  <a:gd name="connsiteY17" fmla="*/ 2604 h 10000"/>
                  <a:gd name="connsiteX18" fmla="*/ 0 w 10000"/>
                  <a:gd name="connsiteY18" fmla="*/ 3679 h 10000"/>
                  <a:gd name="connsiteX19" fmla="*/ 106 w 10000"/>
                  <a:gd name="connsiteY19" fmla="*/ 3836 h 10000"/>
                  <a:gd name="connsiteX20" fmla="*/ 538 w 10000"/>
                  <a:gd name="connsiteY20" fmla="*/ 3912 h 10000"/>
                  <a:gd name="connsiteX21" fmla="*/ 596 w 10000"/>
                  <a:gd name="connsiteY21" fmla="*/ 4218 h 10000"/>
                  <a:gd name="connsiteX22" fmla="*/ 1075 w 10000"/>
                  <a:gd name="connsiteY22" fmla="*/ 4300 h 10000"/>
                  <a:gd name="connsiteX23" fmla="*/ 1346 w 10000"/>
                  <a:gd name="connsiteY23" fmla="*/ 4607 h 10000"/>
                  <a:gd name="connsiteX24" fmla="*/ 1397 w 10000"/>
                  <a:gd name="connsiteY24" fmla="*/ 5145 h 10000"/>
                  <a:gd name="connsiteX25" fmla="*/ 2260 w 10000"/>
                  <a:gd name="connsiteY25" fmla="*/ 6069 h 10000"/>
                  <a:gd name="connsiteX26" fmla="*/ 2475 w 10000"/>
                  <a:gd name="connsiteY26" fmla="*/ 6996 h 10000"/>
                  <a:gd name="connsiteX27" fmla="*/ 3064 w 10000"/>
                  <a:gd name="connsiteY27" fmla="*/ 7459 h 10000"/>
                  <a:gd name="connsiteX28" fmla="*/ 3280 w 10000"/>
                  <a:gd name="connsiteY28" fmla="*/ 8069 h 10000"/>
                  <a:gd name="connsiteX29" fmla="*/ 3709 w 10000"/>
                  <a:gd name="connsiteY29" fmla="*/ 8846 h 10000"/>
                  <a:gd name="connsiteX30" fmla="*/ 4034 w 10000"/>
                  <a:gd name="connsiteY30" fmla="*/ 9073 h 10000"/>
                  <a:gd name="connsiteX31" fmla="*/ 4248 w 10000"/>
                  <a:gd name="connsiteY31" fmla="*/ 8846 h 10000"/>
                  <a:gd name="connsiteX32" fmla="*/ 4785 w 10000"/>
                  <a:gd name="connsiteY32" fmla="*/ 8923 h 10000"/>
                  <a:gd name="connsiteX33" fmla="*/ 5002 w 10000"/>
                  <a:gd name="connsiteY33" fmla="*/ 8766 h 10000"/>
                  <a:gd name="connsiteX34" fmla="*/ 5967 w 10000"/>
                  <a:gd name="connsiteY34" fmla="*/ 9926 h 10000"/>
                  <a:gd name="connsiteX35" fmla="*/ 6021 w 10000"/>
                  <a:gd name="connsiteY35" fmla="*/ 9926 h 10000"/>
                  <a:gd name="connsiteX36" fmla="*/ 6130 w 10000"/>
                  <a:gd name="connsiteY36" fmla="*/ 9772 h 10000"/>
                  <a:gd name="connsiteX37" fmla="*/ 6823 w 10000"/>
                  <a:gd name="connsiteY37" fmla="*/ 9772 h 10000"/>
                  <a:gd name="connsiteX38" fmla="*/ 6936 w 10000"/>
                  <a:gd name="connsiteY38" fmla="*/ 10000 h 10000"/>
                  <a:gd name="connsiteX39" fmla="*/ 7526 w 10000"/>
                  <a:gd name="connsiteY39" fmla="*/ 9690 h 10000"/>
                  <a:gd name="connsiteX40" fmla="*/ 8062 w 10000"/>
                  <a:gd name="connsiteY40" fmla="*/ 9690 h 10000"/>
                  <a:gd name="connsiteX41" fmla="*/ 8438 w 10000"/>
                  <a:gd name="connsiteY41" fmla="*/ 9383 h 10000"/>
                  <a:gd name="connsiteX42" fmla="*/ 8871 w 10000"/>
                  <a:gd name="connsiteY42" fmla="*/ 8766 h 10000"/>
                  <a:gd name="connsiteX43" fmla="*/ 10000 w 10000"/>
                  <a:gd name="connsiteY43" fmla="*/ 8766 h 10000"/>
                  <a:gd name="connsiteX44" fmla="*/ 10000 w 10000"/>
                  <a:gd name="connsiteY44" fmla="*/ 7923 h 10000"/>
                  <a:gd name="connsiteX45" fmla="*/ 9409 w 10000"/>
                  <a:gd name="connsiteY45" fmla="*/ 7535 h 10000"/>
                  <a:gd name="connsiteX46" fmla="*/ 9083 w 10000"/>
                  <a:gd name="connsiteY46" fmla="*/ 6301 h 10000"/>
                  <a:gd name="connsiteX47" fmla="*/ 8655 w 10000"/>
                  <a:gd name="connsiteY47" fmla="*/ 5838 h 10000"/>
                  <a:gd name="connsiteX48" fmla="*/ 8385 w 10000"/>
                  <a:gd name="connsiteY48" fmla="*/ 5220 h 10000"/>
                  <a:gd name="connsiteX49" fmla="*/ 7687 w 10000"/>
                  <a:gd name="connsiteY49" fmla="*/ 4763 h 10000"/>
                  <a:gd name="connsiteX50" fmla="*/ 7848 w 10000"/>
                  <a:gd name="connsiteY50" fmla="*/ 4607 h 10000"/>
                  <a:gd name="connsiteX51" fmla="*/ 7848 w 10000"/>
                  <a:gd name="connsiteY51" fmla="*/ 4218 h 10000"/>
                  <a:gd name="connsiteX52" fmla="*/ 8334 w 10000"/>
                  <a:gd name="connsiteY52" fmla="*/ 4218 h 10000"/>
                  <a:gd name="connsiteX53" fmla="*/ 8599 w 10000"/>
                  <a:gd name="connsiteY53" fmla="*/ 3912 h 10000"/>
                  <a:gd name="connsiteX54" fmla="*/ 8655 w 10000"/>
                  <a:gd name="connsiteY54" fmla="*/ 1679 h 10000"/>
                  <a:gd name="connsiteX55" fmla="*/ 8707 w 10000"/>
                  <a:gd name="connsiteY55" fmla="*/ 1755 h 10000"/>
                  <a:gd name="connsiteX56" fmla="*/ 8517 w 10000"/>
                  <a:gd name="connsiteY56" fmla="*/ 1895 h 10000"/>
                  <a:gd name="connsiteX57" fmla="*/ 8440 w 10000"/>
                  <a:gd name="connsiteY57" fmla="*/ 2198 h 10000"/>
                  <a:gd name="connsiteX58" fmla="*/ 7961 w 10000"/>
                  <a:gd name="connsiteY58" fmla="*/ 1603 h 10000"/>
                  <a:gd name="connsiteX59" fmla="*/ 7874 w 10000"/>
                  <a:gd name="connsiteY59" fmla="*/ 0 h 10000"/>
                  <a:gd name="connsiteX60" fmla="*/ 7582 w 10000"/>
                  <a:gd name="connsiteY60" fmla="*/ 379 h 10000"/>
                  <a:gd name="connsiteX61" fmla="*/ 7506 w 10000"/>
                  <a:gd name="connsiteY61" fmla="*/ 885 h 10000"/>
                  <a:gd name="connsiteX62" fmla="*/ 7351 w 10000"/>
                  <a:gd name="connsiteY62" fmla="*/ 1297 h 10000"/>
                  <a:gd name="connsiteX63" fmla="*/ 7237 w 10000"/>
                  <a:gd name="connsiteY63" fmla="*/ 1489 h 10000"/>
                  <a:gd name="connsiteX64" fmla="*/ 6955 w 10000"/>
                  <a:gd name="connsiteY64" fmla="*/ 2020 h 10000"/>
                  <a:gd name="connsiteX0" fmla="*/ 6955 w 10000"/>
                  <a:gd name="connsiteY0" fmla="*/ 2020 h 10000"/>
                  <a:gd name="connsiteX1" fmla="*/ 6675 w 10000"/>
                  <a:gd name="connsiteY1" fmla="*/ 2608 h 10000"/>
                  <a:gd name="connsiteX2" fmla="*/ 6212 w 10000"/>
                  <a:gd name="connsiteY2" fmla="*/ 2957 h 10000"/>
                  <a:gd name="connsiteX3" fmla="*/ 5864 w 10000"/>
                  <a:gd name="connsiteY3" fmla="*/ 2586 h 10000"/>
                  <a:gd name="connsiteX4" fmla="*/ 5325 w 10000"/>
                  <a:gd name="connsiteY4" fmla="*/ 2288 h 10000"/>
                  <a:gd name="connsiteX5" fmla="*/ 5058 w 10000"/>
                  <a:gd name="connsiteY5" fmla="*/ 2963 h 10000"/>
                  <a:gd name="connsiteX6" fmla="*/ 4396 w 10000"/>
                  <a:gd name="connsiteY6" fmla="*/ 3482 h 10000"/>
                  <a:gd name="connsiteX7" fmla="*/ 3840 w 10000"/>
                  <a:gd name="connsiteY7" fmla="*/ 3351 h 10000"/>
                  <a:gd name="connsiteX8" fmla="*/ 3044 w 10000"/>
                  <a:gd name="connsiteY8" fmla="*/ 3037 h 10000"/>
                  <a:gd name="connsiteX9" fmla="*/ 2774 w 10000"/>
                  <a:gd name="connsiteY9" fmla="*/ 3182 h 10000"/>
                  <a:gd name="connsiteX10" fmla="*/ 2177 w 10000"/>
                  <a:gd name="connsiteY10" fmla="*/ 2743 h 10000"/>
                  <a:gd name="connsiteX11" fmla="*/ 1903 w 10000"/>
                  <a:gd name="connsiteY11" fmla="*/ 1940 h 10000"/>
                  <a:gd name="connsiteX12" fmla="*/ 1449 w 10000"/>
                  <a:gd name="connsiteY12" fmla="*/ 2159 h 10000"/>
                  <a:gd name="connsiteX13" fmla="*/ 1324 w 10000"/>
                  <a:gd name="connsiteY13" fmla="*/ 2635 h 10000"/>
                  <a:gd name="connsiteX14" fmla="*/ 845 w 10000"/>
                  <a:gd name="connsiteY14" fmla="*/ 2836 h 10000"/>
                  <a:gd name="connsiteX15" fmla="*/ 526 w 10000"/>
                  <a:gd name="connsiteY15" fmla="*/ 2819 h 10000"/>
                  <a:gd name="connsiteX16" fmla="*/ 354 w 10000"/>
                  <a:gd name="connsiteY16" fmla="*/ 3195 h 10000"/>
                  <a:gd name="connsiteX17" fmla="*/ 56 w 10000"/>
                  <a:gd name="connsiteY17" fmla="*/ 2604 h 10000"/>
                  <a:gd name="connsiteX18" fmla="*/ 0 w 10000"/>
                  <a:gd name="connsiteY18" fmla="*/ 3679 h 10000"/>
                  <a:gd name="connsiteX19" fmla="*/ 106 w 10000"/>
                  <a:gd name="connsiteY19" fmla="*/ 3836 h 10000"/>
                  <a:gd name="connsiteX20" fmla="*/ 538 w 10000"/>
                  <a:gd name="connsiteY20" fmla="*/ 3912 h 10000"/>
                  <a:gd name="connsiteX21" fmla="*/ 596 w 10000"/>
                  <a:gd name="connsiteY21" fmla="*/ 4218 h 10000"/>
                  <a:gd name="connsiteX22" fmla="*/ 1075 w 10000"/>
                  <a:gd name="connsiteY22" fmla="*/ 4300 h 10000"/>
                  <a:gd name="connsiteX23" fmla="*/ 1346 w 10000"/>
                  <a:gd name="connsiteY23" fmla="*/ 4607 h 10000"/>
                  <a:gd name="connsiteX24" fmla="*/ 1397 w 10000"/>
                  <a:gd name="connsiteY24" fmla="*/ 5145 h 10000"/>
                  <a:gd name="connsiteX25" fmla="*/ 2260 w 10000"/>
                  <a:gd name="connsiteY25" fmla="*/ 6069 h 10000"/>
                  <a:gd name="connsiteX26" fmla="*/ 2475 w 10000"/>
                  <a:gd name="connsiteY26" fmla="*/ 6996 h 10000"/>
                  <a:gd name="connsiteX27" fmla="*/ 3064 w 10000"/>
                  <a:gd name="connsiteY27" fmla="*/ 7459 h 10000"/>
                  <a:gd name="connsiteX28" fmla="*/ 3280 w 10000"/>
                  <a:gd name="connsiteY28" fmla="*/ 8069 h 10000"/>
                  <a:gd name="connsiteX29" fmla="*/ 3709 w 10000"/>
                  <a:gd name="connsiteY29" fmla="*/ 8846 h 10000"/>
                  <a:gd name="connsiteX30" fmla="*/ 4034 w 10000"/>
                  <a:gd name="connsiteY30" fmla="*/ 9073 h 10000"/>
                  <a:gd name="connsiteX31" fmla="*/ 4248 w 10000"/>
                  <a:gd name="connsiteY31" fmla="*/ 8846 h 10000"/>
                  <a:gd name="connsiteX32" fmla="*/ 4785 w 10000"/>
                  <a:gd name="connsiteY32" fmla="*/ 8923 h 10000"/>
                  <a:gd name="connsiteX33" fmla="*/ 5002 w 10000"/>
                  <a:gd name="connsiteY33" fmla="*/ 8766 h 10000"/>
                  <a:gd name="connsiteX34" fmla="*/ 5967 w 10000"/>
                  <a:gd name="connsiteY34" fmla="*/ 9926 h 10000"/>
                  <a:gd name="connsiteX35" fmla="*/ 6021 w 10000"/>
                  <a:gd name="connsiteY35" fmla="*/ 9926 h 10000"/>
                  <a:gd name="connsiteX36" fmla="*/ 6130 w 10000"/>
                  <a:gd name="connsiteY36" fmla="*/ 9772 h 10000"/>
                  <a:gd name="connsiteX37" fmla="*/ 6823 w 10000"/>
                  <a:gd name="connsiteY37" fmla="*/ 9772 h 10000"/>
                  <a:gd name="connsiteX38" fmla="*/ 6936 w 10000"/>
                  <a:gd name="connsiteY38" fmla="*/ 10000 h 10000"/>
                  <a:gd name="connsiteX39" fmla="*/ 7526 w 10000"/>
                  <a:gd name="connsiteY39" fmla="*/ 9690 h 10000"/>
                  <a:gd name="connsiteX40" fmla="*/ 8062 w 10000"/>
                  <a:gd name="connsiteY40" fmla="*/ 9690 h 10000"/>
                  <a:gd name="connsiteX41" fmla="*/ 8438 w 10000"/>
                  <a:gd name="connsiteY41" fmla="*/ 9383 h 10000"/>
                  <a:gd name="connsiteX42" fmla="*/ 8871 w 10000"/>
                  <a:gd name="connsiteY42" fmla="*/ 8766 h 10000"/>
                  <a:gd name="connsiteX43" fmla="*/ 10000 w 10000"/>
                  <a:gd name="connsiteY43" fmla="*/ 8766 h 10000"/>
                  <a:gd name="connsiteX44" fmla="*/ 10000 w 10000"/>
                  <a:gd name="connsiteY44" fmla="*/ 7923 h 10000"/>
                  <a:gd name="connsiteX45" fmla="*/ 9409 w 10000"/>
                  <a:gd name="connsiteY45" fmla="*/ 7535 h 10000"/>
                  <a:gd name="connsiteX46" fmla="*/ 9083 w 10000"/>
                  <a:gd name="connsiteY46" fmla="*/ 6301 h 10000"/>
                  <a:gd name="connsiteX47" fmla="*/ 8655 w 10000"/>
                  <a:gd name="connsiteY47" fmla="*/ 5838 h 10000"/>
                  <a:gd name="connsiteX48" fmla="*/ 8385 w 10000"/>
                  <a:gd name="connsiteY48" fmla="*/ 5220 h 10000"/>
                  <a:gd name="connsiteX49" fmla="*/ 7687 w 10000"/>
                  <a:gd name="connsiteY49" fmla="*/ 4763 h 10000"/>
                  <a:gd name="connsiteX50" fmla="*/ 7848 w 10000"/>
                  <a:gd name="connsiteY50" fmla="*/ 4607 h 10000"/>
                  <a:gd name="connsiteX51" fmla="*/ 7848 w 10000"/>
                  <a:gd name="connsiteY51" fmla="*/ 4218 h 10000"/>
                  <a:gd name="connsiteX52" fmla="*/ 8334 w 10000"/>
                  <a:gd name="connsiteY52" fmla="*/ 4218 h 10000"/>
                  <a:gd name="connsiteX53" fmla="*/ 8599 w 10000"/>
                  <a:gd name="connsiteY53" fmla="*/ 3912 h 10000"/>
                  <a:gd name="connsiteX54" fmla="*/ 8655 w 10000"/>
                  <a:gd name="connsiteY54" fmla="*/ 1679 h 10000"/>
                  <a:gd name="connsiteX55" fmla="*/ 8707 w 10000"/>
                  <a:gd name="connsiteY55" fmla="*/ 1755 h 10000"/>
                  <a:gd name="connsiteX56" fmla="*/ 8517 w 10000"/>
                  <a:gd name="connsiteY56" fmla="*/ 1895 h 10000"/>
                  <a:gd name="connsiteX57" fmla="*/ 8440 w 10000"/>
                  <a:gd name="connsiteY57" fmla="*/ 2198 h 10000"/>
                  <a:gd name="connsiteX58" fmla="*/ 7961 w 10000"/>
                  <a:gd name="connsiteY58" fmla="*/ 1603 h 10000"/>
                  <a:gd name="connsiteX59" fmla="*/ 7874 w 10000"/>
                  <a:gd name="connsiteY59" fmla="*/ 0 h 10000"/>
                  <a:gd name="connsiteX60" fmla="*/ 7582 w 10000"/>
                  <a:gd name="connsiteY60" fmla="*/ 379 h 10000"/>
                  <a:gd name="connsiteX61" fmla="*/ 7506 w 10000"/>
                  <a:gd name="connsiteY61" fmla="*/ 885 h 10000"/>
                  <a:gd name="connsiteX62" fmla="*/ 7351 w 10000"/>
                  <a:gd name="connsiteY62" fmla="*/ 1297 h 10000"/>
                  <a:gd name="connsiteX63" fmla="*/ 7237 w 10000"/>
                  <a:gd name="connsiteY63" fmla="*/ 1489 h 10000"/>
                  <a:gd name="connsiteX64" fmla="*/ 6955 w 10000"/>
                  <a:gd name="connsiteY64" fmla="*/ 2020 h 10000"/>
                  <a:gd name="connsiteX0" fmla="*/ 6955 w 10000"/>
                  <a:gd name="connsiteY0" fmla="*/ 2020 h 10000"/>
                  <a:gd name="connsiteX1" fmla="*/ 6675 w 10000"/>
                  <a:gd name="connsiteY1" fmla="*/ 2608 h 10000"/>
                  <a:gd name="connsiteX2" fmla="*/ 6212 w 10000"/>
                  <a:gd name="connsiteY2" fmla="*/ 2957 h 10000"/>
                  <a:gd name="connsiteX3" fmla="*/ 5864 w 10000"/>
                  <a:gd name="connsiteY3" fmla="*/ 2586 h 10000"/>
                  <a:gd name="connsiteX4" fmla="*/ 5325 w 10000"/>
                  <a:gd name="connsiteY4" fmla="*/ 2288 h 10000"/>
                  <a:gd name="connsiteX5" fmla="*/ 5058 w 10000"/>
                  <a:gd name="connsiteY5" fmla="*/ 2963 h 10000"/>
                  <a:gd name="connsiteX6" fmla="*/ 4396 w 10000"/>
                  <a:gd name="connsiteY6" fmla="*/ 3482 h 10000"/>
                  <a:gd name="connsiteX7" fmla="*/ 3840 w 10000"/>
                  <a:gd name="connsiteY7" fmla="*/ 3351 h 10000"/>
                  <a:gd name="connsiteX8" fmla="*/ 3044 w 10000"/>
                  <a:gd name="connsiteY8" fmla="*/ 3037 h 10000"/>
                  <a:gd name="connsiteX9" fmla="*/ 2774 w 10000"/>
                  <a:gd name="connsiteY9" fmla="*/ 3182 h 10000"/>
                  <a:gd name="connsiteX10" fmla="*/ 2177 w 10000"/>
                  <a:gd name="connsiteY10" fmla="*/ 2743 h 10000"/>
                  <a:gd name="connsiteX11" fmla="*/ 1903 w 10000"/>
                  <a:gd name="connsiteY11" fmla="*/ 1940 h 10000"/>
                  <a:gd name="connsiteX12" fmla="*/ 1449 w 10000"/>
                  <a:gd name="connsiteY12" fmla="*/ 2159 h 10000"/>
                  <a:gd name="connsiteX13" fmla="*/ 1324 w 10000"/>
                  <a:gd name="connsiteY13" fmla="*/ 2635 h 10000"/>
                  <a:gd name="connsiteX14" fmla="*/ 845 w 10000"/>
                  <a:gd name="connsiteY14" fmla="*/ 2836 h 10000"/>
                  <a:gd name="connsiteX15" fmla="*/ 526 w 10000"/>
                  <a:gd name="connsiteY15" fmla="*/ 2819 h 10000"/>
                  <a:gd name="connsiteX16" fmla="*/ 354 w 10000"/>
                  <a:gd name="connsiteY16" fmla="*/ 3195 h 10000"/>
                  <a:gd name="connsiteX17" fmla="*/ 56 w 10000"/>
                  <a:gd name="connsiteY17" fmla="*/ 2604 h 10000"/>
                  <a:gd name="connsiteX18" fmla="*/ 0 w 10000"/>
                  <a:gd name="connsiteY18" fmla="*/ 3679 h 10000"/>
                  <a:gd name="connsiteX19" fmla="*/ 106 w 10000"/>
                  <a:gd name="connsiteY19" fmla="*/ 3836 h 10000"/>
                  <a:gd name="connsiteX20" fmla="*/ 538 w 10000"/>
                  <a:gd name="connsiteY20" fmla="*/ 3912 h 10000"/>
                  <a:gd name="connsiteX21" fmla="*/ 596 w 10000"/>
                  <a:gd name="connsiteY21" fmla="*/ 4218 h 10000"/>
                  <a:gd name="connsiteX22" fmla="*/ 1075 w 10000"/>
                  <a:gd name="connsiteY22" fmla="*/ 4300 h 10000"/>
                  <a:gd name="connsiteX23" fmla="*/ 1346 w 10000"/>
                  <a:gd name="connsiteY23" fmla="*/ 4607 h 10000"/>
                  <a:gd name="connsiteX24" fmla="*/ 1397 w 10000"/>
                  <a:gd name="connsiteY24" fmla="*/ 5145 h 10000"/>
                  <a:gd name="connsiteX25" fmla="*/ 2260 w 10000"/>
                  <a:gd name="connsiteY25" fmla="*/ 6069 h 10000"/>
                  <a:gd name="connsiteX26" fmla="*/ 2475 w 10000"/>
                  <a:gd name="connsiteY26" fmla="*/ 6996 h 10000"/>
                  <a:gd name="connsiteX27" fmla="*/ 3064 w 10000"/>
                  <a:gd name="connsiteY27" fmla="*/ 7459 h 10000"/>
                  <a:gd name="connsiteX28" fmla="*/ 3280 w 10000"/>
                  <a:gd name="connsiteY28" fmla="*/ 8069 h 10000"/>
                  <a:gd name="connsiteX29" fmla="*/ 3709 w 10000"/>
                  <a:gd name="connsiteY29" fmla="*/ 8846 h 10000"/>
                  <a:gd name="connsiteX30" fmla="*/ 4034 w 10000"/>
                  <a:gd name="connsiteY30" fmla="*/ 9073 h 10000"/>
                  <a:gd name="connsiteX31" fmla="*/ 4248 w 10000"/>
                  <a:gd name="connsiteY31" fmla="*/ 8846 h 10000"/>
                  <a:gd name="connsiteX32" fmla="*/ 4785 w 10000"/>
                  <a:gd name="connsiteY32" fmla="*/ 8923 h 10000"/>
                  <a:gd name="connsiteX33" fmla="*/ 5002 w 10000"/>
                  <a:gd name="connsiteY33" fmla="*/ 8766 h 10000"/>
                  <a:gd name="connsiteX34" fmla="*/ 5967 w 10000"/>
                  <a:gd name="connsiteY34" fmla="*/ 9926 h 10000"/>
                  <a:gd name="connsiteX35" fmla="*/ 6021 w 10000"/>
                  <a:gd name="connsiteY35" fmla="*/ 9926 h 10000"/>
                  <a:gd name="connsiteX36" fmla="*/ 6130 w 10000"/>
                  <a:gd name="connsiteY36" fmla="*/ 9772 h 10000"/>
                  <a:gd name="connsiteX37" fmla="*/ 6823 w 10000"/>
                  <a:gd name="connsiteY37" fmla="*/ 9772 h 10000"/>
                  <a:gd name="connsiteX38" fmla="*/ 6936 w 10000"/>
                  <a:gd name="connsiteY38" fmla="*/ 10000 h 10000"/>
                  <a:gd name="connsiteX39" fmla="*/ 7526 w 10000"/>
                  <a:gd name="connsiteY39" fmla="*/ 9690 h 10000"/>
                  <a:gd name="connsiteX40" fmla="*/ 8062 w 10000"/>
                  <a:gd name="connsiteY40" fmla="*/ 9690 h 10000"/>
                  <a:gd name="connsiteX41" fmla="*/ 8438 w 10000"/>
                  <a:gd name="connsiteY41" fmla="*/ 9383 h 10000"/>
                  <a:gd name="connsiteX42" fmla="*/ 8871 w 10000"/>
                  <a:gd name="connsiteY42" fmla="*/ 8766 h 10000"/>
                  <a:gd name="connsiteX43" fmla="*/ 10000 w 10000"/>
                  <a:gd name="connsiteY43" fmla="*/ 8766 h 10000"/>
                  <a:gd name="connsiteX44" fmla="*/ 10000 w 10000"/>
                  <a:gd name="connsiteY44" fmla="*/ 7923 h 10000"/>
                  <a:gd name="connsiteX45" fmla="*/ 9409 w 10000"/>
                  <a:gd name="connsiteY45" fmla="*/ 7535 h 10000"/>
                  <a:gd name="connsiteX46" fmla="*/ 9083 w 10000"/>
                  <a:gd name="connsiteY46" fmla="*/ 6301 h 10000"/>
                  <a:gd name="connsiteX47" fmla="*/ 8655 w 10000"/>
                  <a:gd name="connsiteY47" fmla="*/ 5838 h 10000"/>
                  <a:gd name="connsiteX48" fmla="*/ 8385 w 10000"/>
                  <a:gd name="connsiteY48" fmla="*/ 5220 h 10000"/>
                  <a:gd name="connsiteX49" fmla="*/ 7687 w 10000"/>
                  <a:gd name="connsiteY49" fmla="*/ 4763 h 10000"/>
                  <a:gd name="connsiteX50" fmla="*/ 7848 w 10000"/>
                  <a:gd name="connsiteY50" fmla="*/ 4607 h 10000"/>
                  <a:gd name="connsiteX51" fmla="*/ 7848 w 10000"/>
                  <a:gd name="connsiteY51" fmla="*/ 4218 h 10000"/>
                  <a:gd name="connsiteX52" fmla="*/ 8334 w 10000"/>
                  <a:gd name="connsiteY52" fmla="*/ 4218 h 10000"/>
                  <a:gd name="connsiteX53" fmla="*/ 8599 w 10000"/>
                  <a:gd name="connsiteY53" fmla="*/ 3912 h 10000"/>
                  <a:gd name="connsiteX54" fmla="*/ 8655 w 10000"/>
                  <a:gd name="connsiteY54" fmla="*/ 1679 h 10000"/>
                  <a:gd name="connsiteX55" fmla="*/ 8707 w 10000"/>
                  <a:gd name="connsiteY55" fmla="*/ 1755 h 10000"/>
                  <a:gd name="connsiteX56" fmla="*/ 8517 w 10000"/>
                  <a:gd name="connsiteY56" fmla="*/ 1895 h 10000"/>
                  <a:gd name="connsiteX57" fmla="*/ 8440 w 10000"/>
                  <a:gd name="connsiteY57" fmla="*/ 2198 h 10000"/>
                  <a:gd name="connsiteX58" fmla="*/ 7961 w 10000"/>
                  <a:gd name="connsiteY58" fmla="*/ 1603 h 10000"/>
                  <a:gd name="connsiteX59" fmla="*/ 7874 w 10000"/>
                  <a:gd name="connsiteY59" fmla="*/ 0 h 10000"/>
                  <a:gd name="connsiteX60" fmla="*/ 7538 w 10000"/>
                  <a:gd name="connsiteY60" fmla="*/ 316 h 10000"/>
                  <a:gd name="connsiteX61" fmla="*/ 7506 w 10000"/>
                  <a:gd name="connsiteY61" fmla="*/ 885 h 10000"/>
                  <a:gd name="connsiteX62" fmla="*/ 7351 w 10000"/>
                  <a:gd name="connsiteY62" fmla="*/ 1297 h 10000"/>
                  <a:gd name="connsiteX63" fmla="*/ 7237 w 10000"/>
                  <a:gd name="connsiteY63" fmla="*/ 1489 h 10000"/>
                  <a:gd name="connsiteX64" fmla="*/ 6955 w 10000"/>
                  <a:gd name="connsiteY64" fmla="*/ 2020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</a:cxnLst>
                <a:rect l="l" t="t" r="r" b="b"/>
                <a:pathLst>
                  <a:path w="10000" h="10000">
                    <a:moveTo>
                      <a:pt x="6955" y="2020"/>
                    </a:moveTo>
                    <a:cubicBezTo>
                      <a:pt x="6839" y="2202"/>
                      <a:pt x="6795" y="2430"/>
                      <a:pt x="6675" y="2608"/>
                    </a:cubicBezTo>
                    <a:lnTo>
                      <a:pt x="6212" y="2957"/>
                    </a:lnTo>
                    <a:lnTo>
                      <a:pt x="5864" y="2586"/>
                    </a:lnTo>
                    <a:cubicBezTo>
                      <a:pt x="5808" y="2795"/>
                      <a:pt x="5376" y="2079"/>
                      <a:pt x="5325" y="2288"/>
                    </a:cubicBezTo>
                    <a:lnTo>
                      <a:pt x="5058" y="2963"/>
                    </a:lnTo>
                    <a:lnTo>
                      <a:pt x="4396" y="3482"/>
                    </a:lnTo>
                    <a:cubicBezTo>
                      <a:pt x="4343" y="3535"/>
                      <a:pt x="3891" y="3301"/>
                      <a:pt x="3840" y="3351"/>
                    </a:cubicBezTo>
                    <a:lnTo>
                      <a:pt x="3044" y="3037"/>
                    </a:lnTo>
                    <a:lnTo>
                      <a:pt x="2774" y="3182"/>
                    </a:lnTo>
                    <a:lnTo>
                      <a:pt x="2177" y="2743"/>
                    </a:lnTo>
                    <a:cubicBezTo>
                      <a:pt x="2086" y="2475"/>
                      <a:pt x="1994" y="2208"/>
                      <a:pt x="1903" y="1940"/>
                    </a:cubicBezTo>
                    <a:cubicBezTo>
                      <a:pt x="1921" y="2173"/>
                      <a:pt x="1434" y="1931"/>
                      <a:pt x="1449" y="2159"/>
                    </a:cubicBezTo>
                    <a:cubicBezTo>
                      <a:pt x="1409" y="2317"/>
                      <a:pt x="1369" y="2479"/>
                      <a:pt x="1324" y="2635"/>
                    </a:cubicBezTo>
                    <a:lnTo>
                      <a:pt x="845" y="2836"/>
                    </a:lnTo>
                    <a:lnTo>
                      <a:pt x="526" y="2819"/>
                    </a:lnTo>
                    <a:cubicBezTo>
                      <a:pt x="469" y="2946"/>
                      <a:pt x="411" y="3069"/>
                      <a:pt x="354" y="3195"/>
                    </a:cubicBezTo>
                    <a:cubicBezTo>
                      <a:pt x="373" y="3326"/>
                      <a:pt x="37" y="2475"/>
                      <a:pt x="56" y="2604"/>
                    </a:cubicBezTo>
                    <a:cubicBezTo>
                      <a:pt x="37" y="2961"/>
                      <a:pt x="17" y="3322"/>
                      <a:pt x="0" y="3679"/>
                    </a:cubicBezTo>
                    <a:cubicBezTo>
                      <a:pt x="36" y="3732"/>
                      <a:pt x="73" y="3785"/>
                      <a:pt x="106" y="3836"/>
                    </a:cubicBezTo>
                    <a:lnTo>
                      <a:pt x="538" y="3912"/>
                    </a:lnTo>
                    <a:cubicBezTo>
                      <a:pt x="559" y="4013"/>
                      <a:pt x="575" y="4117"/>
                      <a:pt x="596" y="4218"/>
                    </a:cubicBezTo>
                    <a:lnTo>
                      <a:pt x="1075" y="4300"/>
                    </a:lnTo>
                    <a:lnTo>
                      <a:pt x="1346" y="4607"/>
                    </a:lnTo>
                    <a:cubicBezTo>
                      <a:pt x="1361" y="4784"/>
                      <a:pt x="1382" y="4964"/>
                      <a:pt x="1397" y="5145"/>
                    </a:cubicBezTo>
                    <a:lnTo>
                      <a:pt x="2260" y="6069"/>
                    </a:lnTo>
                    <a:cubicBezTo>
                      <a:pt x="2330" y="6377"/>
                      <a:pt x="2404" y="6686"/>
                      <a:pt x="2475" y="6996"/>
                    </a:cubicBezTo>
                    <a:lnTo>
                      <a:pt x="3064" y="7459"/>
                    </a:lnTo>
                    <a:lnTo>
                      <a:pt x="3280" y="8069"/>
                    </a:lnTo>
                    <a:lnTo>
                      <a:pt x="3709" y="8846"/>
                    </a:lnTo>
                    <a:lnTo>
                      <a:pt x="4034" y="9073"/>
                    </a:lnTo>
                    <a:lnTo>
                      <a:pt x="4248" y="8846"/>
                    </a:lnTo>
                    <a:lnTo>
                      <a:pt x="4785" y="8923"/>
                    </a:lnTo>
                    <a:lnTo>
                      <a:pt x="5002" y="8766"/>
                    </a:lnTo>
                    <a:lnTo>
                      <a:pt x="5967" y="9926"/>
                    </a:lnTo>
                    <a:lnTo>
                      <a:pt x="6021" y="9926"/>
                    </a:lnTo>
                    <a:cubicBezTo>
                      <a:pt x="6057" y="9871"/>
                      <a:pt x="6094" y="9822"/>
                      <a:pt x="6130" y="9772"/>
                    </a:cubicBezTo>
                    <a:lnTo>
                      <a:pt x="6823" y="9772"/>
                    </a:lnTo>
                    <a:cubicBezTo>
                      <a:pt x="6863" y="9848"/>
                      <a:pt x="6901" y="9926"/>
                      <a:pt x="6936" y="10000"/>
                    </a:cubicBezTo>
                    <a:lnTo>
                      <a:pt x="7526" y="9690"/>
                    </a:lnTo>
                    <a:lnTo>
                      <a:pt x="8062" y="9690"/>
                    </a:lnTo>
                    <a:lnTo>
                      <a:pt x="8438" y="9383"/>
                    </a:lnTo>
                    <a:lnTo>
                      <a:pt x="8871" y="8766"/>
                    </a:lnTo>
                    <a:lnTo>
                      <a:pt x="10000" y="8766"/>
                    </a:lnTo>
                    <a:lnTo>
                      <a:pt x="10000" y="7923"/>
                    </a:lnTo>
                    <a:lnTo>
                      <a:pt x="9409" y="7535"/>
                    </a:lnTo>
                    <a:cubicBezTo>
                      <a:pt x="9299" y="7125"/>
                      <a:pt x="9193" y="6711"/>
                      <a:pt x="9083" y="6301"/>
                    </a:cubicBezTo>
                    <a:lnTo>
                      <a:pt x="8655" y="5838"/>
                    </a:lnTo>
                    <a:lnTo>
                      <a:pt x="8385" y="5220"/>
                    </a:lnTo>
                    <a:lnTo>
                      <a:pt x="7687" y="4763"/>
                    </a:lnTo>
                    <a:cubicBezTo>
                      <a:pt x="7740" y="4706"/>
                      <a:pt x="7794" y="4657"/>
                      <a:pt x="7848" y="4607"/>
                    </a:cubicBezTo>
                    <a:lnTo>
                      <a:pt x="7848" y="4218"/>
                    </a:lnTo>
                    <a:lnTo>
                      <a:pt x="8334" y="4218"/>
                    </a:lnTo>
                    <a:lnTo>
                      <a:pt x="8599" y="3912"/>
                    </a:lnTo>
                    <a:cubicBezTo>
                      <a:pt x="8620" y="3168"/>
                      <a:pt x="8640" y="2424"/>
                      <a:pt x="8655" y="1679"/>
                    </a:cubicBezTo>
                    <a:cubicBezTo>
                      <a:pt x="8673" y="1704"/>
                      <a:pt x="8690" y="1726"/>
                      <a:pt x="8707" y="1755"/>
                    </a:cubicBezTo>
                    <a:cubicBezTo>
                      <a:pt x="8758" y="1599"/>
                      <a:pt x="8463" y="2050"/>
                      <a:pt x="8517" y="1895"/>
                    </a:cubicBezTo>
                    <a:cubicBezTo>
                      <a:pt x="8491" y="1993"/>
                      <a:pt x="8467" y="2098"/>
                      <a:pt x="8440" y="2198"/>
                    </a:cubicBezTo>
                    <a:cubicBezTo>
                      <a:pt x="8494" y="1917"/>
                      <a:pt x="7910" y="1888"/>
                      <a:pt x="7961" y="1603"/>
                    </a:cubicBezTo>
                    <a:cubicBezTo>
                      <a:pt x="7933" y="1068"/>
                      <a:pt x="7903" y="533"/>
                      <a:pt x="7874" y="0"/>
                    </a:cubicBezTo>
                    <a:lnTo>
                      <a:pt x="7538" y="316"/>
                    </a:lnTo>
                    <a:cubicBezTo>
                      <a:pt x="7447" y="495"/>
                      <a:pt x="7563" y="700"/>
                      <a:pt x="7506" y="885"/>
                    </a:cubicBezTo>
                    <a:cubicBezTo>
                      <a:pt x="7468" y="1038"/>
                      <a:pt x="7396" y="1196"/>
                      <a:pt x="7351" y="1297"/>
                    </a:cubicBezTo>
                    <a:cubicBezTo>
                      <a:pt x="7306" y="1398"/>
                      <a:pt x="7303" y="1368"/>
                      <a:pt x="7237" y="1489"/>
                    </a:cubicBezTo>
                    <a:lnTo>
                      <a:pt x="6955" y="2020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7783" tIns="37783" rIns="37783" bIns="37783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2" name="Freeform 441">
                <a:extLst>
                  <a:ext uri="{FF2B5EF4-FFF2-40B4-BE49-F238E27FC236}">
                    <a16:creationId xmlns:a16="http://schemas.microsoft.com/office/drawing/2014/main" id="{0D13E3D8-2D60-492F-9855-7825C9228F0A}"/>
                  </a:ext>
                </a:extLst>
              </p:cNvPr>
              <p:cNvSpPr>
                <a:spLocks/>
              </p:cNvSpPr>
              <p:nvPr>
                <p:custDataLst>
                  <p:tags r:id="rId2"/>
                </p:custDataLst>
              </p:nvPr>
            </p:nvSpPr>
            <p:spPr bwMode="gray">
              <a:xfrm>
                <a:off x="4211040" y="5419819"/>
                <a:ext cx="322210" cy="346528"/>
              </a:xfrm>
              <a:custGeom>
                <a:avLst/>
                <a:gdLst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7588 h 10000"/>
                  <a:gd name="connsiteX54" fmla="*/ 7189 w 10000"/>
                  <a:gd name="connsiteY54" fmla="*/ 7588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758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27 w 10000"/>
                  <a:gd name="connsiteY52" fmla="*/ 7749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7814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7229 w 10000"/>
                  <a:gd name="connsiteY50" fmla="*/ 8006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7430 w 10000"/>
                  <a:gd name="connsiteY49" fmla="*/ 8264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7751 w 10000"/>
                  <a:gd name="connsiteY48" fmla="*/ 8457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7992 w 10000"/>
                  <a:gd name="connsiteY47" fmla="*/ 8971 h 10000"/>
                  <a:gd name="connsiteX48" fmla="*/ 6531 w 10000"/>
                  <a:gd name="connsiteY48" fmla="*/ 6265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8434 w 10000"/>
                  <a:gd name="connsiteY46" fmla="*/ 9132 h 10000"/>
                  <a:gd name="connsiteX47" fmla="*/ 6524 w 10000"/>
                  <a:gd name="connsiteY47" fmla="*/ 6396 h 10000"/>
                  <a:gd name="connsiteX48" fmla="*/ 6531 w 10000"/>
                  <a:gd name="connsiteY48" fmla="*/ 6265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8434 w 10000"/>
                  <a:gd name="connsiteY45" fmla="*/ 9486 h 10000"/>
                  <a:gd name="connsiteX46" fmla="*/ 6389 w 10000"/>
                  <a:gd name="connsiteY46" fmla="*/ 6438 h 10000"/>
                  <a:gd name="connsiteX47" fmla="*/ 6524 w 10000"/>
                  <a:gd name="connsiteY47" fmla="*/ 6396 h 10000"/>
                  <a:gd name="connsiteX48" fmla="*/ 6531 w 10000"/>
                  <a:gd name="connsiteY48" fmla="*/ 6265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7590 w 10000"/>
                  <a:gd name="connsiteY44" fmla="*/ 9486 h 10000"/>
                  <a:gd name="connsiteX45" fmla="*/ 6274 w 10000"/>
                  <a:gd name="connsiteY45" fmla="*/ 6541 h 10000"/>
                  <a:gd name="connsiteX46" fmla="*/ 6389 w 10000"/>
                  <a:gd name="connsiteY46" fmla="*/ 6438 h 10000"/>
                  <a:gd name="connsiteX47" fmla="*/ 6524 w 10000"/>
                  <a:gd name="connsiteY47" fmla="*/ 6396 h 10000"/>
                  <a:gd name="connsiteX48" fmla="*/ 6531 w 10000"/>
                  <a:gd name="connsiteY48" fmla="*/ 6265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7269 w 10000"/>
                  <a:gd name="connsiteY43" fmla="*/ 9743 h 10000"/>
                  <a:gd name="connsiteX44" fmla="*/ 6089 w 10000"/>
                  <a:gd name="connsiteY44" fmla="*/ 6766 h 10000"/>
                  <a:gd name="connsiteX45" fmla="*/ 6274 w 10000"/>
                  <a:gd name="connsiteY45" fmla="*/ 6541 h 10000"/>
                  <a:gd name="connsiteX46" fmla="*/ 6389 w 10000"/>
                  <a:gd name="connsiteY46" fmla="*/ 6438 h 10000"/>
                  <a:gd name="connsiteX47" fmla="*/ 6524 w 10000"/>
                  <a:gd name="connsiteY47" fmla="*/ 6396 h 10000"/>
                  <a:gd name="connsiteX48" fmla="*/ 6531 w 10000"/>
                  <a:gd name="connsiteY48" fmla="*/ 6265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6988 w 10000"/>
                  <a:gd name="connsiteY42" fmla="*/ 9871 h 10000"/>
                  <a:gd name="connsiteX43" fmla="*/ 5933 w 10000"/>
                  <a:gd name="connsiteY43" fmla="*/ 6931 h 10000"/>
                  <a:gd name="connsiteX44" fmla="*/ 6089 w 10000"/>
                  <a:gd name="connsiteY44" fmla="*/ 6766 h 10000"/>
                  <a:gd name="connsiteX45" fmla="*/ 6274 w 10000"/>
                  <a:gd name="connsiteY45" fmla="*/ 6541 h 10000"/>
                  <a:gd name="connsiteX46" fmla="*/ 6389 w 10000"/>
                  <a:gd name="connsiteY46" fmla="*/ 6438 h 10000"/>
                  <a:gd name="connsiteX47" fmla="*/ 6524 w 10000"/>
                  <a:gd name="connsiteY47" fmla="*/ 6396 h 10000"/>
                  <a:gd name="connsiteX48" fmla="*/ 6531 w 10000"/>
                  <a:gd name="connsiteY48" fmla="*/ 6265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6586 w 10000"/>
                  <a:gd name="connsiteY41" fmla="*/ 9871 h 10000"/>
                  <a:gd name="connsiteX42" fmla="*/ 5768 w 10000"/>
                  <a:gd name="connsiteY42" fmla="*/ 7006 h 10000"/>
                  <a:gd name="connsiteX43" fmla="*/ 5933 w 10000"/>
                  <a:gd name="connsiteY43" fmla="*/ 6931 h 10000"/>
                  <a:gd name="connsiteX44" fmla="*/ 6089 w 10000"/>
                  <a:gd name="connsiteY44" fmla="*/ 6766 h 10000"/>
                  <a:gd name="connsiteX45" fmla="*/ 6274 w 10000"/>
                  <a:gd name="connsiteY45" fmla="*/ 6541 h 10000"/>
                  <a:gd name="connsiteX46" fmla="*/ 6389 w 10000"/>
                  <a:gd name="connsiteY46" fmla="*/ 6438 h 10000"/>
                  <a:gd name="connsiteX47" fmla="*/ 6524 w 10000"/>
                  <a:gd name="connsiteY47" fmla="*/ 6396 h 10000"/>
                  <a:gd name="connsiteX48" fmla="*/ 6531 w 10000"/>
                  <a:gd name="connsiteY48" fmla="*/ 6265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6064 w 10000"/>
                  <a:gd name="connsiteY39" fmla="*/ 9904 h 10000"/>
                  <a:gd name="connsiteX40" fmla="*/ 6145 w 10000"/>
                  <a:gd name="connsiteY40" fmla="*/ 10000 h 10000"/>
                  <a:gd name="connsiteX41" fmla="*/ 5564 w 10000"/>
                  <a:gd name="connsiteY41" fmla="*/ 7085 h 10000"/>
                  <a:gd name="connsiteX42" fmla="*/ 5768 w 10000"/>
                  <a:gd name="connsiteY42" fmla="*/ 7006 h 10000"/>
                  <a:gd name="connsiteX43" fmla="*/ 5933 w 10000"/>
                  <a:gd name="connsiteY43" fmla="*/ 6931 h 10000"/>
                  <a:gd name="connsiteX44" fmla="*/ 6089 w 10000"/>
                  <a:gd name="connsiteY44" fmla="*/ 6766 h 10000"/>
                  <a:gd name="connsiteX45" fmla="*/ 6274 w 10000"/>
                  <a:gd name="connsiteY45" fmla="*/ 6541 h 10000"/>
                  <a:gd name="connsiteX46" fmla="*/ 6389 w 10000"/>
                  <a:gd name="connsiteY46" fmla="*/ 6438 h 10000"/>
                  <a:gd name="connsiteX47" fmla="*/ 6524 w 10000"/>
                  <a:gd name="connsiteY47" fmla="*/ 6396 h 10000"/>
                  <a:gd name="connsiteX48" fmla="*/ 6531 w 10000"/>
                  <a:gd name="connsiteY48" fmla="*/ 6265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10000"/>
                  <a:gd name="connsiteX1" fmla="*/ 1285 w 10000"/>
                  <a:gd name="connsiteY1" fmla="*/ 2412 h 10000"/>
                  <a:gd name="connsiteX2" fmla="*/ 1285 w 10000"/>
                  <a:gd name="connsiteY2" fmla="*/ 2894 h 10000"/>
                  <a:gd name="connsiteX3" fmla="*/ 1285 w 10000"/>
                  <a:gd name="connsiteY3" fmla="*/ 3376 h 10000"/>
                  <a:gd name="connsiteX4" fmla="*/ 1285 w 10000"/>
                  <a:gd name="connsiteY4" fmla="*/ 3826 h 10000"/>
                  <a:gd name="connsiteX5" fmla="*/ 643 w 10000"/>
                  <a:gd name="connsiteY5" fmla="*/ 3923 h 10000"/>
                  <a:gd name="connsiteX6" fmla="*/ 522 w 10000"/>
                  <a:gd name="connsiteY6" fmla="*/ 4180 h 10000"/>
                  <a:gd name="connsiteX7" fmla="*/ 241 w 10000"/>
                  <a:gd name="connsiteY7" fmla="*/ 4502 h 10000"/>
                  <a:gd name="connsiteX8" fmla="*/ 241 w 10000"/>
                  <a:gd name="connsiteY8" fmla="*/ 4759 h 10000"/>
                  <a:gd name="connsiteX9" fmla="*/ 120 w 10000"/>
                  <a:gd name="connsiteY9" fmla="*/ 4823 h 10000"/>
                  <a:gd name="connsiteX10" fmla="*/ 120 w 10000"/>
                  <a:gd name="connsiteY10" fmla="*/ 5048 h 10000"/>
                  <a:gd name="connsiteX11" fmla="*/ 0 w 10000"/>
                  <a:gd name="connsiteY11" fmla="*/ 5241 h 10000"/>
                  <a:gd name="connsiteX12" fmla="*/ 0 w 10000"/>
                  <a:gd name="connsiteY12" fmla="*/ 5402 h 10000"/>
                  <a:gd name="connsiteX13" fmla="*/ 241 w 10000"/>
                  <a:gd name="connsiteY13" fmla="*/ 5370 h 10000"/>
                  <a:gd name="connsiteX14" fmla="*/ 281 w 10000"/>
                  <a:gd name="connsiteY14" fmla="*/ 5659 h 10000"/>
                  <a:gd name="connsiteX15" fmla="*/ 602 w 10000"/>
                  <a:gd name="connsiteY15" fmla="*/ 6174 h 10000"/>
                  <a:gd name="connsiteX16" fmla="*/ 602 w 10000"/>
                  <a:gd name="connsiteY16" fmla="*/ 6206 h 10000"/>
                  <a:gd name="connsiteX17" fmla="*/ 482 w 10000"/>
                  <a:gd name="connsiteY17" fmla="*/ 6238 h 10000"/>
                  <a:gd name="connsiteX18" fmla="*/ 964 w 10000"/>
                  <a:gd name="connsiteY18" fmla="*/ 6752 h 10000"/>
                  <a:gd name="connsiteX19" fmla="*/ 1004 w 10000"/>
                  <a:gd name="connsiteY19" fmla="*/ 6913 h 10000"/>
                  <a:gd name="connsiteX20" fmla="*/ 964 w 10000"/>
                  <a:gd name="connsiteY20" fmla="*/ 7363 h 10000"/>
                  <a:gd name="connsiteX21" fmla="*/ 1044 w 10000"/>
                  <a:gd name="connsiteY21" fmla="*/ 7428 h 10000"/>
                  <a:gd name="connsiteX22" fmla="*/ 1365 w 10000"/>
                  <a:gd name="connsiteY22" fmla="*/ 7460 h 10000"/>
                  <a:gd name="connsiteX23" fmla="*/ 1406 w 10000"/>
                  <a:gd name="connsiteY23" fmla="*/ 7588 h 10000"/>
                  <a:gd name="connsiteX24" fmla="*/ 1767 w 10000"/>
                  <a:gd name="connsiteY24" fmla="*/ 7621 h 10000"/>
                  <a:gd name="connsiteX25" fmla="*/ 1968 w 10000"/>
                  <a:gd name="connsiteY25" fmla="*/ 7749 h 10000"/>
                  <a:gd name="connsiteX26" fmla="*/ 2008 w 10000"/>
                  <a:gd name="connsiteY26" fmla="*/ 7974 h 10000"/>
                  <a:gd name="connsiteX27" fmla="*/ 2651 w 10000"/>
                  <a:gd name="connsiteY27" fmla="*/ 8360 h 10000"/>
                  <a:gd name="connsiteX28" fmla="*/ 2811 w 10000"/>
                  <a:gd name="connsiteY28" fmla="*/ 8746 h 10000"/>
                  <a:gd name="connsiteX29" fmla="*/ 3253 w 10000"/>
                  <a:gd name="connsiteY29" fmla="*/ 8939 h 10000"/>
                  <a:gd name="connsiteX30" fmla="*/ 3414 w 10000"/>
                  <a:gd name="connsiteY30" fmla="*/ 9196 h 10000"/>
                  <a:gd name="connsiteX31" fmla="*/ 3735 w 10000"/>
                  <a:gd name="connsiteY31" fmla="*/ 9518 h 10000"/>
                  <a:gd name="connsiteX32" fmla="*/ 3976 w 10000"/>
                  <a:gd name="connsiteY32" fmla="*/ 9614 h 10000"/>
                  <a:gd name="connsiteX33" fmla="*/ 4137 w 10000"/>
                  <a:gd name="connsiteY33" fmla="*/ 9518 h 10000"/>
                  <a:gd name="connsiteX34" fmla="*/ 4538 w 10000"/>
                  <a:gd name="connsiteY34" fmla="*/ 9550 h 10000"/>
                  <a:gd name="connsiteX35" fmla="*/ 4699 w 10000"/>
                  <a:gd name="connsiteY35" fmla="*/ 9486 h 10000"/>
                  <a:gd name="connsiteX36" fmla="*/ 5422 w 10000"/>
                  <a:gd name="connsiteY36" fmla="*/ 9968 h 10000"/>
                  <a:gd name="connsiteX37" fmla="*/ 5462 w 10000"/>
                  <a:gd name="connsiteY37" fmla="*/ 9968 h 10000"/>
                  <a:gd name="connsiteX38" fmla="*/ 5542 w 10000"/>
                  <a:gd name="connsiteY38" fmla="*/ 9904 h 10000"/>
                  <a:gd name="connsiteX39" fmla="*/ 5272 w 10000"/>
                  <a:gd name="connsiteY39" fmla="*/ 9204 h 10000"/>
                  <a:gd name="connsiteX40" fmla="*/ 6145 w 10000"/>
                  <a:gd name="connsiteY40" fmla="*/ 10000 h 10000"/>
                  <a:gd name="connsiteX41" fmla="*/ 5564 w 10000"/>
                  <a:gd name="connsiteY41" fmla="*/ 7085 h 10000"/>
                  <a:gd name="connsiteX42" fmla="*/ 5768 w 10000"/>
                  <a:gd name="connsiteY42" fmla="*/ 7006 h 10000"/>
                  <a:gd name="connsiteX43" fmla="*/ 5933 w 10000"/>
                  <a:gd name="connsiteY43" fmla="*/ 6931 h 10000"/>
                  <a:gd name="connsiteX44" fmla="*/ 6089 w 10000"/>
                  <a:gd name="connsiteY44" fmla="*/ 6766 h 10000"/>
                  <a:gd name="connsiteX45" fmla="*/ 6274 w 10000"/>
                  <a:gd name="connsiteY45" fmla="*/ 6541 h 10000"/>
                  <a:gd name="connsiteX46" fmla="*/ 6389 w 10000"/>
                  <a:gd name="connsiteY46" fmla="*/ 6438 h 10000"/>
                  <a:gd name="connsiteX47" fmla="*/ 6524 w 10000"/>
                  <a:gd name="connsiteY47" fmla="*/ 6396 h 10000"/>
                  <a:gd name="connsiteX48" fmla="*/ 6531 w 10000"/>
                  <a:gd name="connsiteY48" fmla="*/ 6265 h 10000"/>
                  <a:gd name="connsiteX49" fmla="*/ 6424 w 10000"/>
                  <a:gd name="connsiteY49" fmla="*/ 5966 h 10000"/>
                  <a:gd name="connsiteX50" fmla="*/ 6602 w 10000"/>
                  <a:gd name="connsiteY50" fmla="*/ 5973 h 10000"/>
                  <a:gd name="connsiteX51" fmla="*/ 6707 w 10000"/>
                  <a:gd name="connsiteY51" fmla="*/ 5860 h 10000"/>
                  <a:gd name="connsiteX52" fmla="*/ 6876 w 10000"/>
                  <a:gd name="connsiteY52" fmla="*/ 5861 h 10000"/>
                  <a:gd name="connsiteX53" fmla="*/ 6827 w 10000"/>
                  <a:gd name="connsiteY53" fmla="*/ 6558 h 10000"/>
                  <a:gd name="connsiteX54" fmla="*/ 6991 w 10000"/>
                  <a:gd name="connsiteY54" fmla="*/ 6637 h 10000"/>
                  <a:gd name="connsiteX55" fmla="*/ 7275 w 10000"/>
                  <a:gd name="connsiteY55" fmla="*/ 6839 h 10000"/>
                  <a:gd name="connsiteX56" fmla="*/ 7430 w 10000"/>
                  <a:gd name="connsiteY56" fmla="*/ 6527 h 10000"/>
                  <a:gd name="connsiteX57" fmla="*/ 7470 w 10000"/>
                  <a:gd name="connsiteY57" fmla="*/ 6559 h 10000"/>
                  <a:gd name="connsiteX58" fmla="*/ 7590 w 10000"/>
                  <a:gd name="connsiteY58" fmla="*/ 6367 h 10000"/>
                  <a:gd name="connsiteX59" fmla="*/ 7831 w 10000"/>
                  <a:gd name="connsiteY59" fmla="*/ 6270 h 10000"/>
                  <a:gd name="connsiteX60" fmla="*/ 7952 w 10000"/>
                  <a:gd name="connsiteY60" fmla="*/ 5916 h 10000"/>
                  <a:gd name="connsiteX61" fmla="*/ 8313 w 10000"/>
                  <a:gd name="connsiteY61" fmla="*/ 5498 h 10000"/>
                  <a:gd name="connsiteX62" fmla="*/ 8594 w 10000"/>
                  <a:gd name="connsiteY62" fmla="*/ 5305 h 10000"/>
                  <a:gd name="connsiteX63" fmla="*/ 8795 w 10000"/>
                  <a:gd name="connsiteY63" fmla="*/ 4759 h 10000"/>
                  <a:gd name="connsiteX64" fmla="*/ 8795 w 10000"/>
                  <a:gd name="connsiteY64" fmla="*/ 4630 h 10000"/>
                  <a:gd name="connsiteX65" fmla="*/ 8755 w 10000"/>
                  <a:gd name="connsiteY65" fmla="*/ 4309 h 10000"/>
                  <a:gd name="connsiteX66" fmla="*/ 9157 w 10000"/>
                  <a:gd name="connsiteY66" fmla="*/ 3151 h 10000"/>
                  <a:gd name="connsiteX67" fmla="*/ 9277 w 10000"/>
                  <a:gd name="connsiteY67" fmla="*/ 3151 h 10000"/>
                  <a:gd name="connsiteX68" fmla="*/ 9438 w 10000"/>
                  <a:gd name="connsiteY68" fmla="*/ 3055 h 10000"/>
                  <a:gd name="connsiteX69" fmla="*/ 9920 w 10000"/>
                  <a:gd name="connsiteY69" fmla="*/ 2894 h 10000"/>
                  <a:gd name="connsiteX70" fmla="*/ 10000 w 10000"/>
                  <a:gd name="connsiteY70" fmla="*/ 2637 h 10000"/>
                  <a:gd name="connsiteX71" fmla="*/ 9960 w 10000"/>
                  <a:gd name="connsiteY71" fmla="*/ 2572 h 10000"/>
                  <a:gd name="connsiteX72" fmla="*/ 9799 w 10000"/>
                  <a:gd name="connsiteY72" fmla="*/ 2572 h 10000"/>
                  <a:gd name="connsiteX73" fmla="*/ 9679 w 10000"/>
                  <a:gd name="connsiteY73" fmla="*/ 2412 h 10000"/>
                  <a:gd name="connsiteX74" fmla="*/ 9438 w 10000"/>
                  <a:gd name="connsiteY74" fmla="*/ 2347 h 10000"/>
                  <a:gd name="connsiteX75" fmla="*/ 9317 w 10000"/>
                  <a:gd name="connsiteY75" fmla="*/ 2219 h 10000"/>
                  <a:gd name="connsiteX76" fmla="*/ 9237 w 10000"/>
                  <a:gd name="connsiteY76" fmla="*/ 1736 h 10000"/>
                  <a:gd name="connsiteX77" fmla="*/ 9237 w 10000"/>
                  <a:gd name="connsiteY77" fmla="*/ 1061 h 10000"/>
                  <a:gd name="connsiteX78" fmla="*/ 9036 w 10000"/>
                  <a:gd name="connsiteY78" fmla="*/ 836 h 10000"/>
                  <a:gd name="connsiteX79" fmla="*/ 8996 w 10000"/>
                  <a:gd name="connsiteY79" fmla="*/ 611 h 10000"/>
                  <a:gd name="connsiteX80" fmla="*/ 8675 w 10000"/>
                  <a:gd name="connsiteY80" fmla="*/ 289 h 10000"/>
                  <a:gd name="connsiteX81" fmla="*/ 8394 w 10000"/>
                  <a:gd name="connsiteY81" fmla="*/ 161 h 10000"/>
                  <a:gd name="connsiteX82" fmla="*/ 8233 w 10000"/>
                  <a:gd name="connsiteY82" fmla="*/ 0 h 10000"/>
                  <a:gd name="connsiteX83" fmla="*/ 7992 w 10000"/>
                  <a:gd name="connsiteY83" fmla="*/ 161 h 10000"/>
                  <a:gd name="connsiteX84" fmla="*/ 7831 w 10000"/>
                  <a:gd name="connsiteY84" fmla="*/ 129 h 10000"/>
                  <a:gd name="connsiteX85" fmla="*/ 7711 w 10000"/>
                  <a:gd name="connsiteY85" fmla="*/ 418 h 10000"/>
                  <a:gd name="connsiteX86" fmla="*/ 7390 w 10000"/>
                  <a:gd name="connsiteY86" fmla="*/ 482 h 10000"/>
                  <a:gd name="connsiteX87" fmla="*/ 7309 w 10000"/>
                  <a:gd name="connsiteY87" fmla="*/ 707 h 10000"/>
                  <a:gd name="connsiteX88" fmla="*/ 7028 w 10000"/>
                  <a:gd name="connsiteY88" fmla="*/ 707 h 10000"/>
                  <a:gd name="connsiteX89" fmla="*/ 6787 w 10000"/>
                  <a:gd name="connsiteY89" fmla="*/ 611 h 10000"/>
                  <a:gd name="connsiteX90" fmla="*/ 6265 w 10000"/>
                  <a:gd name="connsiteY90" fmla="*/ 611 h 10000"/>
                  <a:gd name="connsiteX91" fmla="*/ 5743 w 10000"/>
                  <a:gd name="connsiteY91" fmla="*/ 611 h 10000"/>
                  <a:gd name="connsiteX92" fmla="*/ 5783 w 10000"/>
                  <a:gd name="connsiteY92" fmla="*/ 482 h 10000"/>
                  <a:gd name="connsiteX93" fmla="*/ 5703 w 10000"/>
                  <a:gd name="connsiteY93" fmla="*/ 482 h 10000"/>
                  <a:gd name="connsiteX94" fmla="*/ 5663 w 10000"/>
                  <a:gd name="connsiteY94" fmla="*/ 611 h 10000"/>
                  <a:gd name="connsiteX95" fmla="*/ 5181 w 10000"/>
                  <a:gd name="connsiteY95" fmla="*/ 611 h 10000"/>
                  <a:gd name="connsiteX96" fmla="*/ 4699 w 10000"/>
                  <a:gd name="connsiteY96" fmla="*/ 611 h 10000"/>
                  <a:gd name="connsiteX97" fmla="*/ 4217 w 10000"/>
                  <a:gd name="connsiteY97" fmla="*/ 611 h 10000"/>
                  <a:gd name="connsiteX98" fmla="*/ 3735 w 10000"/>
                  <a:gd name="connsiteY98" fmla="*/ 611 h 10000"/>
                  <a:gd name="connsiteX99" fmla="*/ 3293 w 10000"/>
                  <a:gd name="connsiteY99" fmla="*/ 611 h 10000"/>
                  <a:gd name="connsiteX100" fmla="*/ 2811 w 10000"/>
                  <a:gd name="connsiteY100" fmla="*/ 611 h 10000"/>
                  <a:gd name="connsiteX101" fmla="*/ 2369 w 10000"/>
                  <a:gd name="connsiteY101" fmla="*/ 611 h 10000"/>
                  <a:gd name="connsiteX102" fmla="*/ 1888 w 10000"/>
                  <a:gd name="connsiteY102" fmla="*/ 611 h 10000"/>
                  <a:gd name="connsiteX103" fmla="*/ 1888 w 10000"/>
                  <a:gd name="connsiteY103" fmla="*/ 1061 h 10000"/>
                  <a:gd name="connsiteX104" fmla="*/ 1888 w 10000"/>
                  <a:gd name="connsiteY104" fmla="*/ 1640 h 10000"/>
                  <a:gd name="connsiteX105" fmla="*/ 1285 w 10000"/>
                  <a:gd name="connsiteY105" fmla="*/ 1640 h 10000"/>
                  <a:gd name="connsiteX106" fmla="*/ 1285 w 10000"/>
                  <a:gd name="connsiteY106" fmla="*/ 1897 h 10000"/>
                  <a:gd name="connsiteX0" fmla="*/ 1285 w 10000"/>
                  <a:gd name="connsiteY0" fmla="*/ 1897 h 9968"/>
                  <a:gd name="connsiteX1" fmla="*/ 1285 w 10000"/>
                  <a:gd name="connsiteY1" fmla="*/ 2412 h 9968"/>
                  <a:gd name="connsiteX2" fmla="*/ 1285 w 10000"/>
                  <a:gd name="connsiteY2" fmla="*/ 2894 h 9968"/>
                  <a:gd name="connsiteX3" fmla="*/ 1285 w 10000"/>
                  <a:gd name="connsiteY3" fmla="*/ 3376 h 9968"/>
                  <a:gd name="connsiteX4" fmla="*/ 1285 w 10000"/>
                  <a:gd name="connsiteY4" fmla="*/ 3826 h 9968"/>
                  <a:gd name="connsiteX5" fmla="*/ 643 w 10000"/>
                  <a:gd name="connsiteY5" fmla="*/ 3923 h 9968"/>
                  <a:gd name="connsiteX6" fmla="*/ 522 w 10000"/>
                  <a:gd name="connsiteY6" fmla="*/ 4180 h 9968"/>
                  <a:gd name="connsiteX7" fmla="*/ 241 w 10000"/>
                  <a:gd name="connsiteY7" fmla="*/ 4502 h 9968"/>
                  <a:gd name="connsiteX8" fmla="*/ 241 w 10000"/>
                  <a:gd name="connsiteY8" fmla="*/ 4759 h 9968"/>
                  <a:gd name="connsiteX9" fmla="*/ 120 w 10000"/>
                  <a:gd name="connsiteY9" fmla="*/ 4823 h 9968"/>
                  <a:gd name="connsiteX10" fmla="*/ 120 w 10000"/>
                  <a:gd name="connsiteY10" fmla="*/ 5048 h 9968"/>
                  <a:gd name="connsiteX11" fmla="*/ 0 w 10000"/>
                  <a:gd name="connsiteY11" fmla="*/ 5241 h 9968"/>
                  <a:gd name="connsiteX12" fmla="*/ 0 w 10000"/>
                  <a:gd name="connsiteY12" fmla="*/ 5402 h 9968"/>
                  <a:gd name="connsiteX13" fmla="*/ 241 w 10000"/>
                  <a:gd name="connsiteY13" fmla="*/ 5370 h 9968"/>
                  <a:gd name="connsiteX14" fmla="*/ 281 w 10000"/>
                  <a:gd name="connsiteY14" fmla="*/ 5659 h 9968"/>
                  <a:gd name="connsiteX15" fmla="*/ 602 w 10000"/>
                  <a:gd name="connsiteY15" fmla="*/ 6174 h 9968"/>
                  <a:gd name="connsiteX16" fmla="*/ 602 w 10000"/>
                  <a:gd name="connsiteY16" fmla="*/ 6206 h 9968"/>
                  <a:gd name="connsiteX17" fmla="*/ 482 w 10000"/>
                  <a:gd name="connsiteY17" fmla="*/ 6238 h 9968"/>
                  <a:gd name="connsiteX18" fmla="*/ 964 w 10000"/>
                  <a:gd name="connsiteY18" fmla="*/ 6752 h 9968"/>
                  <a:gd name="connsiteX19" fmla="*/ 1004 w 10000"/>
                  <a:gd name="connsiteY19" fmla="*/ 6913 h 9968"/>
                  <a:gd name="connsiteX20" fmla="*/ 964 w 10000"/>
                  <a:gd name="connsiteY20" fmla="*/ 7363 h 9968"/>
                  <a:gd name="connsiteX21" fmla="*/ 1044 w 10000"/>
                  <a:gd name="connsiteY21" fmla="*/ 7428 h 9968"/>
                  <a:gd name="connsiteX22" fmla="*/ 1365 w 10000"/>
                  <a:gd name="connsiteY22" fmla="*/ 7460 h 9968"/>
                  <a:gd name="connsiteX23" fmla="*/ 1406 w 10000"/>
                  <a:gd name="connsiteY23" fmla="*/ 7588 h 9968"/>
                  <a:gd name="connsiteX24" fmla="*/ 1767 w 10000"/>
                  <a:gd name="connsiteY24" fmla="*/ 7621 h 9968"/>
                  <a:gd name="connsiteX25" fmla="*/ 1968 w 10000"/>
                  <a:gd name="connsiteY25" fmla="*/ 7749 h 9968"/>
                  <a:gd name="connsiteX26" fmla="*/ 2008 w 10000"/>
                  <a:gd name="connsiteY26" fmla="*/ 7974 h 9968"/>
                  <a:gd name="connsiteX27" fmla="*/ 2651 w 10000"/>
                  <a:gd name="connsiteY27" fmla="*/ 8360 h 9968"/>
                  <a:gd name="connsiteX28" fmla="*/ 2811 w 10000"/>
                  <a:gd name="connsiteY28" fmla="*/ 8746 h 9968"/>
                  <a:gd name="connsiteX29" fmla="*/ 3253 w 10000"/>
                  <a:gd name="connsiteY29" fmla="*/ 8939 h 9968"/>
                  <a:gd name="connsiteX30" fmla="*/ 3414 w 10000"/>
                  <a:gd name="connsiteY30" fmla="*/ 9196 h 9968"/>
                  <a:gd name="connsiteX31" fmla="*/ 3735 w 10000"/>
                  <a:gd name="connsiteY31" fmla="*/ 9518 h 9968"/>
                  <a:gd name="connsiteX32" fmla="*/ 3976 w 10000"/>
                  <a:gd name="connsiteY32" fmla="*/ 9614 h 9968"/>
                  <a:gd name="connsiteX33" fmla="*/ 4137 w 10000"/>
                  <a:gd name="connsiteY33" fmla="*/ 9518 h 9968"/>
                  <a:gd name="connsiteX34" fmla="*/ 4538 w 10000"/>
                  <a:gd name="connsiteY34" fmla="*/ 9550 h 9968"/>
                  <a:gd name="connsiteX35" fmla="*/ 4699 w 10000"/>
                  <a:gd name="connsiteY35" fmla="*/ 9486 h 9968"/>
                  <a:gd name="connsiteX36" fmla="*/ 5422 w 10000"/>
                  <a:gd name="connsiteY36" fmla="*/ 9968 h 9968"/>
                  <a:gd name="connsiteX37" fmla="*/ 5462 w 10000"/>
                  <a:gd name="connsiteY37" fmla="*/ 9968 h 9968"/>
                  <a:gd name="connsiteX38" fmla="*/ 5542 w 10000"/>
                  <a:gd name="connsiteY38" fmla="*/ 9904 h 9968"/>
                  <a:gd name="connsiteX39" fmla="*/ 5272 w 10000"/>
                  <a:gd name="connsiteY39" fmla="*/ 9204 h 9968"/>
                  <a:gd name="connsiteX40" fmla="*/ 5337 w 10000"/>
                  <a:gd name="connsiteY40" fmla="*/ 6963 h 9968"/>
                  <a:gd name="connsiteX41" fmla="*/ 5564 w 10000"/>
                  <a:gd name="connsiteY41" fmla="*/ 7085 h 9968"/>
                  <a:gd name="connsiteX42" fmla="*/ 5768 w 10000"/>
                  <a:gd name="connsiteY42" fmla="*/ 7006 h 9968"/>
                  <a:gd name="connsiteX43" fmla="*/ 5933 w 10000"/>
                  <a:gd name="connsiteY43" fmla="*/ 6931 h 9968"/>
                  <a:gd name="connsiteX44" fmla="*/ 6089 w 10000"/>
                  <a:gd name="connsiteY44" fmla="*/ 6766 h 9968"/>
                  <a:gd name="connsiteX45" fmla="*/ 6274 w 10000"/>
                  <a:gd name="connsiteY45" fmla="*/ 6541 h 9968"/>
                  <a:gd name="connsiteX46" fmla="*/ 6389 w 10000"/>
                  <a:gd name="connsiteY46" fmla="*/ 6438 h 9968"/>
                  <a:gd name="connsiteX47" fmla="*/ 6524 w 10000"/>
                  <a:gd name="connsiteY47" fmla="*/ 6396 h 9968"/>
                  <a:gd name="connsiteX48" fmla="*/ 6531 w 10000"/>
                  <a:gd name="connsiteY48" fmla="*/ 6265 h 9968"/>
                  <a:gd name="connsiteX49" fmla="*/ 6424 w 10000"/>
                  <a:gd name="connsiteY49" fmla="*/ 5966 h 9968"/>
                  <a:gd name="connsiteX50" fmla="*/ 6602 w 10000"/>
                  <a:gd name="connsiteY50" fmla="*/ 5973 h 9968"/>
                  <a:gd name="connsiteX51" fmla="*/ 6707 w 10000"/>
                  <a:gd name="connsiteY51" fmla="*/ 5860 h 9968"/>
                  <a:gd name="connsiteX52" fmla="*/ 6876 w 10000"/>
                  <a:gd name="connsiteY52" fmla="*/ 5861 h 9968"/>
                  <a:gd name="connsiteX53" fmla="*/ 6827 w 10000"/>
                  <a:gd name="connsiteY53" fmla="*/ 6558 h 9968"/>
                  <a:gd name="connsiteX54" fmla="*/ 6991 w 10000"/>
                  <a:gd name="connsiteY54" fmla="*/ 6637 h 9968"/>
                  <a:gd name="connsiteX55" fmla="*/ 7275 w 10000"/>
                  <a:gd name="connsiteY55" fmla="*/ 6839 h 9968"/>
                  <a:gd name="connsiteX56" fmla="*/ 7430 w 10000"/>
                  <a:gd name="connsiteY56" fmla="*/ 6527 h 9968"/>
                  <a:gd name="connsiteX57" fmla="*/ 7470 w 10000"/>
                  <a:gd name="connsiteY57" fmla="*/ 6559 h 9968"/>
                  <a:gd name="connsiteX58" fmla="*/ 7590 w 10000"/>
                  <a:gd name="connsiteY58" fmla="*/ 6367 h 9968"/>
                  <a:gd name="connsiteX59" fmla="*/ 7831 w 10000"/>
                  <a:gd name="connsiteY59" fmla="*/ 6270 h 9968"/>
                  <a:gd name="connsiteX60" fmla="*/ 7952 w 10000"/>
                  <a:gd name="connsiteY60" fmla="*/ 5916 h 9968"/>
                  <a:gd name="connsiteX61" fmla="*/ 8313 w 10000"/>
                  <a:gd name="connsiteY61" fmla="*/ 5498 h 9968"/>
                  <a:gd name="connsiteX62" fmla="*/ 8594 w 10000"/>
                  <a:gd name="connsiteY62" fmla="*/ 5305 h 9968"/>
                  <a:gd name="connsiteX63" fmla="*/ 8795 w 10000"/>
                  <a:gd name="connsiteY63" fmla="*/ 4759 h 9968"/>
                  <a:gd name="connsiteX64" fmla="*/ 8795 w 10000"/>
                  <a:gd name="connsiteY64" fmla="*/ 4630 h 9968"/>
                  <a:gd name="connsiteX65" fmla="*/ 8755 w 10000"/>
                  <a:gd name="connsiteY65" fmla="*/ 4309 h 9968"/>
                  <a:gd name="connsiteX66" fmla="*/ 9157 w 10000"/>
                  <a:gd name="connsiteY66" fmla="*/ 3151 h 9968"/>
                  <a:gd name="connsiteX67" fmla="*/ 9277 w 10000"/>
                  <a:gd name="connsiteY67" fmla="*/ 3151 h 9968"/>
                  <a:gd name="connsiteX68" fmla="*/ 9438 w 10000"/>
                  <a:gd name="connsiteY68" fmla="*/ 3055 h 9968"/>
                  <a:gd name="connsiteX69" fmla="*/ 9920 w 10000"/>
                  <a:gd name="connsiteY69" fmla="*/ 2894 h 9968"/>
                  <a:gd name="connsiteX70" fmla="*/ 10000 w 10000"/>
                  <a:gd name="connsiteY70" fmla="*/ 2637 h 9968"/>
                  <a:gd name="connsiteX71" fmla="*/ 9960 w 10000"/>
                  <a:gd name="connsiteY71" fmla="*/ 2572 h 9968"/>
                  <a:gd name="connsiteX72" fmla="*/ 9799 w 10000"/>
                  <a:gd name="connsiteY72" fmla="*/ 2572 h 9968"/>
                  <a:gd name="connsiteX73" fmla="*/ 9679 w 10000"/>
                  <a:gd name="connsiteY73" fmla="*/ 2412 h 9968"/>
                  <a:gd name="connsiteX74" fmla="*/ 9438 w 10000"/>
                  <a:gd name="connsiteY74" fmla="*/ 2347 h 9968"/>
                  <a:gd name="connsiteX75" fmla="*/ 9317 w 10000"/>
                  <a:gd name="connsiteY75" fmla="*/ 2219 h 9968"/>
                  <a:gd name="connsiteX76" fmla="*/ 9237 w 10000"/>
                  <a:gd name="connsiteY76" fmla="*/ 1736 h 9968"/>
                  <a:gd name="connsiteX77" fmla="*/ 9237 w 10000"/>
                  <a:gd name="connsiteY77" fmla="*/ 1061 h 9968"/>
                  <a:gd name="connsiteX78" fmla="*/ 9036 w 10000"/>
                  <a:gd name="connsiteY78" fmla="*/ 836 h 9968"/>
                  <a:gd name="connsiteX79" fmla="*/ 8996 w 10000"/>
                  <a:gd name="connsiteY79" fmla="*/ 611 h 9968"/>
                  <a:gd name="connsiteX80" fmla="*/ 8675 w 10000"/>
                  <a:gd name="connsiteY80" fmla="*/ 289 h 9968"/>
                  <a:gd name="connsiteX81" fmla="*/ 8394 w 10000"/>
                  <a:gd name="connsiteY81" fmla="*/ 161 h 9968"/>
                  <a:gd name="connsiteX82" fmla="*/ 8233 w 10000"/>
                  <a:gd name="connsiteY82" fmla="*/ 0 h 9968"/>
                  <a:gd name="connsiteX83" fmla="*/ 7992 w 10000"/>
                  <a:gd name="connsiteY83" fmla="*/ 161 h 9968"/>
                  <a:gd name="connsiteX84" fmla="*/ 7831 w 10000"/>
                  <a:gd name="connsiteY84" fmla="*/ 129 h 9968"/>
                  <a:gd name="connsiteX85" fmla="*/ 7711 w 10000"/>
                  <a:gd name="connsiteY85" fmla="*/ 418 h 9968"/>
                  <a:gd name="connsiteX86" fmla="*/ 7390 w 10000"/>
                  <a:gd name="connsiteY86" fmla="*/ 482 h 9968"/>
                  <a:gd name="connsiteX87" fmla="*/ 7309 w 10000"/>
                  <a:gd name="connsiteY87" fmla="*/ 707 h 9968"/>
                  <a:gd name="connsiteX88" fmla="*/ 7028 w 10000"/>
                  <a:gd name="connsiteY88" fmla="*/ 707 h 9968"/>
                  <a:gd name="connsiteX89" fmla="*/ 6787 w 10000"/>
                  <a:gd name="connsiteY89" fmla="*/ 611 h 9968"/>
                  <a:gd name="connsiteX90" fmla="*/ 6265 w 10000"/>
                  <a:gd name="connsiteY90" fmla="*/ 611 h 9968"/>
                  <a:gd name="connsiteX91" fmla="*/ 5743 w 10000"/>
                  <a:gd name="connsiteY91" fmla="*/ 611 h 9968"/>
                  <a:gd name="connsiteX92" fmla="*/ 5783 w 10000"/>
                  <a:gd name="connsiteY92" fmla="*/ 482 h 9968"/>
                  <a:gd name="connsiteX93" fmla="*/ 5703 w 10000"/>
                  <a:gd name="connsiteY93" fmla="*/ 482 h 9968"/>
                  <a:gd name="connsiteX94" fmla="*/ 5663 w 10000"/>
                  <a:gd name="connsiteY94" fmla="*/ 611 h 9968"/>
                  <a:gd name="connsiteX95" fmla="*/ 5181 w 10000"/>
                  <a:gd name="connsiteY95" fmla="*/ 611 h 9968"/>
                  <a:gd name="connsiteX96" fmla="*/ 4699 w 10000"/>
                  <a:gd name="connsiteY96" fmla="*/ 611 h 9968"/>
                  <a:gd name="connsiteX97" fmla="*/ 4217 w 10000"/>
                  <a:gd name="connsiteY97" fmla="*/ 611 h 9968"/>
                  <a:gd name="connsiteX98" fmla="*/ 3735 w 10000"/>
                  <a:gd name="connsiteY98" fmla="*/ 611 h 9968"/>
                  <a:gd name="connsiteX99" fmla="*/ 3293 w 10000"/>
                  <a:gd name="connsiteY99" fmla="*/ 611 h 9968"/>
                  <a:gd name="connsiteX100" fmla="*/ 2811 w 10000"/>
                  <a:gd name="connsiteY100" fmla="*/ 611 h 9968"/>
                  <a:gd name="connsiteX101" fmla="*/ 2369 w 10000"/>
                  <a:gd name="connsiteY101" fmla="*/ 611 h 9968"/>
                  <a:gd name="connsiteX102" fmla="*/ 1888 w 10000"/>
                  <a:gd name="connsiteY102" fmla="*/ 611 h 9968"/>
                  <a:gd name="connsiteX103" fmla="*/ 1888 w 10000"/>
                  <a:gd name="connsiteY103" fmla="*/ 1061 h 9968"/>
                  <a:gd name="connsiteX104" fmla="*/ 1888 w 10000"/>
                  <a:gd name="connsiteY104" fmla="*/ 1640 h 9968"/>
                  <a:gd name="connsiteX105" fmla="*/ 1285 w 10000"/>
                  <a:gd name="connsiteY105" fmla="*/ 1640 h 9968"/>
                  <a:gd name="connsiteX106" fmla="*/ 1285 w 10000"/>
                  <a:gd name="connsiteY106" fmla="*/ 1897 h 9968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5462 w 10000"/>
                  <a:gd name="connsiteY37" fmla="*/ 10000 h 10000"/>
                  <a:gd name="connsiteX38" fmla="*/ 5542 w 10000"/>
                  <a:gd name="connsiteY38" fmla="*/ 9936 h 10000"/>
                  <a:gd name="connsiteX39" fmla="*/ 5140 w 10000"/>
                  <a:gd name="connsiteY39" fmla="*/ 6956 h 10000"/>
                  <a:gd name="connsiteX40" fmla="*/ 5337 w 10000"/>
                  <a:gd name="connsiteY40" fmla="*/ 6985 h 10000"/>
                  <a:gd name="connsiteX41" fmla="*/ 5564 w 10000"/>
                  <a:gd name="connsiteY41" fmla="*/ 7108 h 10000"/>
                  <a:gd name="connsiteX42" fmla="*/ 5768 w 10000"/>
                  <a:gd name="connsiteY42" fmla="*/ 7028 h 10000"/>
                  <a:gd name="connsiteX43" fmla="*/ 5933 w 10000"/>
                  <a:gd name="connsiteY43" fmla="*/ 6953 h 10000"/>
                  <a:gd name="connsiteX44" fmla="*/ 6089 w 10000"/>
                  <a:gd name="connsiteY44" fmla="*/ 6788 h 10000"/>
                  <a:gd name="connsiteX45" fmla="*/ 6274 w 10000"/>
                  <a:gd name="connsiteY45" fmla="*/ 6562 h 10000"/>
                  <a:gd name="connsiteX46" fmla="*/ 6389 w 10000"/>
                  <a:gd name="connsiteY46" fmla="*/ 6459 h 10000"/>
                  <a:gd name="connsiteX47" fmla="*/ 6524 w 10000"/>
                  <a:gd name="connsiteY47" fmla="*/ 6417 h 10000"/>
                  <a:gd name="connsiteX48" fmla="*/ 6531 w 10000"/>
                  <a:gd name="connsiteY48" fmla="*/ 6285 h 10000"/>
                  <a:gd name="connsiteX49" fmla="*/ 6424 w 10000"/>
                  <a:gd name="connsiteY49" fmla="*/ 5985 h 10000"/>
                  <a:gd name="connsiteX50" fmla="*/ 6602 w 10000"/>
                  <a:gd name="connsiteY50" fmla="*/ 5992 h 10000"/>
                  <a:gd name="connsiteX51" fmla="*/ 6707 w 10000"/>
                  <a:gd name="connsiteY51" fmla="*/ 5879 h 10000"/>
                  <a:gd name="connsiteX52" fmla="*/ 6876 w 10000"/>
                  <a:gd name="connsiteY52" fmla="*/ 5880 h 10000"/>
                  <a:gd name="connsiteX53" fmla="*/ 6827 w 10000"/>
                  <a:gd name="connsiteY53" fmla="*/ 6579 h 10000"/>
                  <a:gd name="connsiteX54" fmla="*/ 6991 w 10000"/>
                  <a:gd name="connsiteY54" fmla="*/ 6658 h 10000"/>
                  <a:gd name="connsiteX55" fmla="*/ 7275 w 10000"/>
                  <a:gd name="connsiteY55" fmla="*/ 6861 h 10000"/>
                  <a:gd name="connsiteX56" fmla="*/ 7430 w 10000"/>
                  <a:gd name="connsiteY56" fmla="*/ 6548 h 10000"/>
                  <a:gd name="connsiteX57" fmla="*/ 7470 w 10000"/>
                  <a:gd name="connsiteY57" fmla="*/ 6580 h 10000"/>
                  <a:gd name="connsiteX58" fmla="*/ 7590 w 10000"/>
                  <a:gd name="connsiteY58" fmla="*/ 6387 h 10000"/>
                  <a:gd name="connsiteX59" fmla="*/ 7831 w 10000"/>
                  <a:gd name="connsiteY59" fmla="*/ 6290 h 10000"/>
                  <a:gd name="connsiteX60" fmla="*/ 7952 w 10000"/>
                  <a:gd name="connsiteY60" fmla="*/ 5935 h 10000"/>
                  <a:gd name="connsiteX61" fmla="*/ 8313 w 10000"/>
                  <a:gd name="connsiteY61" fmla="*/ 5516 h 10000"/>
                  <a:gd name="connsiteX62" fmla="*/ 8594 w 10000"/>
                  <a:gd name="connsiteY62" fmla="*/ 5322 h 10000"/>
                  <a:gd name="connsiteX63" fmla="*/ 8795 w 10000"/>
                  <a:gd name="connsiteY63" fmla="*/ 4774 h 10000"/>
                  <a:gd name="connsiteX64" fmla="*/ 8795 w 10000"/>
                  <a:gd name="connsiteY64" fmla="*/ 4645 h 10000"/>
                  <a:gd name="connsiteX65" fmla="*/ 8755 w 10000"/>
                  <a:gd name="connsiteY65" fmla="*/ 4323 h 10000"/>
                  <a:gd name="connsiteX66" fmla="*/ 9157 w 10000"/>
                  <a:gd name="connsiteY66" fmla="*/ 3161 h 10000"/>
                  <a:gd name="connsiteX67" fmla="*/ 9277 w 10000"/>
                  <a:gd name="connsiteY67" fmla="*/ 3161 h 10000"/>
                  <a:gd name="connsiteX68" fmla="*/ 9438 w 10000"/>
                  <a:gd name="connsiteY68" fmla="*/ 3065 h 10000"/>
                  <a:gd name="connsiteX69" fmla="*/ 9920 w 10000"/>
                  <a:gd name="connsiteY69" fmla="*/ 2903 h 10000"/>
                  <a:gd name="connsiteX70" fmla="*/ 10000 w 10000"/>
                  <a:gd name="connsiteY70" fmla="*/ 2645 h 10000"/>
                  <a:gd name="connsiteX71" fmla="*/ 9960 w 10000"/>
                  <a:gd name="connsiteY71" fmla="*/ 2580 h 10000"/>
                  <a:gd name="connsiteX72" fmla="*/ 9799 w 10000"/>
                  <a:gd name="connsiteY72" fmla="*/ 2580 h 10000"/>
                  <a:gd name="connsiteX73" fmla="*/ 9679 w 10000"/>
                  <a:gd name="connsiteY73" fmla="*/ 2420 h 10000"/>
                  <a:gd name="connsiteX74" fmla="*/ 9438 w 10000"/>
                  <a:gd name="connsiteY74" fmla="*/ 2355 h 10000"/>
                  <a:gd name="connsiteX75" fmla="*/ 9317 w 10000"/>
                  <a:gd name="connsiteY75" fmla="*/ 2226 h 10000"/>
                  <a:gd name="connsiteX76" fmla="*/ 9237 w 10000"/>
                  <a:gd name="connsiteY76" fmla="*/ 1742 h 10000"/>
                  <a:gd name="connsiteX77" fmla="*/ 9237 w 10000"/>
                  <a:gd name="connsiteY77" fmla="*/ 1064 h 10000"/>
                  <a:gd name="connsiteX78" fmla="*/ 9036 w 10000"/>
                  <a:gd name="connsiteY78" fmla="*/ 839 h 10000"/>
                  <a:gd name="connsiteX79" fmla="*/ 8996 w 10000"/>
                  <a:gd name="connsiteY79" fmla="*/ 613 h 10000"/>
                  <a:gd name="connsiteX80" fmla="*/ 8675 w 10000"/>
                  <a:gd name="connsiteY80" fmla="*/ 290 h 10000"/>
                  <a:gd name="connsiteX81" fmla="*/ 8394 w 10000"/>
                  <a:gd name="connsiteY81" fmla="*/ 162 h 10000"/>
                  <a:gd name="connsiteX82" fmla="*/ 8233 w 10000"/>
                  <a:gd name="connsiteY82" fmla="*/ 0 h 10000"/>
                  <a:gd name="connsiteX83" fmla="*/ 7992 w 10000"/>
                  <a:gd name="connsiteY83" fmla="*/ 162 h 10000"/>
                  <a:gd name="connsiteX84" fmla="*/ 7831 w 10000"/>
                  <a:gd name="connsiteY84" fmla="*/ 129 h 10000"/>
                  <a:gd name="connsiteX85" fmla="*/ 7711 w 10000"/>
                  <a:gd name="connsiteY85" fmla="*/ 419 h 10000"/>
                  <a:gd name="connsiteX86" fmla="*/ 7390 w 10000"/>
                  <a:gd name="connsiteY86" fmla="*/ 484 h 10000"/>
                  <a:gd name="connsiteX87" fmla="*/ 7309 w 10000"/>
                  <a:gd name="connsiteY87" fmla="*/ 709 h 10000"/>
                  <a:gd name="connsiteX88" fmla="*/ 7028 w 10000"/>
                  <a:gd name="connsiteY88" fmla="*/ 709 h 10000"/>
                  <a:gd name="connsiteX89" fmla="*/ 6787 w 10000"/>
                  <a:gd name="connsiteY89" fmla="*/ 613 h 10000"/>
                  <a:gd name="connsiteX90" fmla="*/ 6265 w 10000"/>
                  <a:gd name="connsiteY90" fmla="*/ 613 h 10000"/>
                  <a:gd name="connsiteX91" fmla="*/ 5743 w 10000"/>
                  <a:gd name="connsiteY91" fmla="*/ 613 h 10000"/>
                  <a:gd name="connsiteX92" fmla="*/ 5783 w 10000"/>
                  <a:gd name="connsiteY92" fmla="*/ 484 h 10000"/>
                  <a:gd name="connsiteX93" fmla="*/ 5703 w 10000"/>
                  <a:gd name="connsiteY93" fmla="*/ 484 h 10000"/>
                  <a:gd name="connsiteX94" fmla="*/ 5663 w 10000"/>
                  <a:gd name="connsiteY94" fmla="*/ 613 h 10000"/>
                  <a:gd name="connsiteX95" fmla="*/ 5181 w 10000"/>
                  <a:gd name="connsiteY95" fmla="*/ 613 h 10000"/>
                  <a:gd name="connsiteX96" fmla="*/ 4699 w 10000"/>
                  <a:gd name="connsiteY96" fmla="*/ 613 h 10000"/>
                  <a:gd name="connsiteX97" fmla="*/ 4217 w 10000"/>
                  <a:gd name="connsiteY97" fmla="*/ 613 h 10000"/>
                  <a:gd name="connsiteX98" fmla="*/ 3735 w 10000"/>
                  <a:gd name="connsiteY98" fmla="*/ 613 h 10000"/>
                  <a:gd name="connsiteX99" fmla="*/ 3293 w 10000"/>
                  <a:gd name="connsiteY99" fmla="*/ 613 h 10000"/>
                  <a:gd name="connsiteX100" fmla="*/ 2811 w 10000"/>
                  <a:gd name="connsiteY100" fmla="*/ 613 h 10000"/>
                  <a:gd name="connsiteX101" fmla="*/ 2369 w 10000"/>
                  <a:gd name="connsiteY101" fmla="*/ 613 h 10000"/>
                  <a:gd name="connsiteX102" fmla="*/ 1888 w 10000"/>
                  <a:gd name="connsiteY102" fmla="*/ 613 h 10000"/>
                  <a:gd name="connsiteX103" fmla="*/ 1888 w 10000"/>
                  <a:gd name="connsiteY103" fmla="*/ 1064 h 10000"/>
                  <a:gd name="connsiteX104" fmla="*/ 1888 w 10000"/>
                  <a:gd name="connsiteY104" fmla="*/ 1645 h 10000"/>
                  <a:gd name="connsiteX105" fmla="*/ 1285 w 10000"/>
                  <a:gd name="connsiteY105" fmla="*/ 1645 h 10000"/>
                  <a:gd name="connsiteX106" fmla="*/ 1285 w 10000"/>
                  <a:gd name="connsiteY106" fmla="*/ 1903 h 10000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5462 w 10000"/>
                  <a:gd name="connsiteY37" fmla="*/ 10000 h 10000"/>
                  <a:gd name="connsiteX38" fmla="*/ 5542 w 10000"/>
                  <a:gd name="connsiteY38" fmla="*/ 9936 h 10000"/>
                  <a:gd name="connsiteX39" fmla="*/ 4992 w 10000"/>
                  <a:gd name="connsiteY39" fmla="*/ 6837 h 10000"/>
                  <a:gd name="connsiteX40" fmla="*/ 5337 w 10000"/>
                  <a:gd name="connsiteY40" fmla="*/ 6985 h 10000"/>
                  <a:gd name="connsiteX41" fmla="*/ 5564 w 10000"/>
                  <a:gd name="connsiteY41" fmla="*/ 7108 h 10000"/>
                  <a:gd name="connsiteX42" fmla="*/ 5768 w 10000"/>
                  <a:gd name="connsiteY42" fmla="*/ 7028 h 10000"/>
                  <a:gd name="connsiteX43" fmla="*/ 5933 w 10000"/>
                  <a:gd name="connsiteY43" fmla="*/ 6953 h 10000"/>
                  <a:gd name="connsiteX44" fmla="*/ 6089 w 10000"/>
                  <a:gd name="connsiteY44" fmla="*/ 6788 h 10000"/>
                  <a:gd name="connsiteX45" fmla="*/ 6274 w 10000"/>
                  <a:gd name="connsiteY45" fmla="*/ 6562 h 10000"/>
                  <a:gd name="connsiteX46" fmla="*/ 6389 w 10000"/>
                  <a:gd name="connsiteY46" fmla="*/ 6459 h 10000"/>
                  <a:gd name="connsiteX47" fmla="*/ 6524 w 10000"/>
                  <a:gd name="connsiteY47" fmla="*/ 6417 h 10000"/>
                  <a:gd name="connsiteX48" fmla="*/ 6531 w 10000"/>
                  <a:gd name="connsiteY48" fmla="*/ 6285 h 10000"/>
                  <a:gd name="connsiteX49" fmla="*/ 6424 w 10000"/>
                  <a:gd name="connsiteY49" fmla="*/ 5985 h 10000"/>
                  <a:gd name="connsiteX50" fmla="*/ 6602 w 10000"/>
                  <a:gd name="connsiteY50" fmla="*/ 5992 h 10000"/>
                  <a:gd name="connsiteX51" fmla="*/ 6707 w 10000"/>
                  <a:gd name="connsiteY51" fmla="*/ 5879 h 10000"/>
                  <a:gd name="connsiteX52" fmla="*/ 6876 w 10000"/>
                  <a:gd name="connsiteY52" fmla="*/ 5880 h 10000"/>
                  <a:gd name="connsiteX53" fmla="*/ 6827 w 10000"/>
                  <a:gd name="connsiteY53" fmla="*/ 6579 h 10000"/>
                  <a:gd name="connsiteX54" fmla="*/ 6991 w 10000"/>
                  <a:gd name="connsiteY54" fmla="*/ 6658 h 10000"/>
                  <a:gd name="connsiteX55" fmla="*/ 7275 w 10000"/>
                  <a:gd name="connsiteY55" fmla="*/ 6861 h 10000"/>
                  <a:gd name="connsiteX56" fmla="*/ 7430 w 10000"/>
                  <a:gd name="connsiteY56" fmla="*/ 6548 h 10000"/>
                  <a:gd name="connsiteX57" fmla="*/ 7470 w 10000"/>
                  <a:gd name="connsiteY57" fmla="*/ 6580 h 10000"/>
                  <a:gd name="connsiteX58" fmla="*/ 7590 w 10000"/>
                  <a:gd name="connsiteY58" fmla="*/ 6387 h 10000"/>
                  <a:gd name="connsiteX59" fmla="*/ 7831 w 10000"/>
                  <a:gd name="connsiteY59" fmla="*/ 6290 h 10000"/>
                  <a:gd name="connsiteX60" fmla="*/ 7952 w 10000"/>
                  <a:gd name="connsiteY60" fmla="*/ 5935 h 10000"/>
                  <a:gd name="connsiteX61" fmla="*/ 8313 w 10000"/>
                  <a:gd name="connsiteY61" fmla="*/ 5516 h 10000"/>
                  <a:gd name="connsiteX62" fmla="*/ 8594 w 10000"/>
                  <a:gd name="connsiteY62" fmla="*/ 5322 h 10000"/>
                  <a:gd name="connsiteX63" fmla="*/ 8795 w 10000"/>
                  <a:gd name="connsiteY63" fmla="*/ 4774 h 10000"/>
                  <a:gd name="connsiteX64" fmla="*/ 8795 w 10000"/>
                  <a:gd name="connsiteY64" fmla="*/ 4645 h 10000"/>
                  <a:gd name="connsiteX65" fmla="*/ 8755 w 10000"/>
                  <a:gd name="connsiteY65" fmla="*/ 4323 h 10000"/>
                  <a:gd name="connsiteX66" fmla="*/ 9157 w 10000"/>
                  <a:gd name="connsiteY66" fmla="*/ 3161 h 10000"/>
                  <a:gd name="connsiteX67" fmla="*/ 9277 w 10000"/>
                  <a:gd name="connsiteY67" fmla="*/ 3161 h 10000"/>
                  <a:gd name="connsiteX68" fmla="*/ 9438 w 10000"/>
                  <a:gd name="connsiteY68" fmla="*/ 3065 h 10000"/>
                  <a:gd name="connsiteX69" fmla="*/ 9920 w 10000"/>
                  <a:gd name="connsiteY69" fmla="*/ 2903 h 10000"/>
                  <a:gd name="connsiteX70" fmla="*/ 10000 w 10000"/>
                  <a:gd name="connsiteY70" fmla="*/ 2645 h 10000"/>
                  <a:gd name="connsiteX71" fmla="*/ 9960 w 10000"/>
                  <a:gd name="connsiteY71" fmla="*/ 2580 h 10000"/>
                  <a:gd name="connsiteX72" fmla="*/ 9799 w 10000"/>
                  <a:gd name="connsiteY72" fmla="*/ 2580 h 10000"/>
                  <a:gd name="connsiteX73" fmla="*/ 9679 w 10000"/>
                  <a:gd name="connsiteY73" fmla="*/ 2420 h 10000"/>
                  <a:gd name="connsiteX74" fmla="*/ 9438 w 10000"/>
                  <a:gd name="connsiteY74" fmla="*/ 2355 h 10000"/>
                  <a:gd name="connsiteX75" fmla="*/ 9317 w 10000"/>
                  <a:gd name="connsiteY75" fmla="*/ 2226 h 10000"/>
                  <a:gd name="connsiteX76" fmla="*/ 9237 w 10000"/>
                  <a:gd name="connsiteY76" fmla="*/ 1742 h 10000"/>
                  <a:gd name="connsiteX77" fmla="*/ 9237 w 10000"/>
                  <a:gd name="connsiteY77" fmla="*/ 1064 h 10000"/>
                  <a:gd name="connsiteX78" fmla="*/ 9036 w 10000"/>
                  <a:gd name="connsiteY78" fmla="*/ 839 h 10000"/>
                  <a:gd name="connsiteX79" fmla="*/ 8996 w 10000"/>
                  <a:gd name="connsiteY79" fmla="*/ 613 h 10000"/>
                  <a:gd name="connsiteX80" fmla="*/ 8675 w 10000"/>
                  <a:gd name="connsiteY80" fmla="*/ 290 h 10000"/>
                  <a:gd name="connsiteX81" fmla="*/ 8394 w 10000"/>
                  <a:gd name="connsiteY81" fmla="*/ 162 h 10000"/>
                  <a:gd name="connsiteX82" fmla="*/ 8233 w 10000"/>
                  <a:gd name="connsiteY82" fmla="*/ 0 h 10000"/>
                  <a:gd name="connsiteX83" fmla="*/ 7992 w 10000"/>
                  <a:gd name="connsiteY83" fmla="*/ 162 h 10000"/>
                  <a:gd name="connsiteX84" fmla="*/ 7831 w 10000"/>
                  <a:gd name="connsiteY84" fmla="*/ 129 h 10000"/>
                  <a:gd name="connsiteX85" fmla="*/ 7711 w 10000"/>
                  <a:gd name="connsiteY85" fmla="*/ 419 h 10000"/>
                  <a:gd name="connsiteX86" fmla="*/ 7390 w 10000"/>
                  <a:gd name="connsiteY86" fmla="*/ 484 h 10000"/>
                  <a:gd name="connsiteX87" fmla="*/ 7309 w 10000"/>
                  <a:gd name="connsiteY87" fmla="*/ 709 h 10000"/>
                  <a:gd name="connsiteX88" fmla="*/ 7028 w 10000"/>
                  <a:gd name="connsiteY88" fmla="*/ 709 h 10000"/>
                  <a:gd name="connsiteX89" fmla="*/ 6787 w 10000"/>
                  <a:gd name="connsiteY89" fmla="*/ 613 h 10000"/>
                  <a:gd name="connsiteX90" fmla="*/ 6265 w 10000"/>
                  <a:gd name="connsiteY90" fmla="*/ 613 h 10000"/>
                  <a:gd name="connsiteX91" fmla="*/ 5743 w 10000"/>
                  <a:gd name="connsiteY91" fmla="*/ 613 h 10000"/>
                  <a:gd name="connsiteX92" fmla="*/ 5783 w 10000"/>
                  <a:gd name="connsiteY92" fmla="*/ 484 h 10000"/>
                  <a:gd name="connsiteX93" fmla="*/ 5703 w 10000"/>
                  <a:gd name="connsiteY93" fmla="*/ 484 h 10000"/>
                  <a:gd name="connsiteX94" fmla="*/ 5663 w 10000"/>
                  <a:gd name="connsiteY94" fmla="*/ 613 h 10000"/>
                  <a:gd name="connsiteX95" fmla="*/ 5181 w 10000"/>
                  <a:gd name="connsiteY95" fmla="*/ 613 h 10000"/>
                  <a:gd name="connsiteX96" fmla="*/ 4699 w 10000"/>
                  <a:gd name="connsiteY96" fmla="*/ 613 h 10000"/>
                  <a:gd name="connsiteX97" fmla="*/ 4217 w 10000"/>
                  <a:gd name="connsiteY97" fmla="*/ 613 h 10000"/>
                  <a:gd name="connsiteX98" fmla="*/ 3735 w 10000"/>
                  <a:gd name="connsiteY98" fmla="*/ 613 h 10000"/>
                  <a:gd name="connsiteX99" fmla="*/ 3293 w 10000"/>
                  <a:gd name="connsiteY99" fmla="*/ 613 h 10000"/>
                  <a:gd name="connsiteX100" fmla="*/ 2811 w 10000"/>
                  <a:gd name="connsiteY100" fmla="*/ 613 h 10000"/>
                  <a:gd name="connsiteX101" fmla="*/ 2369 w 10000"/>
                  <a:gd name="connsiteY101" fmla="*/ 613 h 10000"/>
                  <a:gd name="connsiteX102" fmla="*/ 1888 w 10000"/>
                  <a:gd name="connsiteY102" fmla="*/ 613 h 10000"/>
                  <a:gd name="connsiteX103" fmla="*/ 1888 w 10000"/>
                  <a:gd name="connsiteY103" fmla="*/ 1064 h 10000"/>
                  <a:gd name="connsiteX104" fmla="*/ 1888 w 10000"/>
                  <a:gd name="connsiteY104" fmla="*/ 1645 h 10000"/>
                  <a:gd name="connsiteX105" fmla="*/ 1285 w 10000"/>
                  <a:gd name="connsiteY105" fmla="*/ 1645 h 10000"/>
                  <a:gd name="connsiteX106" fmla="*/ 1285 w 10000"/>
                  <a:gd name="connsiteY106" fmla="*/ 1903 h 10000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5462 w 10000"/>
                  <a:gd name="connsiteY37" fmla="*/ 10000 h 10000"/>
                  <a:gd name="connsiteX38" fmla="*/ 5542 w 10000"/>
                  <a:gd name="connsiteY38" fmla="*/ 9936 h 10000"/>
                  <a:gd name="connsiteX39" fmla="*/ 4877 w 10000"/>
                  <a:gd name="connsiteY39" fmla="*/ 7830 h 10000"/>
                  <a:gd name="connsiteX40" fmla="*/ 5337 w 10000"/>
                  <a:gd name="connsiteY40" fmla="*/ 6985 h 10000"/>
                  <a:gd name="connsiteX41" fmla="*/ 5564 w 10000"/>
                  <a:gd name="connsiteY41" fmla="*/ 7108 h 10000"/>
                  <a:gd name="connsiteX42" fmla="*/ 5768 w 10000"/>
                  <a:gd name="connsiteY42" fmla="*/ 7028 h 10000"/>
                  <a:gd name="connsiteX43" fmla="*/ 5933 w 10000"/>
                  <a:gd name="connsiteY43" fmla="*/ 6953 h 10000"/>
                  <a:gd name="connsiteX44" fmla="*/ 6089 w 10000"/>
                  <a:gd name="connsiteY44" fmla="*/ 6788 h 10000"/>
                  <a:gd name="connsiteX45" fmla="*/ 6274 w 10000"/>
                  <a:gd name="connsiteY45" fmla="*/ 6562 h 10000"/>
                  <a:gd name="connsiteX46" fmla="*/ 6389 w 10000"/>
                  <a:gd name="connsiteY46" fmla="*/ 6459 h 10000"/>
                  <a:gd name="connsiteX47" fmla="*/ 6524 w 10000"/>
                  <a:gd name="connsiteY47" fmla="*/ 6417 h 10000"/>
                  <a:gd name="connsiteX48" fmla="*/ 6531 w 10000"/>
                  <a:gd name="connsiteY48" fmla="*/ 6285 h 10000"/>
                  <a:gd name="connsiteX49" fmla="*/ 6424 w 10000"/>
                  <a:gd name="connsiteY49" fmla="*/ 5985 h 10000"/>
                  <a:gd name="connsiteX50" fmla="*/ 6602 w 10000"/>
                  <a:gd name="connsiteY50" fmla="*/ 5992 h 10000"/>
                  <a:gd name="connsiteX51" fmla="*/ 6707 w 10000"/>
                  <a:gd name="connsiteY51" fmla="*/ 5879 h 10000"/>
                  <a:gd name="connsiteX52" fmla="*/ 6876 w 10000"/>
                  <a:gd name="connsiteY52" fmla="*/ 5880 h 10000"/>
                  <a:gd name="connsiteX53" fmla="*/ 6827 w 10000"/>
                  <a:gd name="connsiteY53" fmla="*/ 6579 h 10000"/>
                  <a:gd name="connsiteX54" fmla="*/ 6991 w 10000"/>
                  <a:gd name="connsiteY54" fmla="*/ 6658 h 10000"/>
                  <a:gd name="connsiteX55" fmla="*/ 7275 w 10000"/>
                  <a:gd name="connsiteY55" fmla="*/ 6861 h 10000"/>
                  <a:gd name="connsiteX56" fmla="*/ 7430 w 10000"/>
                  <a:gd name="connsiteY56" fmla="*/ 6548 h 10000"/>
                  <a:gd name="connsiteX57" fmla="*/ 7470 w 10000"/>
                  <a:gd name="connsiteY57" fmla="*/ 6580 h 10000"/>
                  <a:gd name="connsiteX58" fmla="*/ 7590 w 10000"/>
                  <a:gd name="connsiteY58" fmla="*/ 6387 h 10000"/>
                  <a:gd name="connsiteX59" fmla="*/ 7831 w 10000"/>
                  <a:gd name="connsiteY59" fmla="*/ 6290 h 10000"/>
                  <a:gd name="connsiteX60" fmla="*/ 7952 w 10000"/>
                  <a:gd name="connsiteY60" fmla="*/ 5935 h 10000"/>
                  <a:gd name="connsiteX61" fmla="*/ 8313 w 10000"/>
                  <a:gd name="connsiteY61" fmla="*/ 5516 h 10000"/>
                  <a:gd name="connsiteX62" fmla="*/ 8594 w 10000"/>
                  <a:gd name="connsiteY62" fmla="*/ 5322 h 10000"/>
                  <a:gd name="connsiteX63" fmla="*/ 8795 w 10000"/>
                  <a:gd name="connsiteY63" fmla="*/ 4774 h 10000"/>
                  <a:gd name="connsiteX64" fmla="*/ 8795 w 10000"/>
                  <a:gd name="connsiteY64" fmla="*/ 4645 h 10000"/>
                  <a:gd name="connsiteX65" fmla="*/ 8755 w 10000"/>
                  <a:gd name="connsiteY65" fmla="*/ 4323 h 10000"/>
                  <a:gd name="connsiteX66" fmla="*/ 9157 w 10000"/>
                  <a:gd name="connsiteY66" fmla="*/ 3161 h 10000"/>
                  <a:gd name="connsiteX67" fmla="*/ 9277 w 10000"/>
                  <a:gd name="connsiteY67" fmla="*/ 3161 h 10000"/>
                  <a:gd name="connsiteX68" fmla="*/ 9438 w 10000"/>
                  <a:gd name="connsiteY68" fmla="*/ 3065 h 10000"/>
                  <a:gd name="connsiteX69" fmla="*/ 9920 w 10000"/>
                  <a:gd name="connsiteY69" fmla="*/ 2903 h 10000"/>
                  <a:gd name="connsiteX70" fmla="*/ 10000 w 10000"/>
                  <a:gd name="connsiteY70" fmla="*/ 2645 h 10000"/>
                  <a:gd name="connsiteX71" fmla="*/ 9960 w 10000"/>
                  <a:gd name="connsiteY71" fmla="*/ 2580 h 10000"/>
                  <a:gd name="connsiteX72" fmla="*/ 9799 w 10000"/>
                  <a:gd name="connsiteY72" fmla="*/ 2580 h 10000"/>
                  <a:gd name="connsiteX73" fmla="*/ 9679 w 10000"/>
                  <a:gd name="connsiteY73" fmla="*/ 2420 h 10000"/>
                  <a:gd name="connsiteX74" fmla="*/ 9438 w 10000"/>
                  <a:gd name="connsiteY74" fmla="*/ 2355 h 10000"/>
                  <a:gd name="connsiteX75" fmla="*/ 9317 w 10000"/>
                  <a:gd name="connsiteY75" fmla="*/ 2226 h 10000"/>
                  <a:gd name="connsiteX76" fmla="*/ 9237 w 10000"/>
                  <a:gd name="connsiteY76" fmla="*/ 1742 h 10000"/>
                  <a:gd name="connsiteX77" fmla="*/ 9237 w 10000"/>
                  <a:gd name="connsiteY77" fmla="*/ 1064 h 10000"/>
                  <a:gd name="connsiteX78" fmla="*/ 9036 w 10000"/>
                  <a:gd name="connsiteY78" fmla="*/ 839 h 10000"/>
                  <a:gd name="connsiteX79" fmla="*/ 8996 w 10000"/>
                  <a:gd name="connsiteY79" fmla="*/ 613 h 10000"/>
                  <a:gd name="connsiteX80" fmla="*/ 8675 w 10000"/>
                  <a:gd name="connsiteY80" fmla="*/ 290 h 10000"/>
                  <a:gd name="connsiteX81" fmla="*/ 8394 w 10000"/>
                  <a:gd name="connsiteY81" fmla="*/ 162 h 10000"/>
                  <a:gd name="connsiteX82" fmla="*/ 8233 w 10000"/>
                  <a:gd name="connsiteY82" fmla="*/ 0 h 10000"/>
                  <a:gd name="connsiteX83" fmla="*/ 7992 w 10000"/>
                  <a:gd name="connsiteY83" fmla="*/ 162 h 10000"/>
                  <a:gd name="connsiteX84" fmla="*/ 7831 w 10000"/>
                  <a:gd name="connsiteY84" fmla="*/ 129 h 10000"/>
                  <a:gd name="connsiteX85" fmla="*/ 7711 w 10000"/>
                  <a:gd name="connsiteY85" fmla="*/ 419 h 10000"/>
                  <a:gd name="connsiteX86" fmla="*/ 7390 w 10000"/>
                  <a:gd name="connsiteY86" fmla="*/ 484 h 10000"/>
                  <a:gd name="connsiteX87" fmla="*/ 7309 w 10000"/>
                  <a:gd name="connsiteY87" fmla="*/ 709 h 10000"/>
                  <a:gd name="connsiteX88" fmla="*/ 7028 w 10000"/>
                  <a:gd name="connsiteY88" fmla="*/ 709 h 10000"/>
                  <a:gd name="connsiteX89" fmla="*/ 6787 w 10000"/>
                  <a:gd name="connsiteY89" fmla="*/ 613 h 10000"/>
                  <a:gd name="connsiteX90" fmla="*/ 6265 w 10000"/>
                  <a:gd name="connsiteY90" fmla="*/ 613 h 10000"/>
                  <a:gd name="connsiteX91" fmla="*/ 5743 w 10000"/>
                  <a:gd name="connsiteY91" fmla="*/ 613 h 10000"/>
                  <a:gd name="connsiteX92" fmla="*/ 5783 w 10000"/>
                  <a:gd name="connsiteY92" fmla="*/ 484 h 10000"/>
                  <a:gd name="connsiteX93" fmla="*/ 5703 w 10000"/>
                  <a:gd name="connsiteY93" fmla="*/ 484 h 10000"/>
                  <a:gd name="connsiteX94" fmla="*/ 5663 w 10000"/>
                  <a:gd name="connsiteY94" fmla="*/ 613 h 10000"/>
                  <a:gd name="connsiteX95" fmla="*/ 5181 w 10000"/>
                  <a:gd name="connsiteY95" fmla="*/ 613 h 10000"/>
                  <a:gd name="connsiteX96" fmla="*/ 4699 w 10000"/>
                  <a:gd name="connsiteY96" fmla="*/ 613 h 10000"/>
                  <a:gd name="connsiteX97" fmla="*/ 4217 w 10000"/>
                  <a:gd name="connsiteY97" fmla="*/ 613 h 10000"/>
                  <a:gd name="connsiteX98" fmla="*/ 3735 w 10000"/>
                  <a:gd name="connsiteY98" fmla="*/ 613 h 10000"/>
                  <a:gd name="connsiteX99" fmla="*/ 3293 w 10000"/>
                  <a:gd name="connsiteY99" fmla="*/ 613 h 10000"/>
                  <a:gd name="connsiteX100" fmla="*/ 2811 w 10000"/>
                  <a:gd name="connsiteY100" fmla="*/ 613 h 10000"/>
                  <a:gd name="connsiteX101" fmla="*/ 2369 w 10000"/>
                  <a:gd name="connsiteY101" fmla="*/ 613 h 10000"/>
                  <a:gd name="connsiteX102" fmla="*/ 1888 w 10000"/>
                  <a:gd name="connsiteY102" fmla="*/ 613 h 10000"/>
                  <a:gd name="connsiteX103" fmla="*/ 1888 w 10000"/>
                  <a:gd name="connsiteY103" fmla="*/ 1064 h 10000"/>
                  <a:gd name="connsiteX104" fmla="*/ 1888 w 10000"/>
                  <a:gd name="connsiteY104" fmla="*/ 1645 h 10000"/>
                  <a:gd name="connsiteX105" fmla="*/ 1285 w 10000"/>
                  <a:gd name="connsiteY105" fmla="*/ 1645 h 10000"/>
                  <a:gd name="connsiteX106" fmla="*/ 1285 w 10000"/>
                  <a:gd name="connsiteY106" fmla="*/ 1903 h 10000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5462 w 10000"/>
                  <a:gd name="connsiteY37" fmla="*/ 10000 h 10000"/>
                  <a:gd name="connsiteX38" fmla="*/ 5542 w 10000"/>
                  <a:gd name="connsiteY38" fmla="*/ 9936 h 10000"/>
                  <a:gd name="connsiteX39" fmla="*/ 4877 w 10000"/>
                  <a:gd name="connsiteY39" fmla="*/ 7830 h 10000"/>
                  <a:gd name="connsiteX40" fmla="*/ 5337 w 10000"/>
                  <a:gd name="connsiteY40" fmla="*/ 6985 h 10000"/>
                  <a:gd name="connsiteX41" fmla="*/ 5564 w 10000"/>
                  <a:gd name="connsiteY41" fmla="*/ 7108 h 10000"/>
                  <a:gd name="connsiteX42" fmla="*/ 5768 w 10000"/>
                  <a:gd name="connsiteY42" fmla="*/ 7028 h 10000"/>
                  <a:gd name="connsiteX43" fmla="*/ 5933 w 10000"/>
                  <a:gd name="connsiteY43" fmla="*/ 6953 h 10000"/>
                  <a:gd name="connsiteX44" fmla="*/ 6089 w 10000"/>
                  <a:gd name="connsiteY44" fmla="*/ 6788 h 10000"/>
                  <a:gd name="connsiteX45" fmla="*/ 6274 w 10000"/>
                  <a:gd name="connsiteY45" fmla="*/ 6562 h 10000"/>
                  <a:gd name="connsiteX46" fmla="*/ 6389 w 10000"/>
                  <a:gd name="connsiteY46" fmla="*/ 6459 h 10000"/>
                  <a:gd name="connsiteX47" fmla="*/ 6524 w 10000"/>
                  <a:gd name="connsiteY47" fmla="*/ 6417 h 10000"/>
                  <a:gd name="connsiteX48" fmla="*/ 6531 w 10000"/>
                  <a:gd name="connsiteY48" fmla="*/ 6285 h 10000"/>
                  <a:gd name="connsiteX49" fmla="*/ 6424 w 10000"/>
                  <a:gd name="connsiteY49" fmla="*/ 5985 h 10000"/>
                  <a:gd name="connsiteX50" fmla="*/ 6602 w 10000"/>
                  <a:gd name="connsiteY50" fmla="*/ 5992 h 10000"/>
                  <a:gd name="connsiteX51" fmla="*/ 6707 w 10000"/>
                  <a:gd name="connsiteY51" fmla="*/ 5879 h 10000"/>
                  <a:gd name="connsiteX52" fmla="*/ 6876 w 10000"/>
                  <a:gd name="connsiteY52" fmla="*/ 5880 h 10000"/>
                  <a:gd name="connsiteX53" fmla="*/ 6827 w 10000"/>
                  <a:gd name="connsiteY53" fmla="*/ 6579 h 10000"/>
                  <a:gd name="connsiteX54" fmla="*/ 6991 w 10000"/>
                  <a:gd name="connsiteY54" fmla="*/ 6658 h 10000"/>
                  <a:gd name="connsiteX55" fmla="*/ 7275 w 10000"/>
                  <a:gd name="connsiteY55" fmla="*/ 6861 h 10000"/>
                  <a:gd name="connsiteX56" fmla="*/ 7430 w 10000"/>
                  <a:gd name="connsiteY56" fmla="*/ 6548 h 10000"/>
                  <a:gd name="connsiteX57" fmla="*/ 7470 w 10000"/>
                  <a:gd name="connsiteY57" fmla="*/ 6580 h 10000"/>
                  <a:gd name="connsiteX58" fmla="*/ 7590 w 10000"/>
                  <a:gd name="connsiteY58" fmla="*/ 6387 h 10000"/>
                  <a:gd name="connsiteX59" fmla="*/ 7831 w 10000"/>
                  <a:gd name="connsiteY59" fmla="*/ 6290 h 10000"/>
                  <a:gd name="connsiteX60" fmla="*/ 7952 w 10000"/>
                  <a:gd name="connsiteY60" fmla="*/ 5935 h 10000"/>
                  <a:gd name="connsiteX61" fmla="*/ 8313 w 10000"/>
                  <a:gd name="connsiteY61" fmla="*/ 5516 h 10000"/>
                  <a:gd name="connsiteX62" fmla="*/ 8594 w 10000"/>
                  <a:gd name="connsiteY62" fmla="*/ 5322 h 10000"/>
                  <a:gd name="connsiteX63" fmla="*/ 8795 w 10000"/>
                  <a:gd name="connsiteY63" fmla="*/ 4774 h 10000"/>
                  <a:gd name="connsiteX64" fmla="*/ 8795 w 10000"/>
                  <a:gd name="connsiteY64" fmla="*/ 4645 h 10000"/>
                  <a:gd name="connsiteX65" fmla="*/ 8755 w 10000"/>
                  <a:gd name="connsiteY65" fmla="*/ 4323 h 10000"/>
                  <a:gd name="connsiteX66" fmla="*/ 9157 w 10000"/>
                  <a:gd name="connsiteY66" fmla="*/ 3161 h 10000"/>
                  <a:gd name="connsiteX67" fmla="*/ 9277 w 10000"/>
                  <a:gd name="connsiteY67" fmla="*/ 3161 h 10000"/>
                  <a:gd name="connsiteX68" fmla="*/ 9438 w 10000"/>
                  <a:gd name="connsiteY68" fmla="*/ 3065 h 10000"/>
                  <a:gd name="connsiteX69" fmla="*/ 9920 w 10000"/>
                  <a:gd name="connsiteY69" fmla="*/ 2903 h 10000"/>
                  <a:gd name="connsiteX70" fmla="*/ 10000 w 10000"/>
                  <a:gd name="connsiteY70" fmla="*/ 2645 h 10000"/>
                  <a:gd name="connsiteX71" fmla="*/ 9960 w 10000"/>
                  <a:gd name="connsiteY71" fmla="*/ 2580 h 10000"/>
                  <a:gd name="connsiteX72" fmla="*/ 9799 w 10000"/>
                  <a:gd name="connsiteY72" fmla="*/ 2580 h 10000"/>
                  <a:gd name="connsiteX73" fmla="*/ 9679 w 10000"/>
                  <a:gd name="connsiteY73" fmla="*/ 2420 h 10000"/>
                  <a:gd name="connsiteX74" fmla="*/ 9438 w 10000"/>
                  <a:gd name="connsiteY74" fmla="*/ 2355 h 10000"/>
                  <a:gd name="connsiteX75" fmla="*/ 9317 w 10000"/>
                  <a:gd name="connsiteY75" fmla="*/ 2226 h 10000"/>
                  <a:gd name="connsiteX76" fmla="*/ 9237 w 10000"/>
                  <a:gd name="connsiteY76" fmla="*/ 1742 h 10000"/>
                  <a:gd name="connsiteX77" fmla="*/ 9237 w 10000"/>
                  <a:gd name="connsiteY77" fmla="*/ 1064 h 10000"/>
                  <a:gd name="connsiteX78" fmla="*/ 9036 w 10000"/>
                  <a:gd name="connsiteY78" fmla="*/ 839 h 10000"/>
                  <a:gd name="connsiteX79" fmla="*/ 8996 w 10000"/>
                  <a:gd name="connsiteY79" fmla="*/ 613 h 10000"/>
                  <a:gd name="connsiteX80" fmla="*/ 8675 w 10000"/>
                  <a:gd name="connsiteY80" fmla="*/ 290 h 10000"/>
                  <a:gd name="connsiteX81" fmla="*/ 8394 w 10000"/>
                  <a:gd name="connsiteY81" fmla="*/ 162 h 10000"/>
                  <a:gd name="connsiteX82" fmla="*/ 8233 w 10000"/>
                  <a:gd name="connsiteY82" fmla="*/ 0 h 10000"/>
                  <a:gd name="connsiteX83" fmla="*/ 7992 w 10000"/>
                  <a:gd name="connsiteY83" fmla="*/ 162 h 10000"/>
                  <a:gd name="connsiteX84" fmla="*/ 7831 w 10000"/>
                  <a:gd name="connsiteY84" fmla="*/ 129 h 10000"/>
                  <a:gd name="connsiteX85" fmla="*/ 7711 w 10000"/>
                  <a:gd name="connsiteY85" fmla="*/ 419 h 10000"/>
                  <a:gd name="connsiteX86" fmla="*/ 7390 w 10000"/>
                  <a:gd name="connsiteY86" fmla="*/ 484 h 10000"/>
                  <a:gd name="connsiteX87" fmla="*/ 7309 w 10000"/>
                  <a:gd name="connsiteY87" fmla="*/ 709 h 10000"/>
                  <a:gd name="connsiteX88" fmla="*/ 7028 w 10000"/>
                  <a:gd name="connsiteY88" fmla="*/ 709 h 10000"/>
                  <a:gd name="connsiteX89" fmla="*/ 6787 w 10000"/>
                  <a:gd name="connsiteY89" fmla="*/ 613 h 10000"/>
                  <a:gd name="connsiteX90" fmla="*/ 6265 w 10000"/>
                  <a:gd name="connsiteY90" fmla="*/ 613 h 10000"/>
                  <a:gd name="connsiteX91" fmla="*/ 5743 w 10000"/>
                  <a:gd name="connsiteY91" fmla="*/ 613 h 10000"/>
                  <a:gd name="connsiteX92" fmla="*/ 5783 w 10000"/>
                  <a:gd name="connsiteY92" fmla="*/ 484 h 10000"/>
                  <a:gd name="connsiteX93" fmla="*/ 5703 w 10000"/>
                  <a:gd name="connsiteY93" fmla="*/ 484 h 10000"/>
                  <a:gd name="connsiteX94" fmla="*/ 5663 w 10000"/>
                  <a:gd name="connsiteY94" fmla="*/ 613 h 10000"/>
                  <a:gd name="connsiteX95" fmla="*/ 5181 w 10000"/>
                  <a:gd name="connsiteY95" fmla="*/ 613 h 10000"/>
                  <a:gd name="connsiteX96" fmla="*/ 4699 w 10000"/>
                  <a:gd name="connsiteY96" fmla="*/ 613 h 10000"/>
                  <a:gd name="connsiteX97" fmla="*/ 4217 w 10000"/>
                  <a:gd name="connsiteY97" fmla="*/ 613 h 10000"/>
                  <a:gd name="connsiteX98" fmla="*/ 3735 w 10000"/>
                  <a:gd name="connsiteY98" fmla="*/ 613 h 10000"/>
                  <a:gd name="connsiteX99" fmla="*/ 3293 w 10000"/>
                  <a:gd name="connsiteY99" fmla="*/ 613 h 10000"/>
                  <a:gd name="connsiteX100" fmla="*/ 2811 w 10000"/>
                  <a:gd name="connsiteY100" fmla="*/ 613 h 10000"/>
                  <a:gd name="connsiteX101" fmla="*/ 2369 w 10000"/>
                  <a:gd name="connsiteY101" fmla="*/ 613 h 10000"/>
                  <a:gd name="connsiteX102" fmla="*/ 1888 w 10000"/>
                  <a:gd name="connsiteY102" fmla="*/ 613 h 10000"/>
                  <a:gd name="connsiteX103" fmla="*/ 1888 w 10000"/>
                  <a:gd name="connsiteY103" fmla="*/ 1064 h 10000"/>
                  <a:gd name="connsiteX104" fmla="*/ 1888 w 10000"/>
                  <a:gd name="connsiteY104" fmla="*/ 1645 h 10000"/>
                  <a:gd name="connsiteX105" fmla="*/ 1285 w 10000"/>
                  <a:gd name="connsiteY105" fmla="*/ 1645 h 10000"/>
                  <a:gd name="connsiteX106" fmla="*/ 1285 w 10000"/>
                  <a:gd name="connsiteY106" fmla="*/ 1903 h 10000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5462 w 10000"/>
                  <a:gd name="connsiteY37" fmla="*/ 10000 h 10000"/>
                  <a:gd name="connsiteX38" fmla="*/ 5542 w 10000"/>
                  <a:gd name="connsiteY38" fmla="*/ 9936 h 10000"/>
                  <a:gd name="connsiteX39" fmla="*/ 4976 w 10000"/>
                  <a:gd name="connsiteY39" fmla="*/ 6916 h 10000"/>
                  <a:gd name="connsiteX40" fmla="*/ 5337 w 10000"/>
                  <a:gd name="connsiteY40" fmla="*/ 6985 h 10000"/>
                  <a:gd name="connsiteX41" fmla="*/ 5564 w 10000"/>
                  <a:gd name="connsiteY41" fmla="*/ 7108 h 10000"/>
                  <a:gd name="connsiteX42" fmla="*/ 5768 w 10000"/>
                  <a:gd name="connsiteY42" fmla="*/ 7028 h 10000"/>
                  <a:gd name="connsiteX43" fmla="*/ 5933 w 10000"/>
                  <a:gd name="connsiteY43" fmla="*/ 6953 h 10000"/>
                  <a:gd name="connsiteX44" fmla="*/ 6089 w 10000"/>
                  <a:gd name="connsiteY44" fmla="*/ 6788 h 10000"/>
                  <a:gd name="connsiteX45" fmla="*/ 6274 w 10000"/>
                  <a:gd name="connsiteY45" fmla="*/ 6562 h 10000"/>
                  <a:gd name="connsiteX46" fmla="*/ 6389 w 10000"/>
                  <a:gd name="connsiteY46" fmla="*/ 6459 h 10000"/>
                  <a:gd name="connsiteX47" fmla="*/ 6524 w 10000"/>
                  <a:gd name="connsiteY47" fmla="*/ 6417 h 10000"/>
                  <a:gd name="connsiteX48" fmla="*/ 6531 w 10000"/>
                  <a:gd name="connsiteY48" fmla="*/ 6285 h 10000"/>
                  <a:gd name="connsiteX49" fmla="*/ 6424 w 10000"/>
                  <a:gd name="connsiteY49" fmla="*/ 5985 h 10000"/>
                  <a:gd name="connsiteX50" fmla="*/ 6602 w 10000"/>
                  <a:gd name="connsiteY50" fmla="*/ 5992 h 10000"/>
                  <a:gd name="connsiteX51" fmla="*/ 6707 w 10000"/>
                  <a:gd name="connsiteY51" fmla="*/ 5879 h 10000"/>
                  <a:gd name="connsiteX52" fmla="*/ 6876 w 10000"/>
                  <a:gd name="connsiteY52" fmla="*/ 5880 h 10000"/>
                  <a:gd name="connsiteX53" fmla="*/ 6827 w 10000"/>
                  <a:gd name="connsiteY53" fmla="*/ 6579 h 10000"/>
                  <a:gd name="connsiteX54" fmla="*/ 6991 w 10000"/>
                  <a:gd name="connsiteY54" fmla="*/ 6658 h 10000"/>
                  <a:gd name="connsiteX55" fmla="*/ 7275 w 10000"/>
                  <a:gd name="connsiteY55" fmla="*/ 6861 h 10000"/>
                  <a:gd name="connsiteX56" fmla="*/ 7430 w 10000"/>
                  <a:gd name="connsiteY56" fmla="*/ 6548 h 10000"/>
                  <a:gd name="connsiteX57" fmla="*/ 7470 w 10000"/>
                  <a:gd name="connsiteY57" fmla="*/ 6580 h 10000"/>
                  <a:gd name="connsiteX58" fmla="*/ 7590 w 10000"/>
                  <a:gd name="connsiteY58" fmla="*/ 6387 h 10000"/>
                  <a:gd name="connsiteX59" fmla="*/ 7831 w 10000"/>
                  <a:gd name="connsiteY59" fmla="*/ 6290 h 10000"/>
                  <a:gd name="connsiteX60" fmla="*/ 7952 w 10000"/>
                  <a:gd name="connsiteY60" fmla="*/ 5935 h 10000"/>
                  <a:gd name="connsiteX61" fmla="*/ 8313 w 10000"/>
                  <a:gd name="connsiteY61" fmla="*/ 5516 h 10000"/>
                  <a:gd name="connsiteX62" fmla="*/ 8594 w 10000"/>
                  <a:gd name="connsiteY62" fmla="*/ 5322 h 10000"/>
                  <a:gd name="connsiteX63" fmla="*/ 8795 w 10000"/>
                  <a:gd name="connsiteY63" fmla="*/ 4774 h 10000"/>
                  <a:gd name="connsiteX64" fmla="*/ 8795 w 10000"/>
                  <a:gd name="connsiteY64" fmla="*/ 4645 h 10000"/>
                  <a:gd name="connsiteX65" fmla="*/ 8755 w 10000"/>
                  <a:gd name="connsiteY65" fmla="*/ 4323 h 10000"/>
                  <a:gd name="connsiteX66" fmla="*/ 9157 w 10000"/>
                  <a:gd name="connsiteY66" fmla="*/ 3161 h 10000"/>
                  <a:gd name="connsiteX67" fmla="*/ 9277 w 10000"/>
                  <a:gd name="connsiteY67" fmla="*/ 3161 h 10000"/>
                  <a:gd name="connsiteX68" fmla="*/ 9438 w 10000"/>
                  <a:gd name="connsiteY68" fmla="*/ 3065 h 10000"/>
                  <a:gd name="connsiteX69" fmla="*/ 9920 w 10000"/>
                  <a:gd name="connsiteY69" fmla="*/ 2903 h 10000"/>
                  <a:gd name="connsiteX70" fmla="*/ 10000 w 10000"/>
                  <a:gd name="connsiteY70" fmla="*/ 2645 h 10000"/>
                  <a:gd name="connsiteX71" fmla="*/ 9960 w 10000"/>
                  <a:gd name="connsiteY71" fmla="*/ 2580 h 10000"/>
                  <a:gd name="connsiteX72" fmla="*/ 9799 w 10000"/>
                  <a:gd name="connsiteY72" fmla="*/ 2580 h 10000"/>
                  <a:gd name="connsiteX73" fmla="*/ 9679 w 10000"/>
                  <a:gd name="connsiteY73" fmla="*/ 2420 h 10000"/>
                  <a:gd name="connsiteX74" fmla="*/ 9438 w 10000"/>
                  <a:gd name="connsiteY74" fmla="*/ 2355 h 10000"/>
                  <a:gd name="connsiteX75" fmla="*/ 9317 w 10000"/>
                  <a:gd name="connsiteY75" fmla="*/ 2226 h 10000"/>
                  <a:gd name="connsiteX76" fmla="*/ 9237 w 10000"/>
                  <a:gd name="connsiteY76" fmla="*/ 1742 h 10000"/>
                  <a:gd name="connsiteX77" fmla="*/ 9237 w 10000"/>
                  <a:gd name="connsiteY77" fmla="*/ 1064 h 10000"/>
                  <a:gd name="connsiteX78" fmla="*/ 9036 w 10000"/>
                  <a:gd name="connsiteY78" fmla="*/ 839 h 10000"/>
                  <a:gd name="connsiteX79" fmla="*/ 8996 w 10000"/>
                  <a:gd name="connsiteY79" fmla="*/ 613 h 10000"/>
                  <a:gd name="connsiteX80" fmla="*/ 8675 w 10000"/>
                  <a:gd name="connsiteY80" fmla="*/ 290 h 10000"/>
                  <a:gd name="connsiteX81" fmla="*/ 8394 w 10000"/>
                  <a:gd name="connsiteY81" fmla="*/ 162 h 10000"/>
                  <a:gd name="connsiteX82" fmla="*/ 8233 w 10000"/>
                  <a:gd name="connsiteY82" fmla="*/ 0 h 10000"/>
                  <a:gd name="connsiteX83" fmla="*/ 7992 w 10000"/>
                  <a:gd name="connsiteY83" fmla="*/ 162 h 10000"/>
                  <a:gd name="connsiteX84" fmla="*/ 7831 w 10000"/>
                  <a:gd name="connsiteY84" fmla="*/ 129 h 10000"/>
                  <a:gd name="connsiteX85" fmla="*/ 7711 w 10000"/>
                  <a:gd name="connsiteY85" fmla="*/ 419 h 10000"/>
                  <a:gd name="connsiteX86" fmla="*/ 7390 w 10000"/>
                  <a:gd name="connsiteY86" fmla="*/ 484 h 10000"/>
                  <a:gd name="connsiteX87" fmla="*/ 7309 w 10000"/>
                  <a:gd name="connsiteY87" fmla="*/ 709 h 10000"/>
                  <a:gd name="connsiteX88" fmla="*/ 7028 w 10000"/>
                  <a:gd name="connsiteY88" fmla="*/ 709 h 10000"/>
                  <a:gd name="connsiteX89" fmla="*/ 6787 w 10000"/>
                  <a:gd name="connsiteY89" fmla="*/ 613 h 10000"/>
                  <a:gd name="connsiteX90" fmla="*/ 6265 w 10000"/>
                  <a:gd name="connsiteY90" fmla="*/ 613 h 10000"/>
                  <a:gd name="connsiteX91" fmla="*/ 5743 w 10000"/>
                  <a:gd name="connsiteY91" fmla="*/ 613 h 10000"/>
                  <a:gd name="connsiteX92" fmla="*/ 5783 w 10000"/>
                  <a:gd name="connsiteY92" fmla="*/ 484 h 10000"/>
                  <a:gd name="connsiteX93" fmla="*/ 5703 w 10000"/>
                  <a:gd name="connsiteY93" fmla="*/ 484 h 10000"/>
                  <a:gd name="connsiteX94" fmla="*/ 5663 w 10000"/>
                  <a:gd name="connsiteY94" fmla="*/ 613 h 10000"/>
                  <a:gd name="connsiteX95" fmla="*/ 5181 w 10000"/>
                  <a:gd name="connsiteY95" fmla="*/ 613 h 10000"/>
                  <a:gd name="connsiteX96" fmla="*/ 4699 w 10000"/>
                  <a:gd name="connsiteY96" fmla="*/ 613 h 10000"/>
                  <a:gd name="connsiteX97" fmla="*/ 4217 w 10000"/>
                  <a:gd name="connsiteY97" fmla="*/ 613 h 10000"/>
                  <a:gd name="connsiteX98" fmla="*/ 3735 w 10000"/>
                  <a:gd name="connsiteY98" fmla="*/ 613 h 10000"/>
                  <a:gd name="connsiteX99" fmla="*/ 3293 w 10000"/>
                  <a:gd name="connsiteY99" fmla="*/ 613 h 10000"/>
                  <a:gd name="connsiteX100" fmla="*/ 2811 w 10000"/>
                  <a:gd name="connsiteY100" fmla="*/ 613 h 10000"/>
                  <a:gd name="connsiteX101" fmla="*/ 2369 w 10000"/>
                  <a:gd name="connsiteY101" fmla="*/ 613 h 10000"/>
                  <a:gd name="connsiteX102" fmla="*/ 1888 w 10000"/>
                  <a:gd name="connsiteY102" fmla="*/ 613 h 10000"/>
                  <a:gd name="connsiteX103" fmla="*/ 1888 w 10000"/>
                  <a:gd name="connsiteY103" fmla="*/ 1064 h 10000"/>
                  <a:gd name="connsiteX104" fmla="*/ 1888 w 10000"/>
                  <a:gd name="connsiteY104" fmla="*/ 1645 h 10000"/>
                  <a:gd name="connsiteX105" fmla="*/ 1285 w 10000"/>
                  <a:gd name="connsiteY105" fmla="*/ 1645 h 10000"/>
                  <a:gd name="connsiteX106" fmla="*/ 1285 w 10000"/>
                  <a:gd name="connsiteY106" fmla="*/ 1903 h 10000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5462 w 10000"/>
                  <a:gd name="connsiteY37" fmla="*/ 10000 h 10000"/>
                  <a:gd name="connsiteX38" fmla="*/ 5542 w 10000"/>
                  <a:gd name="connsiteY38" fmla="*/ 9936 h 10000"/>
                  <a:gd name="connsiteX39" fmla="*/ 4976 w 10000"/>
                  <a:gd name="connsiteY39" fmla="*/ 6916 h 10000"/>
                  <a:gd name="connsiteX40" fmla="*/ 5337 w 10000"/>
                  <a:gd name="connsiteY40" fmla="*/ 6985 h 10000"/>
                  <a:gd name="connsiteX41" fmla="*/ 5564 w 10000"/>
                  <a:gd name="connsiteY41" fmla="*/ 7108 h 10000"/>
                  <a:gd name="connsiteX42" fmla="*/ 5768 w 10000"/>
                  <a:gd name="connsiteY42" fmla="*/ 7028 h 10000"/>
                  <a:gd name="connsiteX43" fmla="*/ 5933 w 10000"/>
                  <a:gd name="connsiteY43" fmla="*/ 6953 h 10000"/>
                  <a:gd name="connsiteX44" fmla="*/ 6089 w 10000"/>
                  <a:gd name="connsiteY44" fmla="*/ 6788 h 10000"/>
                  <a:gd name="connsiteX45" fmla="*/ 6274 w 10000"/>
                  <a:gd name="connsiteY45" fmla="*/ 6562 h 10000"/>
                  <a:gd name="connsiteX46" fmla="*/ 6389 w 10000"/>
                  <a:gd name="connsiteY46" fmla="*/ 6459 h 10000"/>
                  <a:gd name="connsiteX47" fmla="*/ 6524 w 10000"/>
                  <a:gd name="connsiteY47" fmla="*/ 6417 h 10000"/>
                  <a:gd name="connsiteX48" fmla="*/ 6531 w 10000"/>
                  <a:gd name="connsiteY48" fmla="*/ 6285 h 10000"/>
                  <a:gd name="connsiteX49" fmla="*/ 6424 w 10000"/>
                  <a:gd name="connsiteY49" fmla="*/ 5985 h 10000"/>
                  <a:gd name="connsiteX50" fmla="*/ 6602 w 10000"/>
                  <a:gd name="connsiteY50" fmla="*/ 5992 h 10000"/>
                  <a:gd name="connsiteX51" fmla="*/ 6707 w 10000"/>
                  <a:gd name="connsiteY51" fmla="*/ 5879 h 10000"/>
                  <a:gd name="connsiteX52" fmla="*/ 6876 w 10000"/>
                  <a:gd name="connsiteY52" fmla="*/ 5880 h 10000"/>
                  <a:gd name="connsiteX53" fmla="*/ 6827 w 10000"/>
                  <a:gd name="connsiteY53" fmla="*/ 6579 h 10000"/>
                  <a:gd name="connsiteX54" fmla="*/ 6991 w 10000"/>
                  <a:gd name="connsiteY54" fmla="*/ 6658 h 10000"/>
                  <a:gd name="connsiteX55" fmla="*/ 7275 w 10000"/>
                  <a:gd name="connsiteY55" fmla="*/ 6861 h 10000"/>
                  <a:gd name="connsiteX56" fmla="*/ 7430 w 10000"/>
                  <a:gd name="connsiteY56" fmla="*/ 6548 h 10000"/>
                  <a:gd name="connsiteX57" fmla="*/ 7470 w 10000"/>
                  <a:gd name="connsiteY57" fmla="*/ 6580 h 10000"/>
                  <a:gd name="connsiteX58" fmla="*/ 7590 w 10000"/>
                  <a:gd name="connsiteY58" fmla="*/ 6387 h 10000"/>
                  <a:gd name="connsiteX59" fmla="*/ 7831 w 10000"/>
                  <a:gd name="connsiteY59" fmla="*/ 6290 h 10000"/>
                  <a:gd name="connsiteX60" fmla="*/ 7952 w 10000"/>
                  <a:gd name="connsiteY60" fmla="*/ 5935 h 10000"/>
                  <a:gd name="connsiteX61" fmla="*/ 8313 w 10000"/>
                  <a:gd name="connsiteY61" fmla="*/ 5516 h 10000"/>
                  <a:gd name="connsiteX62" fmla="*/ 8594 w 10000"/>
                  <a:gd name="connsiteY62" fmla="*/ 5322 h 10000"/>
                  <a:gd name="connsiteX63" fmla="*/ 8795 w 10000"/>
                  <a:gd name="connsiteY63" fmla="*/ 4774 h 10000"/>
                  <a:gd name="connsiteX64" fmla="*/ 8795 w 10000"/>
                  <a:gd name="connsiteY64" fmla="*/ 4645 h 10000"/>
                  <a:gd name="connsiteX65" fmla="*/ 8755 w 10000"/>
                  <a:gd name="connsiteY65" fmla="*/ 4323 h 10000"/>
                  <a:gd name="connsiteX66" fmla="*/ 9157 w 10000"/>
                  <a:gd name="connsiteY66" fmla="*/ 3161 h 10000"/>
                  <a:gd name="connsiteX67" fmla="*/ 9277 w 10000"/>
                  <a:gd name="connsiteY67" fmla="*/ 3161 h 10000"/>
                  <a:gd name="connsiteX68" fmla="*/ 9438 w 10000"/>
                  <a:gd name="connsiteY68" fmla="*/ 3065 h 10000"/>
                  <a:gd name="connsiteX69" fmla="*/ 9920 w 10000"/>
                  <a:gd name="connsiteY69" fmla="*/ 2903 h 10000"/>
                  <a:gd name="connsiteX70" fmla="*/ 10000 w 10000"/>
                  <a:gd name="connsiteY70" fmla="*/ 2645 h 10000"/>
                  <a:gd name="connsiteX71" fmla="*/ 9960 w 10000"/>
                  <a:gd name="connsiteY71" fmla="*/ 2580 h 10000"/>
                  <a:gd name="connsiteX72" fmla="*/ 9799 w 10000"/>
                  <a:gd name="connsiteY72" fmla="*/ 2580 h 10000"/>
                  <a:gd name="connsiteX73" fmla="*/ 9679 w 10000"/>
                  <a:gd name="connsiteY73" fmla="*/ 2420 h 10000"/>
                  <a:gd name="connsiteX74" fmla="*/ 9438 w 10000"/>
                  <a:gd name="connsiteY74" fmla="*/ 2355 h 10000"/>
                  <a:gd name="connsiteX75" fmla="*/ 9317 w 10000"/>
                  <a:gd name="connsiteY75" fmla="*/ 2226 h 10000"/>
                  <a:gd name="connsiteX76" fmla="*/ 9237 w 10000"/>
                  <a:gd name="connsiteY76" fmla="*/ 1742 h 10000"/>
                  <a:gd name="connsiteX77" fmla="*/ 9237 w 10000"/>
                  <a:gd name="connsiteY77" fmla="*/ 1064 h 10000"/>
                  <a:gd name="connsiteX78" fmla="*/ 9036 w 10000"/>
                  <a:gd name="connsiteY78" fmla="*/ 839 h 10000"/>
                  <a:gd name="connsiteX79" fmla="*/ 8996 w 10000"/>
                  <a:gd name="connsiteY79" fmla="*/ 613 h 10000"/>
                  <a:gd name="connsiteX80" fmla="*/ 8675 w 10000"/>
                  <a:gd name="connsiteY80" fmla="*/ 290 h 10000"/>
                  <a:gd name="connsiteX81" fmla="*/ 8394 w 10000"/>
                  <a:gd name="connsiteY81" fmla="*/ 162 h 10000"/>
                  <a:gd name="connsiteX82" fmla="*/ 8233 w 10000"/>
                  <a:gd name="connsiteY82" fmla="*/ 0 h 10000"/>
                  <a:gd name="connsiteX83" fmla="*/ 7992 w 10000"/>
                  <a:gd name="connsiteY83" fmla="*/ 162 h 10000"/>
                  <a:gd name="connsiteX84" fmla="*/ 7831 w 10000"/>
                  <a:gd name="connsiteY84" fmla="*/ 129 h 10000"/>
                  <a:gd name="connsiteX85" fmla="*/ 7711 w 10000"/>
                  <a:gd name="connsiteY85" fmla="*/ 419 h 10000"/>
                  <a:gd name="connsiteX86" fmla="*/ 7390 w 10000"/>
                  <a:gd name="connsiteY86" fmla="*/ 484 h 10000"/>
                  <a:gd name="connsiteX87" fmla="*/ 7309 w 10000"/>
                  <a:gd name="connsiteY87" fmla="*/ 709 h 10000"/>
                  <a:gd name="connsiteX88" fmla="*/ 7028 w 10000"/>
                  <a:gd name="connsiteY88" fmla="*/ 709 h 10000"/>
                  <a:gd name="connsiteX89" fmla="*/ 6787 w 10000"/>
                  <a:gd name="connsiteY89" fmla="*/ 613 h 10000"/>
                  <a:gd name="connsiteX90" fmla="*/ 6265 w 10000"/>
                  <a:gd name="connsiteY90" fmla="*/ 613 h 10000"/>
                  <a:gd name="connsiteX91" fmla="*/ 5743 w 10000"/>
                  <a:gd name="connsiteY91" fmla="*/ 613 h 10000"/>
                  <a:gd name="connsiteX92" fmla="*/ 5783 w 10000"/>
                  <a:gd name="connsiteY92" fmla="*/ 484 h 10000"/>
                  <a:gd name="connsiteX93" fmla="*/ 5703 w 10000"/>
                  <a:gd name="connsiteY93" fmla="*/ 484 h 10000"/>
                  <a:gd name="connsiteX94" fmla="*/ 5663 w 10000"/>
                  <a:gd name="connsiteY94" fmla="*/ 613 h 10000"/>
                  <a:gd name="connsiteX95" fmla="*/ 5181 w 10000"/>
                  <a:gd name="connsiteY95" fmla="*/ 613 h 10000"/>
                  <a:gd name="connsiteX96" fmla="*/ 4699 w 10000"/>
                  <a:gd name="connsiteY96" fmla="*/ 613 h 10000"/>
                  <a:gd name="connsiteX97" fmla="*/ 4217 w 10000"/>
                  <a:gd name="connsiteY97" fmla="*/ 613 h 10000"/>
                  <a:gd name="connsiteX98" fmla="*/ 3735 w 10000"/>
                  <a:gd name="connsiteY98" fmla="*/ 613 h 10000"/>
                  <a:gd name="connsiteX99" fmla="*/ 3293 w 10000"/>
                  <a:gd name="connsiteY99" fmla="*/ 613 h 10000"/>
                  <a:gd name="connsiteX100" fmla="*/ 2811 w 10000"/>
                  <a:gd name="connsiteY100" fmla="*/ 613 h 10000"/>
                  <a:gd name="connsiteX101" fmla="*/ 2369 w 10000"/>
                  <a:gd name="connsiteY101" fmla="*/ 613 h 10000"/>
                  <a:gd name="connsiteX102" fmla="*/ 1888 w 10000"/>
                  <a:gd name="connsiteY102" fmla="*/ 613 h 10000"/>
                  <a:gd name="connsiteX103" fmla="*/ 1888 w 10000"/>
                  <a:gd name="connsiteY103" fmla="*/ 1064 h 10000"/>
                  <a:gd name="connsiteX104" fmla="*/ 1888 w 10000"/>
                  <a:gd name="connsiteY104" fmla="*/ 1645 h 10000"/>
                  <a:gd name="connsiteX105" fmla="*/ 1285 w 10000"/>
                  <a:gd name="connsiteY105" fmla="*/ 1645 h 10000"/>
                  <a:gd name="connsiteX106" fmla="*/ 1285 w 10000"/>
                  <a:gd name="connsiteY106" fmla="*/ 1903 h 10000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5462 w 10000"/>
                  <a:gd name="connsiteY37" fmla="*/ 10000 h 10000"/>
                  <a:gd name="connsiteX38" fmla="*/ 5542 w 10000"/>
                  <a:gd name="connsiteY38" fmla="*/ 9936 h 10000"/>
                  <a:gd name="connsiteX39" fmla="*/ 4976 w 10000"/>
                  <a:gd name="connsiteY39" fmla="*/ 6916 h 10000"/>
                  <a:gd name="connsiteX40" fmla="*/ 5337 w 10000"/>
                  <a:gd name="connsiteY40" fmla="*/ 6985 h 10000"/>
                  <a:gd name="connsiteX41" fmla="*/ 5564 w 10000"/>
                  <a:gd name="connsiteY41" fmla="*/ 7108 h 10000"/>
                  <a:gd name="connsiteX42" fmla="*/ 5768 w 10000"/>
                  <a:gd name="connsiteY42" fmla="*/ 7028 h 10000"/>
                  <a:gd name="connsiteX43" fmla="*/ 5933 w 10000"/>
                  <a:gd name="connsiteY43" fmla="*/ 6953 h 10000"/>
                  <a:gd name="connsiteX44" fmla="*/ 6089 w 10000"/>
                  <a:gd name="connsiteY44" fmla="*/ 6788 h 10000"/>
                  <a:gd name="connsiteX45" fmla="*/ 6274 w 10000"/>
                  <a:gd name="connsiteY45" fmla="*/ 6562 h 10000"/>
                  <a:gd name="connsiteX46" fmla="*/ 6389 w 10000"/>
                  <a:gd name="connsiteY46" fmla="*/ 6459 h 10000"/>
                  <a:gd name="connsiteX47" fmla="*/ 6524 w 10000"/>
                  <a:gd name="connsiteY47" fmla="*/ 6417 h 10000"/>
                  <a:gd name="connsiteX48" fmla="*/ 6531 w 10000"/>
                  <a:gd name="connsiteY48" fmla="*/ 6285 h 10000"/>
                  <a:gd name="connsiteX49" fmla="*/ 6424 w 10000"/>
                  <a:gd name="connsiteY49" fmla="*/ 5985 h 10000"/>
                  <a:gd name="connsiteX50" fmla="*/ 6602 w 10000"/>
                  <a:gd name="connsiteY50" fmla="*/ 5992 h 10000"/>
                  <a:gd name="connsiteX51" fmla="*/ 6707 w 10000"/>
                  <a:gd name="connsiteY51" fmla="*/ 5879 h 10000"/>
                  <a:gd name="connsiteX52" fmla="*/ 6876 w 10000"/>
                  <a:gd name="connsiteY52" fmla="*/ 5880 h 10000"/>
                  <a:gd name="connsiteX53" fmla="*/ 6827 w 10000"/>
                  <a:gd name="connsiteY53" fmla="*/ 6579 h 10000"/>
                  <a:gd name="connsiteX54" fmla="*/ 6991 w 10000"/>
                  <a:gd name="connsiteY54" fmla="*/ 6658 h 10000"/>
                  <a:gd name="connsiteX55" fmla="*/ 7275 w 10000"/>
                  <a:gd name="connsiteY55" fmla="*/ 6861 h 10000"/>
                  <a:gd name="connsiteX56" fmla="*/ 7430 w 10000"/>
                  <a:gd name="connsiteY56" fmla="*/ 6548 h 10000"/>
                  <a:gd name="connsiteX57" fmla="*/ 7470 w 10000"/>
                  <a:gd name="connsiteY57" fmla="*/ 6580 h 10000"/>
                  <a:gd name="connsiteX58" fmla="*/ 7590 w 10000"/>
                  <a:gd name="connsiteY58" fmla="*/ 6387 h 10000"/>
                  <a:gd name="connsiteX59" fmla="*/ 7831 w 10000"/>
                  <a:gd name="connsiteY59" fmla="*/ 6290 h 10000"/>
                  <a:gd name="connsiteX60" fmla="*/ 7952 w 10000"/>
                  <a:gd name="connsiteY60" fmla="*/ 5935 h 10000"/>
                  <a:gd name="connsiteX61" fmla="*/ 8313 w 10000"/>
                  <a:gd name="connsiteY61" fmla="*/ 5516 h 10000"/>
                  <a:gd name="connsiteX62" fmla="*/ 8594 w 10000"/>
                  <a:gd name="connsiteY62" fmla="*/ 5322 h 10000"/>
                  <a:gd name="connsiteX63" fmla="*/ 8795 w 10000"/>
                  <a:gd name="connsiteY63" fmla="*/ 4774 h 10000"/>
                  <a:gd name="connsiteX64" fmla="*/ 8795 w 10000"/>
                  <a:gd name="connsiteY64" fmla="*/ 4645 h 10000"/>
                  <a:gd name="connsiteX65" fmla="*/ 8755 w 10000"/>
                  <a:gd name="connsiteY65" fmla="*/ 4323 h 10000"/>
                  <a:gd name="connsiteX66" fmla="*/ 9157 w 10000"/>
                  <a:gd name="connsiteY66" fmla="*/ 3161 h 10000"/>
                  <a:gd name="connsiteX67" fmla="*/ 9277 w 10000"/>
                  <a:gd name="connsiteY67" fmla="*/ 3161 h 10000"/>
                  <a:gd name="connsiteX68" fmla="*/ 9438 w 10000"/>
                  <a:gd name="connsiteY68" fmla="*/ 3065 h 10000"/>
                  <a:gd name="connsiteX69" fmla="*/ 9920 w 10000"/>
                  <a:gd name="connsiteY69" fmla="*/ 2903 h 10000"/>
                  <a:gd name="connsiteX70" fmla="*/ 10000 w 10000"/>
                  <a:gd name="connsiteY70" fmla="*/ 2645 h 10000"/>
                  <a:gd name="connsiteX71" fmla="*/ 9960 w 10000"/>
                  <a:gd name="connsiteY71" fmla="*/ 2580 h 10000"/>
                  <a:gd name="connsiteX72" fmla="*/ 9799 w 10000"/>
                  <a:gd name="connsiteY72" fmla="*/ 2580 h 10000"/>
                  <a:gd name="connsiteX73" fmla="*/ 9679 w 10000"/>
                  <a:gd name="connsiteY73" fmla="*/ 2420 h 10000"/>
                  <a:gd name="connsiteX74" fmla="*/ 9438 w 10000"/>
                  <a:gd name="connsiteY74" fmla="*/ 2355 h 10000"/>
                  <a:gd name="connsiteX75" fmla="*/ 9317 w 10000"/>
                  <a:gd name="connsiteY75" fmla="*/ 2226 h 10000"/>
                  <a:gd name="connsiteX76" fmla="*/ 9237 w 10000"/>
                  <a:gd name="connsiteY76" fmla="*/ 1742 h 10000"/>
                  <a:gd name="connsiteX77" fmla="*/ 9237 w 10000"/>
                  <a:gd name="connsiteY77" fmla="*/ 1064 h 10000"/>
                  <a:gd name="connsiteX78" fmla="*/ 9036 w 10000"/>
                  <a:gd name="connsiteY78" fmla="*/ 839 h 10000"/>
                  <a:gd name="connsiteX79" fmla="*/ 8996 w 10000"/>
                  <a:gd name="connsiteY79" fmla="*/ 613 h 10000"/>
                  <a:gd name="connsiteX80" fmla="*/ 8675 w 10000"/>
                  <a:gd name="connsiteY80" fmla="*/ 290 h 10000"/>
                  <a:gd name="connsiteX81" fmla="*/ 8394 w 10000"/>
                  <a:gd name="connsiteY81" fmla="*/ 162 h 10000"/>
                  <a:gd name="connsiteX82" fmla="*/ 8233 w 10000"/>
                  <a:gd name="connsiteY82" fmla="*/ 0 h 10000"/>
                  <a:gd name="connsiteX83" fmla="*/ 7992 w 10000"/>
                  <a:gd name="connsiteY83" fmla="*/ 162 h 10000"/>
                  <a:gd name="connsiteX84" fmla="*/ 7831 w 10000"/>
                  <a:gd name="connsiteY84" fmla="*/ 129 h 10000"/>
                  <a:gd name="connsiteX85" fmla="*/ 7711 w 10000"/>
                  <a:gd name="connsiteY85" fmla="*/ 419 h 10000"/>
                  <a:gd name="connsiteX86" fmla="*/ 7390 w 10000"/>
                  <a:gd name="connsiteY86" fmla="*/ 484 h 10000"/>
                  <a:gd name="connsiteX87" fmla="*/ 7309 w 10000"/>
                  <a:gd name="connsiteY87" fmla="*/ 709 h 10000"/>
                  <a:gd name="connsiteX88" fmla="*/ 7028 w 10000"/>
                  <a:gd name="connsiteY88" fmla="*/ 709 h 10000"/>
                  <a:gd name="connsiteX89" fmla="*/ 6787 w 10000"/>
                  <a:gd name="connsiteY89" fmla="*/ 613 h 10000"/>
                  <a:gd name="connsiteX90" fmla="*/ 6265 w 10000"/>
                  <a:gd name="connsiteY90" fmla="*/ 613 h 10000"/>
                  <a:gd name="connsiteX91" fmla="*/ 5743 w 10000"/>
                  <a:gd name="connsiteY91" fmla="*/ 613 h 10000"/>
                  <a:gd name="connsiteX92" fmla="*/ 5783 w 10000"/>
                  <a:gd name="connsiteY92" fmla="*/ 484 h 10000"/>
                  <a:gd name="connsiteX93" fmla="*/ 5703 w 10000"/>
                  <a:gd name="connsiteY93" fmla="*/ 484 h 10000"/>
                  <a:gd name="connsiteX94" fmla="*/ 5663 w 10000"/>
                  <a:gd name="connsiteY94" fmla="*/ 613 h 10000"/>
                  <a:gd name="connsiteX95" fmla="*/ 5181 w 10000"/>
                  <a:gd name="connsiteY95" fmla="*/ 613 h 10000"/>
                  <a:gd name="connsiteX96" fmla="*/ 4699 w 10000"/>
                  <a:gd name="connsiteY96" fmla="*/ 613 h 10000"/>
                  <a:gd name="connsiteX97" fmla="*/ 4217 w 10000"/>
                  <a:gd name="connsiteY97" fmla="*/ 613 h 10000"/>
                  <a:gd name="connsiteX98" fmla="*/ 3735 w 10000"/>
                  <a:gd name="connsiteY98" fmla="*/ 613 h 10000"/>
                  <a:gd name="connsiteX99" fmla="*/ 3293 w 10000"/>
                  <a:gd name="connsiteY99" fmla="*/ 613 h 10000"/>
                  <a:gd name="connsiteX100" fmla="*/ 2811 w 10000"/>
                  <a:gd name="connsiteY100" fmla="*/ 613 h 10000"/>
                  <a:gd name="connsiteX101" fmla="*/ 2369 w 10000"/>
                  <a:gd name="connsiteY101" fmla="*/ 613 h 10000"/>
                  <a:gd name="connsiteX102" fmla="*/ 1888 w 10000"/>
                  <a:gd name="connsiteY102" fmla="*/ 613 h 10000"/>
                  <a:gd name="connsiteX103" fmla="*/ 1888 w 10000"/>
                  <a:gd name="connsiteY103" fmla="*/ 1064 h 10000"/>
                  <a:gd name="connsiteX104" fmla="*/ 1888 w 10000"/>
                  <a:gd name="connsiteY104" fmla="*/ 1645 h 10000"/>
                  <a:gd name="connsiteX105" fmla="*/ 1285 w 10000"/>
                  <a:gd name="connsiteY105" fmla="*/ 1645 h 10000"/>
                  <a:gd name="connsiteX106" fmla="*/ 1285 w 10000"/>
                  <a:gd name="connsiteY106" fmla="*/ 1903 h 10000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5462 w 10000"/>
                  <a:gd name="connsiteY37" fmla="*/ 10000 h 10000"/>
                  <a:gd name="connsiteX38" fmla="*/ 5542 w 10000"/>
                  <a:gd name="connsiteY38" fmla="*/ 9936 h 10000"/>
                  <a:gd name="connsiteX39" fmla="*/ 5337 w 10000"/>
                  <a:gd name="connsiteY39" fmla="*/ 6985 h 10000"/>
                  <a:gd name="connsiteX40" fmla="*/ 5564 w 10000"/>
                  <a:gd name="connsiteY40" fmla="*/ 7108 h 10000"/>
                  <a:gd name="connsiteX41" fmla="*/ 5768 w 10000"/>
                  <a:gd name="connsiteY41" fmla="*/ 7028 h 10000"/>
                  <a:gd name="connsiteX42" fmla="*/ 5933 w 10000"/>
                  <a:gd name="connsiteY42" fmla="*/ 6953 h 10000"/>
                  <a:gd name="connsiteX43" fmla="*/ 6089 w 10000"/>
                  <a:gd name="connsiteY43" fmla="*/ 6788 h 10000"/>
                  <a:gd name="connsiteX44" fmla="*/ 6274 w 10000"/>
                  <a:gd name="connsiteY44" fmla="*/ 6562 h 10000"/>
                  <a:gd name="connsiteX45" fmla="*/ 6389 w 10000"/>
                  <a:gd name="connsiteY45" fmla="*/ 6459 h 10000"/>
                  <a:gd name="connsiteX46" fmla="*/ 6524 w 10000"/>
                  <a:gd name="connsiteY46" fmla="*/ 6417 h 10000"/>
                  <a:gd name="connsiteX47" fmla="*/ 6531 w 10000"/>
                  <a:gd name="connsiteY47" fmla="*/ 6285 h 10000"/>
                  <a:gd name="connsiteX48" fmla="*/ 6424 w 10000"/>
                  <a:gd name="connsiteY48" fmla="*/ 5985 h 10000"/>
                  <a:gd name="connsiteX49" fmla="*/ 6602 w 10000"/>
                  <a:gd name="connsiteY49" fmla="*/ 5992 h 10000"/>
                  <a:gd name="connsiteX50" fmla="*/ 6707 w 10000"/>
                  <a:gd name="connsiteY50" fmla="*/ 5879 h 10000"/>
                  <a:gd name="connsiteX51" fmla="*/ 6876 w 10000"/>
                  <a:gd name="connsiteY51" fmla="*/ 5880 h 10000"/>
                  <a:gd name="connsiteX52" fmla="*/ 6827 w 10000"/>
                  <a:gd name="connsiteY52" fmla="*/ 6579 h 10000"/>
                  <a:gd name="connsiteX53" fmla="*/ 6991 w 10000"/>
                  <a:gd name="connsiteY53" fmla="*/ 6658 h 10000"/>
                  <a:gd name="connsiteX54" fmla="*/ 7275 w 10000"/>
                  <a:gd name="connsiteY54" fmla="*/ 6861 h 10000"/>
                  <a:gd name="connsiteX55" fmla="*/ 7430 w 10000"/>
                  <a:gd name="connsiteY55" fmla="*/ 6548 h 10000"/>
                  <a:gd name="connsiteX56" fmla="*/ 7470 w 10000"/>
                  <a:gd name="connsiteY56" fmla="*/ 6580 h 10000"/>
                  <a:gd name="connsiteX57" fmla="*/ 7590 w 10000"/>
                  <a:gd name="connsiteY57" fmla="*/ 6387 h 10000"/>
                  <a:gd name="connsiteX58" fmla="*/ 7831 w 10000"/>
                  <a:gd name="connsiteY58" fmla="*/ 6290 h 10000"/>
                  <a:gd name="connsiteX59" fmla="*/ 7952 w 10000"/>
                  <a:gd name="connsiteY59" fmla="*/ 5935 h 10000"/>
                  <a:gd name="connsiteX60" fmla="*/ 8313 w 10000"/>
                  <a:gd name="connsiteY60" fmla="*/ 5516 h 10000"/>
                  <a:gd name="connsiteX61" fmla="*/ 8594 w 10000"/>
                  <a:gd name="connsiteY61" fmla="*/ 5322 h 10000"/>
                  <a:gd name="connsiteX62" fmla="*/ 8795 w 10000"/>
                  <a:gd name="connsiteY62" fmla="*/ 4774 h 10000"/>
                  <a:gd name="connsiteX63" fmla="*/ 8795 w 10000"/>
                  <a:gd name="connsiteY63" fmla="*/ 4645 h 10000"/>
                  <a:gd name="connsiteX64" fmla="*/ 8755 w 10000"/>
                  <a:gd name="connsiteY64" fmla="*/ 4323 h 10000"/>
                  <a:gd name="connsiteX65" fmla="*/ 9157 w 10000"/>
                  <a:gd name="connsiteY65" fmla="*/ 3161 h 10000"/>
                  <a:gd name="connsiteX66" fmla="*/ 9277 w 10000"/>
                  <a:gd name="connsiteY66" fmla="*/ 3161 h 10000"/>
                  <a:gd name="connsiteX67" fmla="*/ 9438 w 10000"/>
                  <a:gd name="connsiteY67" fmla="*/ 3065 h 10000"/>
                  <a:gd name="connsiteX68" fmla="*/ 9920 w 10000"/>
                  <a:gd name="connsiteY68" fmla="*/ 2903 h 10000"/>
                  <a:gd name="connsiteX69" fmla="*/ 10000 w 10000"/>
                  <a:gd name="connsiteY69" fmla="*/ 2645 h 10000"/>
                  <a:gd name="connsiteX70" fmla="*/ 9960 w 10000"/>
                  <a:gd name="connsiteY70" fmla="*/ 2580 h 10000"/>
                  <a:gd name="connsiteX71" fmla="*/ 9799 w 10000"/>
                  <a:gd name="connsiteY71" fmla="*/ 2580 h 10000"/>
                  <a:gd name="connsiteX72" fmla="*/ 9679 w 10000"/>
                  <a:gd name="connsiteY72" fmla="*/ 2420 h 10000"/>
                  <a:gd name="connsiteX73" fmla="*/ 9438 w 10000"/>
                  <a:gd name="connsiteY73" fmla="*/ 2355 h 10000"/>
                  <a:gd name="connsiteX74" fmla="*/ 9317 w 10000"/>
                  <a:gd name="connsiteY74" fmla="*/ 2226 h 10000"/>
                  <a:gd name="connsiteX75" fmla="*/ 9237 w 10000"/>
                  <a:gd name="connsiteY75" fmla="*/ 1742 h 10000"/>
                  <a:gd name="connsiteX76" fmla="*/ 9237 w 10000"/>
                  <a:gd name="connsiteY76" fmla="*/ 1064 h 10000"/>
                  <a:gd name="connsiteX77" fmla="*/ 9036 w 10000"/>
                  <a:gd name="connsiteY77" fmla="*/ 839 h 10000"/>
                  <a:gd name="connsiteX78" fmla="*/ 8996 w 10000"/>
                  <a:gd name="connsiteY78" fmla="*/ 613 h 10000"/>
                  <a:gd name="connsiteX79" fmla="*/ 8675 w 10000"/>
                  <a:gd name="connsiteY79" fmla="*/ 290 h 10000"/>
                  <a:gd name="connsiteX80" fmla="*/ 8394 w 10000"/>
                  <a:gd name="connsiteY80" fmla="*/ 162 h 10000"/>
                  <a:gd name="connsiteX81" fmla="*/ 8233 w 10000"/>
                  <a:gd name="connsiteY81" fmla="*/ 0 h 10000"/>
                  <a:gd name="connsiteX82" fmla="*/ 7992 w 10000"/>
                  <a:gd name="connsiteY82" fmla="*/ 162 h 10000"/>
                  <a:gd name="connsiteX83" fmla="*/ 7831 w 10000"/>
                  <a:gd name="connsiteY83" fmla="*/ 129 h 10000"/>
                  <a:gd name="connsiteX84" fmla="*/ 7711 w 10000"/>
                  <a:gd name="connsiteY84" fmla="*/ 419 h 10000"/>
                  <a:gd name="connsiteX85" fmla="*/ 7390 w 10000"/>
                  <a:gd name="connsiteY85" fmla="*/ 484 h 10000"/>
                  <a:gd name="connsiteX86" fmla="*/ 7309 w 10000"/>
                  <a:gd name="connsiteY86" fmla="*/ 709 h 10000"/>
                  <a:gd name="connsiteX87" fmla="*/ 7028 w 10000"/>
                  <a:gd name="connsiteY87" fmla="*/ 709 h 10000"/>
                  <a:gd name="connsiteX88" fmla="*/ 6787 w 10000"/>
                  <a:gd name="connsiteY88" fmla="*/ 613 h 10000"/>
                  <a:gd name="connsiteX89" fmla="*/ 6265 w 10000"/>
                  <a:gd name="connsiteY89" fmla="*/ 613 h 10000"/>
                  <a:gd name="connsiteX90" fmla="*/ 5743 w 10000"/>
                  <a:gd name="connsiteY90" fmla="*/ 613 h 10000"/>
                  <a:gd name="connsiteX91" fmla="*/ 5783 w 10000"/>
                  <a:gd name="connsiteY91" fmla="*/ 484 h 10000"/>
                  <a:gd name="connsiteX92" fmla="*/ 5703 w 10000"/>
                  <a:gd name="connsiteY92" fmla="*/ 484 h 10000"/>
                  <a:gd name="connsiteX93" fmla="*/ 5663 w 10000"/>
                  <a:gd name="connsiteY93" fmla="*/ 613 h 10000"/>
                  <a:gd name="connsiteX94" fmla="*/ 5181 w 10000"/>
                  <a:gd name="connsiteY94" fmla="*/ 613 h 10000"/>
                  <a:gd name="connsiteX95" fmla="*/ 4699 w 10000"/>
                  <a:gd name="connsiteY95" fmla="*/ 613 h 10000"/>
                  <a:gd name="connsiteX96" fmla="*/ 4217 w 10000"/>
                  <a:gd name="connsiteY96" fmla="*/ 613 h 10000"/>
                  <a:gd name="connsiteX97" fmla="*/ 3735 w 10000"/>
                  <a:gd name="connsiteY97" fmla="*/ 613 h 10000"/>
                  <a:gd name="connsiteX98" fmla="*/ 3293 w 10000"/>
                  <a:gd name="connsiteY98" fmla="*/ 613 h 10000"/>
                  <a:gd name="connsiteX99" fmla="*/ 2811 w 10000"/>
                  <a:gd name="connsiteY99" fmla="*/ 613 h 10000"/>
                  <a:gd name="connsiteX100" fmla="*/ 2369 w 10000"/>
                  <a:gd name="connsiteY100" fmla="*/ 613 h 10000"/>
                  <a:gd name="connsiteX101" fmla="*/ 1888 w 10000"/>
                  <a:gd name="connsiteY101" fmla="*/ 613 h 10000"/>
                  <a:gd name="connsiteX102" fmla="*/ 1888 w 10000"/>
                  <a:gd name="connsiteY102" fmla="*/ 1064 h 10000"/>
                  <a:gd name="connsiteX103" fmla="*/ 1888 w 10000"/>
                  <a:gd name="connsiteY103" fmla="*/ 1645 h 10000"/>
                  <a:gd name="connsiteX104" fmla="*/ 1285 w 10000"/>
                  <a:gd name="connsiteY104" fmla="*/ 1645 h 10000"/>
                  <a:gd name="connsiteX105" fmla="*/ 1285 w 10000"/>
                  <a:gd name="connsiteY105" fmla="*/ 1903 h 10000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5462 w 10000"/>
                  <a:gd name="connsiteY37" fmla="*/ 10000 h 10000"/>
                  <a:gd name="connsiteX38" fmla="*/ 5080 w 10000"/>
                  <a:gd name="connsiteY38" fmla="*/ 6889 h 10000"/>
                  <a:gd name="connsiteX39" fmla="*/ 5337 w 10000"/>
                  <a:gd name="connsiteY39" fmla="*/ 6985 h 10000"/>
                  <a:gd name="connsiteX40" fmla="*/ 5564 w 10000"/>
                  <a:gd name="connsiteY40" fmla="*/ 7108 h 10000"/>
                  <a:gd name="connsiteX41" fmla="*/ 5768 w 10000"/>
                  <a:gd name="connsiteY41" fmla="*/ 7028 h 10000"/>
                  <a:gd name="connsiteX42" fmla="*/ 5933 w 10000"/>
                  <a:gd name="connsiteY42" fmla="*/ 6953 h 10000"/>
                  <a:gd name="connsiteX43" fmla="*/ 6089 w 10000"/>
                  <a:gd name="connsiteY43" fmla="*/ 6788 h 10000"/>
                  <a:gd name="connsiteX44" fmla="*/ 6274 w 10000"/>
                  <a:gd name="connsiteY44" fmla="*/ 6562 h 10000"/>
                  <a:gd name="connsiteX45" fmla="*/ 6389 w 10000"/>
                  <a:gd name="connsiteY45" fmla="*/ 6459 h 10000"/>
                  <a:gd name="connsiteX46" fmla="*/ 6524 w 10000"/>
                  <a:gd name="connsiteY46" fmla="*/ 6417 h 10000"/>
                  <a:gd name="connsiteX47" fmla="*/ 6531 w 10000"/>
                  <a:gd name="connsiteY47" fmla="*/ 6285 h 10000"/>
                  <a:gd name="connsiteX48" fmla="*/ 6424 w 10000"/>
                  <a:gd name="connsiteY48" fmla="*/ 5985 h 10000"/>
                  <a:gd name="connsiteX49" fmla="*/ 6602 w 10000"/>
                  <a:gd name="connsiteY49" fmla="*/ 5992 h 10000"/>
                  <a:gd name="connsiteX50" fmla="*/ 6707 w 10000"/>
                  <a:gd name="connsiteY50" fmla="*/ 5879 h 10000"/>
                  <a:gd name="connsiteX51" fmla="*/ 6876 w 10000"/>
                  <a:gd name="connsiteY51" fmla="*/ 5880 h 10000"/>
                  <a:gd name="connsiteX52" fmla="*/ 6827 w 10000"/>
                  <a:gd name="connsiteY52" fmla="*/ 6579 h 10000"/>
                  <a:gd name="connsiteX53" fmla="*/ 6991 w 10000"/>
                  <a:gd name="connsiteY53" fmla="*/ 6658 h 10000"/>
                  <a:gd name="connsiteX54" fmla="*/ 7275 w 10000"/>
                  <a:gd name="connsiteY54" fmla="*/ 6861 h 10000"/>
                  <a:gd name="connsiteX55" fmla="*/ 7430 w 10000"/>
                  <a:gd name="connsiteY55" fmla="*/ 6548 h 10000"/>
                  <a:gd name="connsiteX56" fmla="*/ 7470 w 10000"/>
                  <a:gd name="connsiteY56" fmla="*/ 6580 h 10000"/>
                  <a:gd name="connsiteX57" fmla="*/ 7590 w 10000"/>
                  <a:gd name="connsiteY57" fmla="*/ 6387 h 10000"/>
                  <a:gd name="connsiteX58" fmla="*/ 7831 w 10000"/>
                  <a:gd name="connsiteY58" fmla="*/ 6290 h 10000"/>
                  <a:gd name="connsiteX59" fmla="*/ 7952 w 10000"/>
                  <a:gd name="connsiteY59" fmla="*/ 5935 h 10000"/>
                  <a:gd name="connsiteX60" fmla="*/ 8313 w 10000"/>
                  <a:gd name="connsiteY60" fmla="*/ 5516 h 10000"/>
                  <a:gd name="connsiteX61" fmla="*/ 8594 w 10000"/>
                  <a:gd name="connsiteY61" fmla="*/ 5322 h 10000"/>
                  <a:gd name="connsiteX62" fmla="*/ 8795 w 10000"/>
                  <a:gd name="connsiteY62" fmla="*/ 4774 h 10000"/>
                  <a:gd name="connsiteX63" fmla="*/ 8795 w 10000"/>
                  <a:gd name="connsiteY63" fmla="*/ 4645 h 10000"/>
                  <a:gd name="connsiteX64" fmla="*/ 8755 w 10000"/>
                  <a:gd name="connsiteY64" fmla="*/ 4323 h 10000"/>
                  <a:gd name="connsiteX65" fmla="*/ 9157 w 10000"/>
                  <a:gd name="connsiteY65" fmla="*/ 3161 h 10000"/>
                  <a:gd name="connsiteX66" fmla="*/ 9277 w 10000"/>
                  <a:gd name="connsiteY66" fmla="*/ 3161 h 10000"/>
                  <a:gd name="connsiteX67" fmla="*/ 9438 w 10000"/>
                  <a:gd name="connsiteY67" fmla="*/ 3065 h 10000"/>
                  <a:gd name="connsiteX68" fmla="*/ 9920 w 10000"/>
                  <a:gd name="connsiteY68" fmla="*/ 2903 h 10000"/>
                  <a:gd name="connsiteX69" fmla="*/ 10000 w 10000"/>
                  <a:gd name="connsiteY69" fmla="*/ 2645 h 10000"/>
                  <a:gd name="connsiteX70" fmla="*/ 9960 w 10000"/>
                  <a:gd name="connsiteY70" fmla="*/ 2580 h 10000"/>
                  <a:gd name="connsiteX71" fmla="*/ 9799 w 10000"/>
                  <a:gd name="connsiteY71" fmla="*/ 2580 h 10000"/>
                  <a:gd name="connsiteX72" fmla="*/ 9679 w 10000"/>
                  <a:gd name="connsiteY72" fmla="*/ 2420 h 10000"/>
                  <a:gd name="connsiteX73" fmla="*/ 9438 w 10000"/>
                  <a:gd name="connsiteY73" fmla="*/ 2355 h 10000"/>
                  <a:gd name="connsiteX74" fmla="*/ 9317 w 10000"/>
                  <a:gd name="connsiteY74" fmla="*/ 2226 h 10000"/>
                  <a:gd name="connsiteX75" fmla="*/ 9237 w 10000"/>
                  <a:gd name="connsiteY75" fmla="*/ 1742 h 10000"/>
                  <a:gd name="connsiteX76" fmla="*/ 9237 w 10000"/>
                  <a:gd name="connsiteY76" fmla="*/ 1064 h 10000"/>
                  <a:gd name="connsiteX77" fmla="*/ 9036 w 10000"/>
                  <a:gd name="connsiteY77" fmla="*/ 839 h 10000"/>
                  <a:gd name="connsiteX78" fmla="*/ 8996 w 10000"/>
                  <a:gd name="connsiteY78" fmla="*/ 613 h 10000"/>
                  <a:gd name="connsiteX79" fmla="*/ 8675 w 10000"/>
                  <a:gd name="connsiteY79" fmla="*/ 290 h 10000"/>
                  <a:gd name="connsiteX80" fmla="*/ 8394 w 10000"/>
                  <a:gd name="connsiteY80" fmla="*/ 162 h 10000"/>
                  <a:gd name="connsiteX81" fmla="*/ 8233 w 10000"/>
                  <a:gd name="connsiteY81" fmla="*/ 0 h 10000"/>
                  <a:gd name="connsiteX82" fmla="*/ 7992 w 10000"/>
                  <a:gd name="connsiteY82" fmla="*/ 162 h 10000"/>
                  <a:gd name="connsiteX83" fmla="*/ 7831 w 10000"/>
                  <a:gd name="connsiteY83" fmla="*/ 129 h 10000"/>
                  <a:gd name="connsiteX84" fmla="*/ 7711 w 10000"/>
                  <a:gd name="connsiteY84" fmla="*/ 419 h 10000"/>
                  <a:gd name="connsiteX85" fmla="*/ 7390 w 10000"/>
                  <a:gd name="connsiteY85" fmla="*/ 484 h 10000"/>
                  <a:gd name="connsiteX86" fmla="*/ 7309 w 10000"/>
                  <a:gd name="connsiteY86" fmla="*/ 709 h 10000"/>
                  <a:gd name="connsiteX87" fmla="*/ 7028 w 10000"/>
                  <a:gd name="connsiteY87" fmla="*/ 709 h 10000"/>
                  <a:gd name="connsiteX88" fmla="*/ 6787 w 10000"/>
                  <a:gd name="connsiteY88" fmla="*/ 613 h 10000"/>
                  <a:gd name="connsiteX89" fmla="*/ 6265 w 10000"/>
                  <a:gd name="connsiteY89" fmla="*/ 613 h 10000"/>
                  <a:gd name="connsiteX90" fmla="*/ 5743 w 10000"/>
                  <a:gd name="connsiteY90" fmla="*/ 613 h 10000"/>
                  <a:gd name="connsiteX91" fmla="*/ 5783 w 10000"/>
                  <a:gd name="connsiteY91" fmla="*/ 484 h 10000"/>
                  <a:gd name="connsiteX92" fmla="*/ 5703 w 10000"/>
                  <a:gd name="connsiteY92" fmla="*/ 484 h 10000"/>
                  <a:gd name="connsiteX93" fmla="*/ 5663 w 10000"/>
                  <a:gd name="connsiteY93" fmla="*/ 613 h 10000"/>
                  <a:gd name="connsiteX94" fmla="*/ 5181 w 10000"/>
                  <a:gd name="connsiteY94" fmla="*/ 613 h 10000"/>
                  <a:gd name="connsiteX95" fmla="*/ 4699 w 10000"/>
                  <a:gd name="connsiteY95" fmla="*/ 613 h 10000"/>
                  <a:gd name="connsiteX96" fmla="*/ 4217 w 10000"/>
                  <a:gd name="connsiteY96" fmla="*/ 613 h 10000"/>
                  <a:gd name="connsiteX97" fmla="*/ 3735 w 10000"/>
                  <a:gd name="connsiteY97" fmla="*/ 613 h 10000"/>
                  <a:gd name="connsiteX98" fmla="*/ 3293 w 10000"/>
                  <a:gd name="connsiteY98" fmla="*/ 613 h 10000"/>
                  <a:gd name="connsiteX99" fmla="*/ 2811 w 10000"/>
                  <a:gd name="connsiteY99" fmla="*/ 613 h 10000"/>
                  <a:gd name="connsiteX100" fmla="*/ 2369 w 10000"/>
                  <a:gd name="connsiteY100" fmla="*/ 613 h 10000"/>
                  <a:gd name="connsiteX101" fmla="*/ 1888 w 10000"/>
                  <a:gd name="connsiteY101" fmla="*/ 613 h 10000"/>
                  <a:gd name="connsiteX102" fmla="*/ 1888 w 10000"/>
                  <a:gd name="connsiteY102" fmla="*/ 1064 h 10000"/>
                  <a:gd name="connsiteX103" fmla="*/ 1888 w 10000"/>
                  <a:gd name="connsiteY103" fmla="*/ 1645 h 10000"/>
                  <a:gd name="connsiteX104" fmla="*/ 1285 w 10000"/>
                  <a:gd name="connsiteY104" fmla="*/ 1645 h 10000"/>
                  <a:gd name="connsiteX105" fmla="*/ 1285 w 10000"/>
                  <a:gd name="connsiteY105" fmla="*/ 1903 h 10000"/>
                  <a:gd name="connsiteX0" fmla="*/ 1285 w 10000"/>
                  <a:gd name="connsiteY0" fmla="*/ 1903 h 10000"/>
                  <a:gd name="connsiteX1" fmla="*/ 1285 w 10000"/>
                  <a:gd name="connsiteY1" fmla="*/ 2420 h 10000"/>
                  <a:gd name="connsiteX2" fmla="*/ 1285 w 10000"/>
                  <a:gd name="connsiteY2" fmla="*/ 2903 h 10000"/>
                  <a:gd name="connsiteX3" fmla="*/ 1285 w 10000"/>
                  <a:gd name="connsiteY3" fmla="*/ 3387 h 10000"/>
                  <a:gd name="connsiteX4" fmla="*/ 1285 w 10000"/>
                  <a:gd name="connsiteY4" fmla="*/ 3838 h 10000"/>
                  <a:gd name="connsiteX5" fmla="*/ 643 w 10000"/>
                  <a:gd name="connsiteY5" fmla="*/ 3936 h 10000"/>
                  <a:gd name="connsiteX6" fmla="*/ 522 w 10000"/>
                  <a:gd name="connsiteY6" fmla="*/ 4193 h 10000"/>
                  <a:gd name="connsiteX7" fmla="*/ 241 w 10000"/>
                  <a:gd name="connsiteY7" fmla="*/ 4516 h 10000"/>
                  <a:gd name="connsiteX8" fmla="*/ 241 w 10000"/>
                  <a:gd name="connsiteY8" fmla="*/ 4774 h 10000"/>
                  <a:gd name="connsiteX9" fmla="*/ 120 w 10000"/>
                  <a:gd name="connsiteY9" fmla="*/ 4838 h 10000"/>
                  <a:gd name="connsiteX10" fmla="*/ 120 w 10000"/>
                  <a:gd name="connsiteY10" fmla="*/ 5064 h 10000"/>
                  <a:gd name="connsiteX11" fmla="*/ 0 w 10000"/>
                  <a:gd name="connsiteY11" fmla="*/ 5258 h 10000"/>
                  <a:gd name="connsiteX12" fmla="*/ 0 w 10000"/>
                  <a:gd name="connsiteY12" fmla="*/ 5419 h 10000"/>
                  <a:gd name="connsiteX13" fmla="*/ 241 w 10000"/>
                  <a:gd name="connsiteY13" fmla="*/ 5387 h 10000"/>
                  <a:gd name="connsiteX14" fmla="*/ 281 w 10000"/>
                  <a:gd name="connsiteY14" fmla="*/ 5677 h 10000"/>
                  <a:gd name="connsiteX15" fmla="*/ 602 w 10000"/>
                  <a:gd name="connsiteY15" fmla="*/ 6194 h 10000"/>
                  <a:gd name="connsiteX16" fmla="*/ 602 w 10000"/>
                  <a:gd name="connsiteY16" fmla="*/ 6226 h 10000"/>
                  <a:gd name="connsiteX17" fmla="*/ 482 w 10000"/>
                  <a:gd name="connsiteY17" fmla="*/ 6258 h 10000"/>
                  <a:gd name="connsiteX18" fmla="*/ 964 w 10000"/>
                  <a:gd name="connsiteY18" fmla="*/ 6774 h 10000"/>
                  <a:gd name="connsiteX19" fmla="*/ 1004 w 10000"/>
                  <a:gd name="connsiteY19" fmla="*/ 6935 h 10000"/>
                  <a:gd name="connsiteX20" fmla="*/ 964 w 10000"/>
                  <a:gd name="connsiteY20" fmla="*/ 7387 h 10000"/>
                  <a:gd name="connsiteX21" fmla="*/ 1044 w 10000"/>
                  <a:gd name="connsiteY21" fmla="*/ 7452 h 10000"/>
                  <a:gd name="connsiteX22" fmla="*/ 1365 w 10000"/>
                  <a:gd name="connsiteY22" fmla="*/ 7484 h 10000"/>
                  <a:gd name="connsiteX23" fmla="*/ 1406 w 10000"/>
                  <a:gd name="connsiteY23" fmla="*/ 7612 h 10000"/>
                  <a:gd name="connsiteX24" fmla="*/ 1767 w 10000"/>
                  <a:gd name="connsiteY24" fmla="*/ 7645 h 10000"/>
                  <a:gd name="connsiteX25" fmla="*/ 1968 w 10000"/>
                  <a:gd name="connsiteY25" fmla="*/ 7774 h 10000"/>
                  <a:gd name="connsiteX26" fmla="*/ 2008 w 10000"/>
                  <a:gd name="connsiteY26" fmla="*/ 8000 h 10000"/>
                  <a:gd name="connsiteX27" fmla="*/ 2651 w 10000"/>
                  <a:gd name="connsiteY27" fmla="*/ 8387 h 10000"/>
                  <a:gd name="connsiteX28" fmla="*/ 2811 w 10000"/>
                  <a:gd name="connsiteY28" fmla="*/ 8774 h 10000"/>
                  <a:gd name="connsiteX29" fmla="*/ 3253 w 10000"/>
                  <a:gd name="connsiteY29" fmla="*/ 8968 h 10000"/>
                  <a:gd name="connsiteX30" fmla="*/ 3414 w 10000"/>
                  <a:gd name="connsiteY30" fmla="*/ 9226 h 10000"/>
                  <a:gd name="connsiteX31" fmla="*/ 3735 w 10000"/>
                  <a:gd name="connsiteY31" fmla="*/ 9549 h 10000"/>
                  <a:gd name="connsiteX32" fmla="*/ 3976 w 10000"/>
                  <a:gd name="connsiteY32" fmla="*/ 9645 h 10000"/>
                  <a:gd name="connsiteX33" fmla="*/ 4137 w 10000"/>
                  <a:gd name="connsiteY33" fmla="*/ 9549 h 10000"/>
                  <a:gd name="connsiteX34" fmla="*/ 4538 w 10000"/>
                  <a:gd name="connsiteY34" fmla="*/ 9581 h 10000"/>
                  <a:gd name="connsiteX35" fmla="*/ 4699 w 10000"/>
                  <a:gd name="connsiteY35" fmla="*/ 9516 h 10000"/>
                  <a:gd name="connsiteX36" fmla="*/ 5422 w 10000"/>
                  <a:gd name="connsiteY36" fmla="*/ 10000 h 10000"/>
                  <a:gd name="connsiteX37" fmla="*/ 4901 w 10000"/>
                  <a:gd name="connsiteY37" fmla="*/ 6794 h 10000"/>
                  <a:gd name="connsiteX38" fmla="*/ 5080 w 10000"/>
                  <a:gd name="connsiteY38" fmla="*/ 6889 h 10000"/>
                  <a:gd name="connsiteX39" fmla="*/ 5337 w 10000"/>
                  <a:gd name="connsiteY39" fmla="*/ 6985 h 10000"/>
                  <a:gd name="connsiteX40" fmla="*/ 5564 w 10000"/>
                  <a:gd name="connsiteY40" fmla="*/ 7108 h 10000"/>
                  <a:gd name="connsiteX41" fmla="*/ 5768 w 10000"/>
                  <a:gd name="connsiteY41" fmla="*/ 7028 h 10000"/>
                  <a:gd name="connsiteX42" fmla="*/ 5933 w 10000"/>
                  <a:gd name="connsiteY42" fmla="*/ 6953 h 10000"/>
                  <a:gd name="connsiteX43" fmla="*/ 6089 w 10000"/>
                  <a:gd name="connsiteY43" fmla="*/ 6788 h 10000"/>
                  <a:gd name="connsiteX44" fmla="*/ 6274 w 10000"/>
                  <a:gd name="connsiteY44" fmla="*/ 6562 h 10000"/>
                  <a:gd name="connsiteX45" fmla="*/ 6389 w 10000"/>
                  <a:gd name="connsiteY45" fmla="*/ 6459 h 10000"/>
                  <a:gd name="connsiteX46" fmla="*/ 6524 w 10000"/>
                  <a:gd name="connsiteY46" fmla="*/ 6417 h 10000"/>
                  <a:gd name="connsiteX47" fmla="*/ 6531 w 10000"/>
                  <a:gd name="connsiteY47" fmla="*/ 6285 h 10000"/>
                  <a:gd name="connsiteX48" fmla="*/ 6424 w 10000"/>
                  <a:gd name="connsiteY48" fmla="*/ 5985 h 10000"/>
                  <a:gd name="connsiteX49" fmla="*/ 6602 w 10000"/>
                  <a:gd name="connsiteY49" fmla="*/ 5992 h 10000"/>
                  <a:gd name="connsiteX50" fmla="*/ 6707 w 10000"/>
                  <a:gd name="connsiteY50" fmla="*/ 5879 h 10000"/>
                  <a:gd name="connsiteX51" fmla="*/ 6876 w 10000"/>
                  <a:gd name="connsiteY51" fmla="*/ 5880 h 10000"/>
                  <a:gd name="connsiteX52" fmla="*/ 6827 w 10000"/>
                  <a:gd name="connsiteY52" fmla="*/ 6579 h 10000"/>
                  <a:gd name="connsiteX53" fmla="*/ 6991 w 10000"/>
                  <a:gd name="connsiteY53" fmla="*/ 6658 h 10000"/>
                  <a:gd name="connsiteX54" fmla="*/ 7275 w 10000"/>
                  <a:gd name="connsiteY54" fmla="*/ 6861 h 10000"/>
                  <a:gd name="connsiteX55" fmla="*/ 7430 w 10000"/>
                  <a:gd name="connsiteY55" fmla="*/ 6548 h 10000"/>
                  <a:gd name="connsiteX56" fmla="*/ 7470 w 10000"/>
                  <a:gd name="connsiteY56" fmla="*/ 6580 h 10000"/>
                  <a:gd name="connsiteX57" fmla="*/ 7590 w 10000"/>
                  <a:gd name="connsiteY57" fmla="*/ 6387 h 10000"/>
                  <a:gd name="connsiteX58" fmla="*/ 7831 w 10000"/>
                  <a:gd name="connsiteY58" fmla="*/ 6290 h 10000"/>
                  <a:gd name="connsiteX59" fmla="*/ 7952 w 10000"/>
                  <a:gd name="connsiteY59" fmla="*/ 5935 h 10000"/>
                  <a:gd name="connsiteX60" fmla="*/ 8313 w 10000"/>
                  <a:gd name="connsiteY60" fmla="*/ 5516 h 10000"/>
                  <a:gd name="connsiteX61" fmla="*/ 8594 w 10000"/>
                  <a:gd name="connsiteY61" fmla="*/ 5322 h 10000"/>
                  <a:gd name="connsiteX62" fmla="*/ 8795 w 10000"/>
                  <a:gd name="connsiteY62" fmla="*/ 4774 h 10000"/>
                  <a:gd name="connsiteX63" fmla="*/ 8795 w 10000"/>
                  <a:gd name="connsiteY63" fmla="*/ 4645 h 10000"/>
                  <a:gd name="connsiteX64" fmla="*/ 8755 w 10000"/>
                  <a:gd name="connsiteY64" fmla="*/ 4323 h 10000"/>
                  <a:gd name="connsiteX65" fmla="*/ 9157 w 10000"/>
                  <a:gd name="connsiteY65" fmla="*/ 3161 h 10000"/>
                  <a:gd name="connsiteX66" fmla="*/ 9277 w 10000"/>
                  <a:gd name="connsiteY66" fmla="*/ 3161 h 10000"/>
                  <a:gd name="connsiteX67" fmla="*/ 9438 w 10000"/>
                  <a:gd name="connsiteY67" fmla="*/ 3065 h 10000"/>
                  <a:gd name="connsiteX68" fmla="*/ 9920 w 10000"/>
                  <a:gd name="connsiteY68" fmla="*/ 2903 h 10000"/>
                  <a:gd name="connsiteX69" fmla="*/ 10000 w 10000"/>
                  <a:gd name="connsiteY69" fmla="*/ 2645 h 10000"/>
                  <a:gd name="connsiteX70" fmla="*/ 9960 w 10000"/>
                  <a:gd name="connsiteY70" fmla="*/ 2580 h 10000"/>
                  <a:gd name="connsiteX71" fmla="*/ 9799 w 10000"/>
                  <a:gd name="connsiteY71" fmla="*/ 2580 h 10000"/>
                  <a:gd name="connsiteX72" fmla="*/ 9679 w 10000"/>
                  <a:gd name="connsiteY72" fmla="*/ 2420 h 10000"/>
                  <a:gd name="connsiteX73" fmla="*/ 9438 w 10000"/>
                  <a:gd name="connsiteY73" fmla="*/ 2355 h 10000"/>
                  <a:gd name="connsiteX74" fmla="*/ 9317 w 10000"/>
                  <a:gd name="connsiteY74" fmla="*/ 2226 h 10000"/>
                  <a:gd name="connsiteX75" fmla="*/ 9237 w 10000"/>
                  <a:gd name="connsiteY75" fmla="*/ 1742 h 10000"/>
                  <a:gd name="connsiteX76" fmla="*/ 9237 w 10000"/>
                  <a:gd name="connsiteY76" fmla="*/ 1064 h 10000"/>
                  <a:gd name="connsiteX77" fmla="*/ 9036 w 10000"/>
                  <a:gd name="connsiteY77" fmla="*/ 839 h 10000"/>
                  <a:gd name="connsiteX78" fmla="*/ 8996 w 10000"/>
                  <a:gd name="connsiteY78" fmla="*/ 613 h 10000"/>
                  <a:gd name="connsiteX79" fmla="*/ 8675 w 10000"/>
                  <a:gd name="connsiteY79" fmla="*/ 290 h 10000"/>
                  <a:gd name="connsiteX80" fmla="*/ 8394 w 10000"/>
                  <a:gd name="connsiteY80" fmla="*/ 162 h 10000"/>
                  <a:gd name="connsiteX81" fmla="*/ 8233 w 10000"/>
                  <a:gd name="connsiteY81" fmla="*/ 0 h 10000"/>
                  <a:gd name="connsiteX82" fmla="*/ 7992 w 10000"/>
                  <a:gd name="connsiteY82" fmla="*/ 162 h 10000"/>
                  <a:gd name="connsiteX83" fmla="*/ 7831 w 10000"/>
                  <a:gd name="connsiteY83" fmla="*/ 129 h 10000"/>
                  <a:gd name="connsiteX84" fmla="*/ 7711 w 10000"/>
                  <a:gd name="connsiteY84" fmla="*/ 419 h 10000"/>
                  <a:gd name="connsiteX85" fmla="*/ 7390 w 10000"/>
                  <a:gd name="connsiteY85" fmla="*/ 484 h 10000"/>
                  <a:gd name="connsiteX86" fmla="*/ 7309 w 10000"/>
                  <a:gd name="connsiteY86" fmla="*/ 709 h 10000"/>
                  <a:gd name="connsiteX87" fmla="*/ 7028 w 10000"/>
                  <a:gd name="connsiteY87" fmla="*/ 709 h 10000"/>
                  <a:gd name="connsiteX88" fmla="*/ 6787 w 10000"/>
                  <a:gd name="connsiteY88" fmla="*/ 613 h 10000"/>
                  <a:gd name="connsiteX89" fmla="*/ 6265 w 10000"/>
                  <a:gd name="connsiteY89" fmla="*/ 613 h 10000"/>
                  <a:gd name="connsiteX90" fmla="*/ 5743 w 10000"/>
                  <a:gd name="connsiteY90" fmla="*/ 613 h 10000"/>
                  <a:gd name="connsiteX91" fmla="*/ 5783 w 10000"/>
                  <a:gd name="connsiteY91" fmla="*/ 484 h 10000"/>
                  <a:gd name="connsiteX92" fmla="*/ 5703 w 10000"/>
                  <a:gd name="connsiteY92" fmla="*/ 484 h 10000"/>
                  <a:gd name="connsiteX93" fmla="*/ 5663 w 10000"/>
                  <a:gd name="connsiteY93" fmla="*/ 613 h 10000"/>
                  <a:gd name="connsiteX94" fmla="*/ 5181 w 10000"/>
                  <a:gd name="connsiteY94" fmla="*/ 613 h 10000"/>
                  <a:gd name="connsiteX95" fmla="*/ 4699 w 10000"/>
                  <a:gd name="connsiteY95" fmla="*/ 613 h 10000"/>
                  <a:gd name="connsiteX96" fmla="*/ 4217 w 10000"/>
                  <a:gd name="connsiteY96" fmla="*/ 613 h 10000"/>
                  <a:gd name="connsiteX97" fmla="*/ 3735 w 10000"/>
                  <a:gd name="connsiteY97" fmla="*/ 613 h 10000"/>
                  <a:gd name="connsiteX98" fmla="*/ 3293 w 10000"/>
                  <a:gd name="connsiteY98" fmla="*/ 613 h 10000"/>
                  <a:gd name="connsiteX99" fmla="*/ 2811 w 10000"/>
                  <a:gd name="connsiteY99" fmla="*/ 613 h 10000"/>
                  <a:gd name="connsiteX100" fmla="*/ 2369 w 10000"/>
                  <a:gd name="connsiteY100" fmla="*/ 613 h 10000"/>
                  <a:gd name="connsiteX101" fmla="*/ 1888 w 10000"/>
                  <a:gd name="connsiteY101" fmla="*/ 613 h 10000"/>
                  <a:gd name="connsiteX102" fmla="*/ 1888 w 10000"/>
                  <a:gd name="connsiteY102" fmla="*/ 1064 h 10000"/>
                  <a:gd name="connsiteX103" fmla="*/ 1888 w 10000"/>
                  <a:gd name="connsiteY103" fmla="*/ 1645 h 10000"/>
                  <a:gd name="connsiteX104" fmla="*/ 1285 w 10000"/>
                  <a:gd name="connsiteY104" fmla="*/ 1645 h 10000"/>
                  <a:gd name="connsiteX105" fmla="*/ 1285 w 10000"/>
                  <a:gd name="connsiteY105" fmla="*/ 1903 h 10000"/>
                  <a:gd name="connsiteX0" fmla="*/ 1285 w 10000"/>
                  <a:gd name="connsiteY0" fmla="*/ 1903 h 9645"/>
                  <a:gd name="connsiteX1" fmla="*/ 1285 w 10000"/>
                  <a:gd name="connsiteY1" fmla="*/ 2420 h 9645"/>
                  <a:gd name="connsiteX2" fmla="*/ 1285 w 10000"/>
                  <a:gd name="connsiteY2" fmla="*/ 2903 h 9645"/>
                  <a:gd name="connsiteX3" fmla="*/ 1285 w 10000"/>
                  <a:gd name="connsiteY3" fmla="*/ 3387 h 9645"/>
                  <a:gd name="connsiteX4" fmla="*/ 1285 w 10000"/>
                  <a:gd name="connsiteY4" fmla="*/ 3838 h 9645"/>
                  <a:gd name="connsiteX5" fmla="*/ 643 w 10000"/>
                  <a:gd name="connsiteY5" fmla="*/ 3936 h 9645"/>
                  <a:gd name="connsiteX6" fmla="*/ 522 w 10000"/>
                  <a:gd name="connsiteY6" fmla="*/ 4193 h 9645"/>
                  <a:gd name="connsiteX7" fmla="*/ 241 w 10000"/>
                  <a:gd name="connsiteY7" fmla="*/ 4516 h 9645"/>
                  <a:gd name="connsiteX8" fmla="*/ 241 w 10000"/>
                  <a:gd name="connsiteY8" fmla="*/ 4774 h 9645"/>
                  <a:gd name="connsiteX9" fmla="*/ 120 w 10000"/>
                  <a:gd name="connsiteY9" fmla="*/ 4838 h 9645"/>
                  <a:gd name="connsiteX10" fmla="*/ 120 w 10000"/>
                  <a:gd name="connsiteY10" fmla="*/ 5064 h 9645"/>
                  <a:gd name="connsiteX11" fmla="*/ 0 w 10000"/>
                  <a:gd name="connsiteY11" fmla="*/ 5258 h 9645"/>
                  <a:gd name="connsiteX12" fmla="*/ 0 w 10000"/>
                  <a:gd name="connsiteY12" fmla="*/ 5419 h 9645"/>
                  <a:gd name="connsiteX13" fmla="*/ 241 w 10000"/>
                  <a:gd name="connsiteY13" fmla="*/ 5387 h 9645"/>
                  <a:gd name="connsiteX14" fmla="*/ 281 w 10000"/>
                  <a:gd name="connsiteY14" fmla="*/ 5677 h 9645"/>
                  <a:gd name="connsiteX15" fmla="*/ 602 w 10000"/>
                  <a:gd name="connsiteY15" fmla="*/ 6194 h 9645"/>
                  <a:gd name="connsiteX16" fmla="*/ 602 w 10000"/>
                  <a:gd name="connsiteY16" fmla="*/ 6226 h 9645"/>
                  <a:gd name="connsiteX17" fmla="*/ 482 w 10000"/>
                  <a:gd name="connsiteY17" fmla="*/ 6258 h 9645"/>
                  <a:gd name="connsiteX18" fmla="*/ 964 w 10000"/>
                  <a:gd name="connsiteY18" fmla="*/ 6774 h 9645"/>
                  <a:gd name="connsiteX19" fmla="*/ 1004 w 10000"/>
                  <a:gd name="connsiteY19" fmla="*/ 6935 h 9645"/>
                  <a:gd name="connsiteX20" fmla="*/ 964 w 10000"/>
                  <a:gd name="connsiteY20" fmla="*/ 7387 h 9645"/>
                  <a:gd name="connsiteX21" fmla="*/ 1044 w 10000"/>
                  <a:gd name="connsiteY21" fmla="*/ 7452 h 9645"/>
                  <a:gd name="connsiteX22" fmla="*/ 1365 w 10000"/>
                  <a:gd name="connsiteY22" fmla="*/ 7484 h 9645"/>
                  <a:gd name="connsiteX23" fmla="*/ 1406 w 10000"/>
                  <a:gd name="connsiteY23" fmla="*/ 7612 h 9645"/>
                  <a:gd name="connsiteX24" fmla="*/ 1767 w 10000"/>
                  <a:gd name="connsiteY24" fmla="*/ 7645 h 9645"/>
                  <a:gd name="connsiteX25" fmla="*/ 1968 w 10000"/>
                  <a:gd name="connsiteY25" fmla="*/ 7774 h 9645"/>
                  <a:gd name="connsiteX26" fmla="*/ 2008 w 10000"/>
                  <a:gd name="connsiteY26" fmla="*/ 8000 h 9645"/>
                  <a:gd name="connsiteX27" fmla="*/ 2651 w 10000"/>
                  <a:gd name="connsiteY27" fmla="*/ 8387 h 9645"/>
                  <a:gd name="connsiteX28" fmla="*/ 2811 w 10000"/>
                  <a:gd name="connsiteY28" fmla="*/ 8774 h 9645"/>
                  <a:gd name="connsiteX29" fmla="*/ 3253 w 10000"/>
                  <a:gd name="connsiteY29" fmla="*/ 8968 h 9645"/>
                  <a:gd name="connsiteX30" fmla="*/ 3414 w 10000"/>
                  <a:gd name="connsiteY30" fmla="*/ 9226 h 9645"/>
                  <a:gd name="connsiteX31" fmla="*/ 3735 w 10000"/>
                  <a:gd name="connsiteY31" fmla="*/ 9549 h 9645"/>
                  <a:gd name="connsiteX32" fmla="*/ 3976 w 10000"/>
                  <a:gd name="connsiteY32" fmla="*/ 9645 h 9645"/>
                  <a:gd name="connsiteX33" fmla="*/ 4137 w 10000"/>
                  <a:gd name="connsiteY33" fmla="*/ 9549 h 9645"/>
                  <a:gd name="connsiteX34" fmla="*/ 4538 w 10000"/>
                  <a:gd name="connsiteY34" fmla="*/ 9581 h 9645"/>
                  <a:gd name="connsiteX35" fmla="*/ 4699 w 10000"/>
                  <a:gd name="connsiteY35" fmla="*/ 9516 h 9645"/>
                  <a:gd name="connsiteX36" fmla="*/ 4762 w 10000"/>
                  <a:gd name="connsiteY36" fmla="*/ 6927 h 9645"/>
                  <a:gd name="connsiteX37" fmla="*/ 4901 w 10000"/>
                  <a:gd name="connsiteY37" fmla="*/ 6794 h 9645"/>
                  <a:gd name="connsiteX38" fmla="*/ 5080 w 10000"/>
                  <a:gd name="connsiteY38" fmla="*/ 6889 h 9645"/>
                  <a:gd name="connsiteX39" fmla="*/ 5337 w 10000"/>
                  <a:gd name="connsiteY39" fmla="*/ 6985 h 9645"/>
                  <a:gd name="connsiteX40" fmla="*/ 5564 w 10000"/>
                  <a:gd name="connsiteY40" fmla="*/ 7108 h 9645"/>
                  <a:gd name="connsiteX41" fmla="*/ 5768 w 10000"/>
                  <a:gd name="connsiteY41" fmla="*/ 7028 h 9645"/>
                  <a:gd name="connsiteX42" fmla="*/ 5933 w 10000"/>
                  <a:gd name="connsiteY42" fmla="*/ 6953 h 9645"/>
                  <a:gd name="connsiteX43" fmla="*/ 6089 w 10000"/>
                  <a:gd name="connsiteY43" fmla="*/ 6788 h 9645"/>
                  <a:gd name="connsiteX44" fmla="*/ 6274 w 10000"/>
                  <a:gd name="connsiteY44" fmla="*/ 6562 h 9645"/>
                  <a:gd name="connsiteX45" fmla="*/ 6389 w 10000"/>
                  <a:gd name="connsiteY45" fmla="*/ 6459 h 9645"/>
                  <a:gd name="connsiteX46" fmla="*/ 6524 w 10000"/>
                  <a:gd name="connsiteY46" fmla="*/ 6417 h 9645"/>
                  <a:gd name="connsiteX47" fmla="*/ 6531 w 10000"/>
                  <a:gd name="connsiteY47" fmla="*/ 6285 h 9645"/>
                  <a:gd name="connsiteX48" fmla="*/ 6424 w 10000"/>
                  <a:gd name="connsiteY48" fmla="*/ 5985 h 9645"/>
                  <a:gd name="connsiteX49" fmla="*/ 6602 w 10000"/>
                  <a:gd name="connsiteY49" fmla="*/ 5992 h 9645"/>
                  <a:gd name="connsiteX50" fmla="*/ 6707 w 10000"/>
                  <a:gd name="connsiteY50" fmla="*/ 5879 h 9645"/>
                  <a:gd name="connsiteX51" fmla="*/ 6876 w 10000"/>
                  <a:gd name="connsiteY51" fmla="*/ 5880 h 9645"/>
                  <a:gd name="connsiteX52" fmla="*/ 6827 w 10000"/>
                  <a:gd name="connsiteY52" fmla="*/ 6579 h 9645"/>
                  <a:gd name="connsiteX53" fmla="*/ 6991 w 10000"/>
                  <a:gd name="connsiteY53" fmla="*/ 6658 h 9645"/>
                  <a:gd name="connsiteX54" fmla="*/ 7275 w 10000"/>
                  <a:gd name="connsiteY54" fmla="*/ 6861 h 9645"/>
                  <a:gd name="connsiteX55" fmla="*/ 7430 w 10000"/>
                  <a:gd name="connsiteY55" fmla="*/ 6548 h 9645"/>
                  <a:gd name="connsiteX56" fmla="*/ 7470 w 10000"/>
                  <a:gd name="connsiteY56" fmla="*/ 6580 h 9645"/>
                  <a:gd name="connsiteX57" fmla="*/ 7590 w 10000"/>
                  <a:gd name="connsiteY57" fmla="*/ 6387 h 9645"/>
                  <a:gd name="connsiteX58" fmla="*/ 7831 w 10000"/>
                  <a:gd name="connsiteY58" fmla="*/ 6290 h 9645"/>
                  <a:gd name="connsiteX59" fmla="*/ 7952 w 10000"/>
                  <a:gd name="connsiteY59" fmla="*/ 5935 h 9645"/>
                  <a:gd name="connsiteX60" fmla="*/ 8313 w 10000"/>
                  <a:gd name="connsiteY60" fmla="*/ 5516 h 9645"/>
                  <a:gd name="connsiteX61" fmla="*/ 8594 w 10000"/>
                  <a:gd name="connsiteY61" fmla="*/ 5322 h 9645"/>
                  <a:gd name="connsiteX62" fmla="*/ 8795 w 10000"/>
                  <a:gd name="connsiteY62" fmla="*/ 4774 h 9645"/>
                  <a:gd name="connsiteX63" fmla="*/ 8795 w 10000"/>
                  <a:gd name="connsiteY63" fmla="*/ 4645 h 9645"/>
                  <a:gd name="connsiteX64" fmla="*/ 8755 w 10000"/>
                  <a:gd name="connsiteY64" fmla="*/ 4323 h 9645"/>
                  <a:gd name="connsiteX65" fmla="*/ 9157 w 10000"/>
                  <a:gd name="connsiteY65" fmla="*/ 3161 h 9645"/>
                  <a:gd name="connsiteX66" fmla="*/ 9277 w 10000"/>
                  <a:gd name="connsiteY66" fmla="*/ 3161 h 9645"/>
                  <a:gd name="connsiteX67" fmla="*/ 9438 w 10000"/>
                  <a:gd name="connsiteY67" fmla="*/ 3065 h 9645"/>
                  <a:gd name="connsiteX68" fmla="*/ 9920 w 10000"/>
                  <a:gd name="connsiteY68" fmla="*/ 2903 h 9645"/>
                  <a:gd name="connsiteX69" fmla="*/ 10000 w 10000"/>
                  <a:gd name="connsiteY69" fmla="*/ 2645 h 9645"/>
                  <a:gd name="connsiteX70" fmla="*/ 9960 w 10000"/>
                  <a:gd name="connsiteY70" fmla="*/ 2580 h 9645"/>
                  <a:gd name="connsiteX71" fmla="*/ 9799 w 10000"/>
                  <a:gd name="connsiteY71" fmla="*/ 2580 h 9645"/>
                  <a:gd name="connsiteX72" fmla="*/ 9679 w 10000"/>
                  <a:gd name="connsiteY72" fmla="*/ 2420 h 9645"/>
                  <a:gd name="connsiteX73" fmla="*/ 9438 w 10000"/>
                  <a:gd name="connsiteY73" fmla="*/ 2355 h 9645"/>
                  <a:gd name="connsiteX74" fmla="*/ 9317 w 10000"/>
                  <a:gd name="connsiteY74" fmla="*/ 2226 h 9645"/>
                  <a:gd name="connsiteX75" fmla="*/ 9237 w 10000"/>
                  <a:gd name="connsiteY75" fmla="*/ 1742 h 9645"/>
                  <a:gd name="connsiteX76" fmla="*/ 9237 w 10000"/>
                  <a:gd name="connsiteY76" fmla="*/ 1064 h 9645"/>
                  <a:gd name="connsiteX77" fmla="*/ 9036 w 10000"/>
                  <a:gd name="connsiteY77" fmla="*/ 839 h 9645"/>
                  <a:gd name="connsiteX78" fmla="*/ 8996 w 10000"/>
                  <a:gd name="connsiteY78" fmla="*/ 613 h 9645"/>
                  <a:gd name="connsiteX79" fmla="*/ 8675 w 10000"/>
                  <a:gd name="connsiteY79" fmla="*/ 290 h 9645"/>
                  <a:gd name="connsiteX80" fmla="*/ 8394 w 10000"/>
                  <a:gd name="connsiteY80" fmla="*/ 162 h 9645"/>
                  <a:gd name="connsiteX81" fmla="*/ 8233 w 10000"/>
                  <a:gd name="connsiteY81" fmla="*/ 0 h 9645"/>
                  <a:gd name="connsiteX82" fmla="*/ 7992 w 10000"/>
                  <a:gd name="connsiteY82" fmla="*/ 162 h 9645"/>
                  <a:gd name="connsiteX83" fmla="*/ 7831 w 10000"/>
                  <a:gd name="connsiteY83" fmla="*/ 129 h 9645"/>
                  <a:gd name="connsiteX84" fmla="*/ 7711 w 10000"/>
                  <a:gd name="connsiteY84" fmla="*/ 419 h 9645"/>
                  <a:gd name="connsiteX85" fmla="*/ 7390 w 10000"/>
                  <a:gd name="connsiteY85" fmla="*/ 484 h 9645"/>
                  <a:gd name="connsiteX86" fmla="*/ 7309 w 10000"/>
                  <a:gd name="connsiteY86" fmla="*/ 709 h 9645"/>
                  <a:gd name="connsiteX87" fmla="*/ 7028 w 10000"/>
                  <a:gd name="connsiteY87" fmla="*/ 709 h 9645"/>
                  <a:gd name="connsiteX88" fmla="*/ 6787 w 10000"/>
                  <a:gd name="connsiteY88" fmla="*/ 613 h 9645"/>
                  <a:gd name="connsiteX89" fmla="*/ 6265 w 10000"/>
                  <a:gd name="connsiteY89" fmla="*/ 613 h 9645"/>
                  <a:gd name="connsiteX90" fmla="*/ 5743 w 10000"/>
                  <a:gd name="connsiteY90" fmla="*/ 613 h 9645"/>
                  <a:gd name="connsiteX91" fmla="*/ 5783 w 10000"/>
                  <a:gd name="connsiteY91" fmla="*/ 484 h 9645"/>
                  <a:gd name="connsiteX92" fmla="*/ 5703 w 10000"/>
                  <a:gd name="connsiteY92" fmla="*/ 484 h 9645"/>
                  <a:gd name="connsiteX93" fmla="*/ 5663 w 10000"/>
                  <a:gd name="connsiteY93" fmla="*/ 613 h 9645"/>
                  <a:gd name="connsiteX94" fmla="*/ 5181 w 10000"/>
                  <a:gd name="connsiteY94" fmla="*/ 613 h 9645"/>
                  <a:gd name="connsiteX95" fmla="*/ 4699 w 10000"/>
                  <a:gd name="connsiteY95" fmla="*/ 613 h 9645"/>
                  <a:gd name="connsiteX96" fmla="*/ 4217 w 10000"/>
                  <a:gd name="connsiteY96" fmla="*/ 613 h 9645"/>
                  <a:gd name="connsiteX97" fmla="*/ 3735 w 10000"/>
                  <a:gd name="connsiteY97" fmla="*/ 613 h 9645"/>
                  <a:gd name="connsiteX98" fmla="*/ 3293 w 10000"/>
                  <a:gd name="connsiteY98" fmla="*/ 613 h 9645"/>
                  <a:gd name="connsiteX99" fmla="*/ 2811 w 10000"/>
                  <a:gd name="connsiteY99" fmla="*/ 613 h 9645"/>
                  <a:gd name="connsiteX100" fmla="*/ 2369 w 10000"/>
                  <a:gd name="connsiteY100" fmla="*/ 613 h 9645"/>
                  <a:gd name="connsiteX101" fmla="*/ 1888 w 10000"/>
                  <a:gd name="connsiteY101" fmla="*/ 613 h 9645"/>
                  <a:gd name="connsiteX102" fmla="*/ 1888 w 10000"/>
                  <a:gd name="connsiteY102" fmla="*/ 1064 h 9645"/>
                  <a:gd name="connsiteX103" fmla="*/ 1888 w 10000"/>
                  <a:gd name="connsiteY103" fmla="*/ 1645 h 9645"/>
                  <a:gd name="connsiteX104" fmla="*/ 1285 w 10000"/>
                  <a:gd name="connsiteY104" fmla="*/ 1645 h 9645"/>
                  <a:gd name="connsiteX105" fmla="*/ 1285 w 10000"/>
                  <a:gd name="connsiteY105" fmla="*/ 1903 h 9645"/>
                  <a:gd name="connsiteX0" fmla="*/ 1285 w 10000"/>
                  <a:gd name="connsiteY0" fmla="*/ 1973 h 10000"/>
                  <a:gd name="connsiteX1" fmla="*/ 1285 w 10000"/>
                  <a:gd name="connsiteY1" fmla="*/ 2509 h 10000"/>
                  <a:gd name="connsiteX2" fmla="*/ 1285 w 10000"/>
                  <a:gd name="connsiteY2" fmla="*/ 3010 h 10000"/>
                  <a:gd name="connsiteX3" fmla="*/ 1285 w 10000"/>
                  <a:gd name="connsiteY3" fmla="*/ 3512 h 10000"/>
                  <a:gd name="connsiteX4" fmla="*/ 1285 w 10000"/>
                  <a:gd name="connsiteY4" fmla="*/ 3979 h 10000"/>
                  <a:gd name="connsiteX5" fmla="*/ 643 w 10000"/>
                  <a:gd name="connsiteY5" fmla="*/ 4081 h 10000"/>
                  <a:gd name="connsiteX6" fmla="*/ 522 w 10000"/>
                  <a:gd name="connsiteY6" fmla="*/ 4347 h 10000"/>
                  <a:gd name="connsiteX7" fmla="*/ 241 w 10000"/>
                  <a:gd name="connsiteY7" fmla="*/ 4682 h 10000"/>
                  <a:gd name="connsiteX8" fmla="*/ 241 w 10000"/>
                  <a:gd name="connsiteY8" fmla="*/ 4950 h 10000"/>
                  <a:gd name="connsiteX9" fmla="*/ 120 w 10000"/>
                  <a:gd name="connsiteY9" fmla="*/ 5016 h 10000"/>
                  <a:gd name="connsiteX10" fmla="*/ 120 w 10000"/>
                  <a:gd name="connsiteY10" fmla="*/ 5250 h 10000"/>
                  <a:gd name="connsiteX11" fmla="*/ 0 w 10000"/>
                  <a:gd name="connsiteY11" fmla="*/ 5452 h 10000"/>
                  <a:gd name="connsiteX12" fmla="*/ 0 w 10000"/>
                  <a:gd name="connsiteY12" fmla="*/ 5618 h 10000"/>
                  <a:gd name="connsiteX13" fmla="*/ 241 w 10000"/>
                  <a:gd name="connsiteY13" fmla="*/ 5585 h 10000"/>
                  <a:gd name="connsiteX14" fmla="*/ 281 w 10000"/>
                  <a:gd name="connsiteY14" fmla="*/ 5886 h 10000"/>
                  <a:gd name="connsiteX15" fmla="*/ 602 w 10000"/>
                  <a:gd name="connsiteY15" fmla="*/ 6422 h 10000"/>
                  <a:gd name="connsiteX16" fmla="*/ 602 w 10000"/>
                  <a:gd name="connsiteY16" fmla="*/ 6455 h 10000"/>
                  <a:gd name="connsiteX17" fmla="*/ 482 w 10000"/>
                  <a:gd name="connsiteY17" fmla="*/ 6488 h 10000"/>
                  <a:gd name="connsiteX18" fmla="*/ 964 w 10000"/>
                  <a:gd name="connsiteY18" fmla="*/ 7023 h 10000"/>
                  <a:gd name="connsiteX19" fmla="*/ 1004 w 10000"/>
                  <a:gd name="connsiteY19" fmla="*/ 7190 h 10000"/>
                  <a:gd name="connsiteX20" fmla="*/ 964 w 10000"/>
                  <a:gd name="connsiteY20" fmla="*/ 7659 h 10000"/>
                  <a:gd name="connsiteX21" fmla="*/ 1044 w 10000"/>
                  <a:gd name="connsiteY21" fmla="*/ 7726 h 10000"/>
                  <a:gd name="connsiteX22" fmla="*/ 1365 w 10000"/>
                  <a:gd name="connsiteY22" fmla="*/ 7759 h 10000"/>
                  <a:gd name="connsiteX23" fmla="*/ 1406 w 10000"/>
                  <a:gd name="connsiteY23" fmla="*/ 7892 h 10000"/>
                  <a:gd name="connsiteX24" fmla="*/ 1767 w 10000"/>
                  <a:gd name="connsiteY24" fmla="*/ 7926 h 10000"/>
                  <a:gd name="connsiteX25" fmla="*/ 1968 w 10000"/>
                  <a:gd name="connsiteY25" fmla="*/ 8060 h 10000"/>
                  <a:gd name="connsiteX26" fmla="*/ 2008 w 10000"/>
                  <a:gd name="connsiteY26" fmla="*/ 8294 h 10000"/>
                  <a:gd name="connsiteX27" fmla="*/ 2651 w 10000"/>
                  <a:gd name="connsiteY27" fmla="*/ 8696 h 10000"/>
                  <a:gd name="connsiteX28" fmla="*/ 2811 w 10000"/>
                  <a:gd name="connsiteY28" fmla="*/ 9097 h 10000"/>
                  <a:gd name="connsiteX29" fmla="*/ 3253 w 10000"/>
                  <a:gd name="connsiteY29" fmla="*/ 9298 h 10000"/>
                  <a:gd name="connsiteX30" fmla="*/ 3414 w 10000"/>
                  <a:gd name="connsiteY30" fmla="*/ 9566 h 10000"/>
                  <a:gd name="connsiteX31" fmla="*/ 3735 w 10000"/>
                  <a:gd name="connsiteY31" fmla="*/ 9900 h 10000"/>
                  <a:gd name="connsiteX32" fmla="*/ 3976 w 10000"/>
                  <a:gd name="connsiteY32" fmla="*/ 10000 h 10000"/>
                  <a:gd name="connsiteX33" fmla="*/ 4137 w 10000"/>
                  <a:gd name="connsiteY33" fmla="*/ 9900 h 10000"/>
                  <a:gd name="connsiteX34" fmla="*/ 4538 w 10000"/>
                  <a:gd name="connsiteY34" fmla="*/ 9934 h 10000"/>
                  <a:gd name="connsiteX35" fmla="*/ 4600 w 10000"/>
                  <a:gd name="connsiteY35" fmla="*/ 7408 h 10000"/>
                  <a:gd name="connsiteX36" fmla="*/ 4762 w 10000"/>
                  <a:gd name="connsiteY36" fmla="*/ 7182 h 10000"/>
                  <a:gd name="connsiteX37" fmla="*/ 4901 w 10000"/>
                  <a:gd name="connsiteY37" fmla="*/ 7044 h 10000"/>
                  <a:gd name="connsiteX38" fmla="*/ 5080 w 10000"/>
                  <a:gd name="connsiteY38" fmla="*/ 7143 h 10000"/>
                  <a:gd name="connsiteX39" fmla="*/ 5337 w 10000"/>
                  <a:gd name="connsiteY39" fmla="*/ 7242 h 10000"/>
                  <a:gd name="connsiteX40" fmla="*/ 5564 w 10000"/>
                  <a:gd name="connsiteY40" fmla="*/ 7370 h 10000"/>
                  <a:gd name="connsiteX41" fmla="*/ 5768 w 10000"/>
                  <a:gd name="connsiteY41" fmla="*/ 7287 h 10000"/>
                  <a:gd name="connsiteX42" fmla="*/ 5933 w 10000"/>
                  <a:gd name="connsiteY42" fmla="*/ 7209 h 10000"/>
                  <a:gd name="connsiteX43" fmla="*/ 6089 w 10000"/>
                  <a:gd name="connsiteY43" fmla="*/ 7038 h 10000"/>
                  <a:gd name="connsiteX44" fmla="*/ 6274 w 10000"/>
                  <a:gd name="connsiteY44" fmla="*/ 6804 h 10000"/>
                  <a:gd name="connsiteX45" fmla="*/ 6389 w 10000"/>
                  <a:gd name="connsiteY45" fmla="*/ 6697 h 10000"/>
                  <a:gd name="connsiteX46" fmla="*/ 6524 w 10000"/>
                  <a:gd name="connsiteY46" fmla="*/ 6653 h 10000"/>
                  <a:gd name="connsiteX47" fmla="*/ 6531 w 10000"/>
                  <a:gd name="connsiteY47" fmla="*/ 6516 h 10000"/>
                  <a:gd name="connsiteX48" fmla="*/ 6424 w 10000"/>
                  <a:gd name="connsiteY48" fmla="*/ 6205 h 10000"/>
                  <a:gd name="connsiteX49" fmla="*/ 6602 w 10000"/>
                  <a:gd name="connsiteY49" fmla="*/ 6213 h 10000"/>
                  <a:gd name="connsiteX50" fmla="*/ 6707 w 10000"/>
                  <a:gd name="connsiteY50" fmla="*/ 6095 h 10000"/>
                  <a:gd name="connsiteX51" fmla="*/ 6876 w 10000"/>
                  <a:gd name="connsiteY51" fmla="*/ 6096 h 10000"/>
                  <a:gd name="connsiteX52" fmla="*/ 6827 w 10000"/>
                  <a:gd name="connsiteY52" fmla="*/ 6821 h 10000"/>
                  <a:gd name="connsiteX53" fmla="*/ 6991 w 10000"/>
                  <a:gd name="connsiteY53" fmla="*/ 6903 h 10000"/>
                  <a:gd name="connsiteX54" fmla="*/ 7275 w 10000"/>
                  <a:gd name="connsiteY54" fmla="*/ 7114 h 10000"/>
                  <a:gd name="connsiteX55" fmla="*/ 7430 w 10000"/>
                  <a:gd name="connsiteY55" fmla="*/ 6789 h 10000"/>
                  <a:gd name="connsiteX56" fmla="*/ 7470 w 10000"/>
                  <a:gd name="connsiteY56" fmla="*/ 6822 h 10000"/>
                  <a:gd name="connsiteX57" fmla="*/ 7590 w 10000"/>
                  <a:gd name="connsiteY57" fmla="*/ 6622 h 10000"/>
                  <a:gd name="connsiteX58" fmla="*/ 7831 w 10000"/>
                  <a:gd name="connsiteY58" fmla="*/ 6522 h 10000"/>
                  <a:gd name="connsiteX59" fmla="*/ 7952 w 10000"/>
                  <a:gd name="connsiteY59" fmla="*/ 6153 h 10000"/>
                  <a:gd name="connsiteX60" fmla="*/ 8313 w 10000"/>
                  <a:gd name="connsiteY60" fmla="*/ 5719 h 10000"/>
                  <a:gd name="connsiteX61" fmla="*/ 8594 w 10000"/>
                  <a:gd name="connsiteY61" fmla="*/ 5518 h 10000"/>
                  <a:gd name="connsiteX62" fmla="*/ 8795 w 10000"/>
                  <a:gd name="connsiteY62" fmla="*/ 4950 h 10000"/>
                  <a:gd name="connsiteX63" fmla="*/ 8795 w 10000"/>
                  <a:gd name="connsiteY63" fmla="*/ 4816 h 10000"/>
                  <a:gd name="connsiteX64" fmla="*/ 8755 w 10000"/>
                  <a:gd name="connsiteY64" fmla="*/ 4482 h 10000"/>
                  <a:gd name="connsiteX65" fmla="*/ 9157 w 10000"/>
                  <a:gd name="connsiteY65" fmla="*/ 3277 h 10000"/>
                  <a:gd name="connsiteX66" fmla="*/ 9277 w 10000"/>
                  <a:gd name="connsiteY66" fmla="*/ 3277 h 10000"/>
                  <a:gd name="connsiteX67" fmla="*/ 9438 w 10000"/>
                  <a:gd name="connsiteY67" fmla="*/ 3178 h 10000"/>
                  <a:gd name="connsiteX68" fmla="*/ 9920 w 10000"/>
                  <a:gd name="connsiteY68" fmla="*/ 3010 h 10000"/>
                  <a:gd name="connsiteX69" fmla="*/ 10000 w 10000"/>
                  <a:gd name="connsiteY69" fmla="*/ 2742 h 10000"/>
                  <a:gd name="connsiteX70" fmla="*/ 9960 w 10000"/>
                  <a:gd name="connsiteY70" fmla="*/ 2675 h 10000"/>
                  <a:gd name="connsiteX71" fmla="*/ 9799 w 10000"/>
                  <a:gd name="connsiteY71" fmla="*/ 2675 h 10000"/>
                  <a:gd name="connsiteX72" fmla="*/ 9679 w 10000"/>
                  <a:gd name="connsiteY72" fmla="*/ 2509 h 10000"/>
                  <a:gd name="connsiteX73" fmla="*/ 9438 w 10000"/>
                  <a:gd name="connsiteY73" fmla="*/ 2442 h 10000"/>
                  <a:gd name="connsiteX74" fmla="*/ 9317 w 10000"/>
                  <a:gd name="connsiteY74" fmla="*/ 2308 h 10000"/>
                  <a:gd name="connsiteX75" fmla="*/ 9237 w 10000"/>
                  <a:gd name="connsiteY75" fmla="*/ 1806 h 10000"/>
                  <a:gd name="connsiteX76" fmla="*/ 9237 w 10000"/>
                  <a:gd name="connsiteY76" fmla="*/ 1103 h 10000"/>
                  <a:gd name="connsiteX77" fmla="*/ 9036 w 10000"/>
                  <a:gd name="connsiteY77" fmla="*/ 870 h 10000"/>
                  <a:gd name="connsiteX78" fmla="*/ 8996 w 10000"/>
                  <a:gd name="connsiteY78" fmla="*/ 636 h 10000"/>
                  <a:gd name="connsiteX79" fmla="*/ 8675 w 10000"/>
                  <a:gd name="connsiteY79" fmla="*/ 301 h 10000"/>
                  <a:gd name="connsiteX80" fmla="*/ 8394 w 10000"/>
                  <a:gd name="connsiteY80" fmla="*/ 168 h 10000"/>
                  <a:gd name="connsiteX81" fmla="*/ 8233 w 10000"/>
                  <a:gd name="connsiteY81" fmla="*/ 0 h 10000"/>
                  <a:gd name="connsiteX82" fmla="*/ 7992 w 10000"/>
                  <a:gd name="connsiteY82" fmla="*/ 168 h 10000"/>
                  <a:gd name="connsiteX83" fmla="*/ 7831 w 10000"/>
                  <a:gd name="connsiteY83" fmla="*/ 134 h 10000"/>
                  <a:gd name="connsiteX84" fmla="*/ 7711 w 10000"/>
                  <a:gd name="connsiteY84" fmla="*/ 434 h 10000"/>
                  <a:gd name="connsiteX85" fmla="*/ 7390 w 10000"/>
                  <a:gd name="connsiteY85" fmla="*/ 502 h 10000"/>
                  <a:gd name="connsiteX86" fmla="*/ 7309 w 10000"/>
                  <a:gd name="connsiteY86" fmla="*/ 735 h 10000"/>
                  <a:gd name="connsiteX87" fmla="*/ 7028 w 10000"/>
                  <a:gd name="connsiteY87" fmla="*/ 735 h 10000"/>
                  <a:gd name="connsiteX88" fmla="*/ 6787 w 10000"/>
                  <a:gd name="connsiteY88" fmla="*/ 636 h 10000"/>
                  <a:gd name="connsiteX89" fmla="*/ 6265 w 10000"/>
                  <a:gd name="connsiteY89" fmla="*/ 636 h 10000"/>
                  <a:gd name="connsiteX90" fmla="*/ 5743 w 10000"/>
                  <a:gd name="connsiteY90" fmla="*/ 636 h 10000"/>
                  <a:gd name="connsiteX91" fmla="*/ 5783 w 10000"/>
                  <a:gd name="connsiteY91" fmla="*/ 502 h 10000"/>
                  <a:gd name="connsiteX92" fmla="*/ 5703 w 10000"/>
                  <a:gd name="connsiteY92" fmla="*/ 502 h 10000"/>
                  <a:gd name="connsiteX93" fmla="*/ 5663 w 10000"/>
                  <a:gd name="connsiteY93" fmla="*/ 636 h 10000"/>
                  <a:gd name="connsiteX94" fmla="*/ 5181 w 10000"/>
                  <a:gd name="connsiteY94" fmla="*/ 636 h 10000"/>
                  <a:gd name="connsiteX95" fmla="*/ 4699 w 10000"/>
                  <a:gd name="connsiteY95" fmla="*/ 636 h 10000"/>
                  <a:gd name="connsiteX96" fmla="*/ 4217 w 10000"/>
                  <a:gd name="connsiteY96" fmla="*/ 636 h 10000"/>
                  <a:gd name="connsiteX97" fmla="*/ 3735 w 10000"/>
                  <a:gd name="connsiteY97" fmla="*/ 636 h 10000"/>
                  <a:gd name="connsiteX98" fmla="*/ 3293 w 10000"/>
                  <a:gd name="connsiteY98" fmla="*/ 636 h 10000"/>
                  <a:gd name="connsiteX99" fmla="*/ 2811 w 10000"/>
                  <a:gd name="connsiteY99" fmla="*/ 636 h 10000"/>
                  <a:gd name="connsiteX100" fmla="*/ 2369 w 10000"/>
                  <a:gd name="connsiteY100" fmla="*/ 636 h 10000"/>
                  <a:gd name="connsiteX101" fmla="*/ 1888 w 10000"/>
                  <a:gd name="connsiteY101" fmla="*/ 636 h 10000"/>
                  <a:gd name="connsiteX102" fmla="*/ 1888 w 10000"/>
                  <a:gd name="connsiteY102" fmla="*/ 1103 h 10000"/>
                  <a:gd name="connsiteX103" fmla="*/ 1888 w 10000"/>
                  <a:gd name="connsiteY103" fmla="*/ 1706 h 10000"/>
                  <a:gd name="connsiteX104" fmla="*/ 1285 w 10000"/>
                  <a:gd name="connsiteY104" fmla="*/ 1706 h 10000"/>
                  <a:gd name="connsiteX105" fmla="*/ 1285 w 10000"/>
                  <a:gd name="connsiteY105" fmla="*/ 1973 h 10000"/>
                  <a:gd name="connsiteX0" fmla="*/ 1285 w 10000"/>
                  <a:gd name="connsiteY0" fmla="*/ 1973 h 10000"/>
                  <a:gd name="connsiteX1" fmla="*/ 1285 w 10000"/>
                  <a:gd name="connsiteY1" fmla="*/ 2509 h 10000"/>
                  <a:gd name="connsiteX2" fmla="*/ 1285 w 10000"/>
                  <a:gd name="connsiteY2" fmla="*/ 3010 h 10000"/>
                  <a:gd name="connsiteX3" fmla="*/ 1285 w 10000"/>
                  <a:gd name="connsiteY3" fmla="*/ 3512 h 10000"/>
                  <a:gd name="connsiteX4" fmla="*/ 1285 w 10000"/>
                  <a:gd name="connsiteY4" fmla="*/ 3979 h 10000"/>
                  <a:gd name="connsiteX5" fmla="*/ 643 w 10000"/>
                  <a:gd name="connsiteY5" fmla="*/ 4081 h 10000"/>
                  <a:gd name="connsiteX6" fmla="*/ 522 w 10000"/>
                  <a:gd name="connsiteY6" fmla="*/ 4347 h 10000"/>
                  <a:gd name="connsiteX7" fmla="*/ 241 w 10000"/>
                  <a:gd name="connsiteY7" fmla="*/ 4682 h 10000"/>
                  <a:gd name="connsiteX8" fmla="*/ 241 w 10000"/>
                  <a:gd name="connsiteY8" fmla="*/ 4950 h 10000"/>
                  <a:gd name="connsiteX9" fmla="*/ 120 w 10000"/>
                  <a:gd name="connsiteY9" fmla="*/ 5016 h 10000"/>
                  <a:gd name="connsiteX10" fmla="*/ 120 w 10000"/>
                  <a:gd name="connsiteY10" fmla="*/ 5250 h 10000"/>
                  <a:gd name="connsiteX11" fmla="*/ 0 w 10000"/>
                  <a:gd name="connsiteY11" fmla="*/ 5452 h 10000"/>
                  <a:gd name="connsiteX12" fmla="*/ 0 w 10000"/>
                  <a:gd name="connsiteY12" fmla="*/ 5618 h 10000"/>
                  <a:gd name="connsiteX13" fmla="*/ 241 w 10000"/>
                  <a:gd name="connsiteY13" fmla="*/ 5585 h 10000"/>
                  <a:gd name="connsiteX14" fmla="*/ 281 w 10000"/>
                  <a:gd name="connsiteY14" fmla="*/ 5886 h 10000"/>
                  <a:gd name="connsiteX15" fmla="*/ 602 w 10000"/>
                  <a:gd name="connsiteY15" fmla="*/ 6422 h 10000"/>
                  <a:gd name="connsiteX16" fmla="*/ 602 w 10000"/>
                  <a:gd name="connsiteY16" fmla="*/ 6455 h 10000"/>
                  <a:gd name="connsiteX17" fmla="*/ 482 w 10000"/>
                  <a:gd name="connsiteY17" fmla="*/ 6488 h 10000"/>
                  <a:gd name="connsiteX18" fmla="*/ 964 w 10000"/>
                  <a:gd name="connsiteY18" fmla="*/ 7023 h 10000"/>
                  <a:gd name="connsiteX19" fmla="*/ 1004 w 10000"/>
                  <a:gd name="connsiteY19" fmla="*/ 7190 h 10000"/>
                  <a:gd name="connsiteX20" fmla="*/ 964 w 10000"/>
                  <a:gd name="connsiteY20" fmla="*/ 7659 h 10000"/>
                  <a:gd name="connsiteX21" fmla="*/ 1044 w 10000"/>
                  <a:gd name="connsiteY21" fmla="*/ 7726 h 10000"/>
                  <a:gd name="connsiteX22" fmla="*/ 1365 w 10000"/>
                  <a:gd name="connsiteY22" fmla="*/ 7759 h 10000"/>
                  <a:gd name="connsiteX23" fmla="*/ 1406 w 10000"/>
                  <a:gd name="connsiteY23" fmla="*/ 7892 h 10000"/>
                  <a:gd name="connsiteX24" fmla="*/ 1767 w 10000"/>
                  <a:gd name="connsiteY24" fmla="*/ 7926 h 10000"/>
                  <a:gd name="connsiteX25" fmla="*/ 1968 w 10000"/>
                  <a:gd name="connsiteY25" fmla="*/ 8060 h 10000"/>
                  <a:gd name="connsiteX26" fmla="*/ 2008 w 10000"/>
                  <a:gd name="connsiteY26" fmla="*/ 8294 h 10000"/>
                  <a:gd name="connsiteX27" fmla="*/ 2651 w 10000"/>
                  <a:gd name="connsiteY27" fmla="*/ 8696 h 10000"/>
                  <a:gd name="connsiteX28" fmla="*/ 2811 w 10000"/>
                  <a:gd name="connsiteY28" fmla="*/ 9097 h 10000"/>
                  <a:gd name="connsiteX29" fmla="*/ 3253 w 10000"/>
                  <a:gd name="connsiteY29" fmla="*/ 9298 h 10000"/>
                  <a:gd name="connsiteX30" fmla="*/ 3414 w 10000"/>
                  <a:gd name="connsiteY30" fmla="*/ 9566 h 10000"/>
                  <a:gd name="connsiteX31" fmla="*/ 3735 w 10000"/>
                  <a:gd name="connsiteY31" fmla="*/ 9900 h 10000"/>
                  <a:gd name="connsiteX32" fmla="*/ 3976 w 10000"/>
                  <a:gd name="connsiteY32" fmla="*/ 10000 h 10000"/>
                  <a:gd name="connsiteX33" fmla="*/ 4137 w 10000"/>
                  <a:gd name="connsiteY33" fmla="*/ 9900 h 10000"/>
                  <a:gd name="connsiteX34" fmla="*/ 4406 w 10000"/>
                  <a:gd name="connsiteY34" fmla="*/ 7531 h 10000"/>
                  <a:gd name="connsiteX35" fmla="*/ 4600 w 10000"/>
                  <a:gd name="connsiteY35" fmla="*/ 7408 h 10000"/>
                  <a:gd name="connsiteX36" fmla="*/ 4762 w 10000"/>
                  <a:gd name="connsiteY36" fmla="*/ 7182 h 10000"/>
                  <a:gd name="connsiteX37" fmla="*/ 4901 w 10000"/>
                  <a:gd name="connsiteY37" fmla="*/ 7044 h 10000"/>
                  <a:gd name="connsiteX38" fmla="*/ 5080 w 10000"/>
                  <a:gd name="connsiteY38" fmla="*/ 7143 h 10000"/>
                  <a:gd name="connsiteX39" fmla="*/ 5337 w 10000"/>
                  <a:gd name="connsiteY39" fmla="*/ 7242 h 10000"/>
                  <a:gd name="connsiteX40" fmla="*/ 5564 w 10000"/>
                  <a:gd name="connsiteY40" fmla="*/ 7370 h 10000"/>
                  <a:gd name="connsiteX41" fmla="*/ 5768 w 10000"/>
                  <a:gd name="connsiteY41" fmla="*/ 7287 h 10000"/>
                  <a:gd name="connsiteX42" fmla="*/ 5933 w 10000"/>
                  <a:gd name="connsiteY42" fmla="*/ 7209 h 10000"/>
                  <a:gd name="connsiteX43" fmla="*/ 6089 w 10000"/>
                  <a:gd name="connsiteY43" fmla="*/ 7038 h 10000"/>
                  <a:gd name="connsiteX44" fmla="*/ 6274 w 10000"/>
                  <a:gd name="connsiteY44" fmla="*/ 6804 h 10000"/>
                  <a:gd name="connsiteX45" fmla="*/ 6389 w 10000"/>
                  <a:gd name="connsiteY45" fmla="*/ 6697 h 10000"/>
                  <a:gd name="connsiteX46" fmla="*/ 6524 w 10000"/>
                  <a:gd name="connsiteY46" fmla="*/ 6653 h 10000"/>
                  <a:gd name="connsiteX47" fmla="*/ 6531 w 10000"/>
                  <a:gd name="connsiteY47" fmla="*/ 6516 h 10000"/>
                  <a:gd name="connsiteX48" fmla="*/ 6424 w 10000"/>
                  <a:gd name="connsiteY48" fmla="*/ 6205 h 10000"/>
                  <a:gd name="connsiteX49" fmla="*/ 6602 w 10000"/>
                  <a:gd name="connsiteY49" fmla="*/ 6213 h 10000"/>
                  <a:gd name="connsiteX50" fmla="*/ 6707 w 10000"/>
                  <a:gd name="connsiteY50" fmla="*/ 6095 h 10000"/>
                  <a:gd name="connsiteX51" fmla="*/ 6876 w 10000"/>
                  <a:gd name="connsiteY51" fmla="*/ 6096 h 10000"/>
                  <a:gd name="connsiteX52" fmla="*/ 6827 w 10000"/>
                  <a:gd name="connsiteY52" fmla="*/ 6821 h 10000"/>
                  <a:gd name="connsiteX53" fmla="*/ 6991 w 10000"/>
                  <a:gd name="connsiteY53" fmla="*/ 6903 h 10000"/>
                  <a:gd name="connsiteX54" fmla="*/ 7275 w 10000"/>
                  <a:gd name="connsiteY54" fmla="*/ 7114 h 10000"/>
                  <a:gd name="connsiteX55" fmla="*/ 7430 w 10000"/>
                  <a:gd name="connsiteY55" fmla="*/ 6789 h 10000"/>
                  <a:gd name="connsiteX56" fmla="*/ 7470 w 10000"/>
                  <a:gd name="connsiteY56" fmla="*/ 6822 h 10000"/>
                  <a:gd name="connsiteX57" fmla="*/ 7590 w 10000"/>
                  <a:gd name="connsiteY57" fmla="*/ 6622 h 10000"/>
                  <a:gd name="connsiteX58" fmla="*/ 7831 w 10000"/>
                  <a:gd name="connsiteY58" fmla="*/ 6522 h 10000"/>
                  <a:gd name="connsiteX59" fmla="*/ 7952 w 10000"/>
                  <a:gd name="connsiteY59" fmla="*/ 6153 h 10000"/>
                  <a:gd name="connsiteX60" fmla="*/ 8313 w 10000"/>
                  <a:gd name="connsiteY60" fmla="*/ 5719 h 10000"/>
                  <a:gd name="connsiteX61" fmla="*/ 8594 w 10000"/>
                  <a:gd name="connsiteY61" fmla="*/ 5518 h 10000"/>
                  <a:gd name="connsiteX62" fmla="*/ 8795 w 10000"/>
                  <a:gd name="connsiteY62" fmla="*/ 4950 h 10000"/>
                  <a:gd name="connsiteX63" fmla="*/ 8795 w 10000"/>
                  <a:gd name="connsiteY63" fmla="*/ 4816 h 10000"/>
                  <a:gd name="connsiteX64" fmla="*/ 8755 w 10000"/>
                  <a:gd name="connsiteY64" fmla="*/ 4482 h 10000"/>
                  <a:gd name="connsiteX65" fmla="*/ 9157 w 10000"/>
                  <a:gd name="connsiteY65" fmla="*/ 3277 h 10000"/>
                  <a:gd name="connsiteX66" fmla="*/ 9277 w 10000"/>
                  <a:gd name="connsiteY66" fmla="*/ 3277 h 10000"/>
                  <a:gd name="connsiteX67" fmla="*/ 9438 w 10000"/>
                  <a:gd name="connsiteY67" fmla="*/ 3178 h 10000"/>
                  <a:gd name="connsiteX68" fmla="*/ 9920 w 10000"/>
                  <a:gd name="connsiteY68" fmla="*/ 3010 h 10000"/>
                  <a:gd name="connsiteX69" fmla="*/ 10000 w 10000"/>
                  <a:gd name="connsiteY69" fmla="*/ 2742 h 10000"/>
                  <a:gd name="connsiteX70" fmla="*/ 9960 w 10000"/>
                  <a:gd name="connsiteY70" fmla="*/ 2675 h 10000"/>
                  <a:gd name="connsiteX71" fmla="*/ 9799 w 10000"/>
                  <a:gd name="connsiteY71" fmla="*/ 2675 h 10000"/>
                  <a:gd name="connsiteX72" fmla="*/ 9679 w 10000"/>
                  <a:gd name="connsiteY72" fmla="*/ 2509 h 10000"/>
                  <a:gd name="connsiteX73" fmla="*/ 9438 w 10000"/>
                  <a:gd name="connsiteY73" fmla="*/ 2442 h 10000"/>
                  <a:gd name="connsiteX74" fmla="*/ 9317 w 10000"/>
                  <a:gd name="connsiteY74" fmla="*/ 2308 h 10000"/>
                  <a:gd name="connsiteX75" fmla="*/ 9237 w 10000"/>
                  <a:gd name="connsiteY75" fmla="*/ 1806 h 10000"/>
                  <a:gd name="connsiteX76" fmla="*/ 9237 w 10000"/>
                  <a:gd name="connsiteY76" fmla="*/ 1103 h 10000"/>
                  <a:gd name="connsiteX77" fmla="*/ 9036 w 10000"/>
                  <a:gd name="connsiteY77" fmla="*/ 870 h 10000"/>
                  <a:gd name="connsiteX78" fmla="*/ 8996 w 10000"/>
                  <a:gd name="connsiteY78" fmla="*/ 636 h 10000"/>
                  <a:gd name="connsiteX79" fmla="*/ 8675 w 10000"/>
                  <a:gd name="connsiteY79" fmla="*/ 301 h 10000"/>
                  <a:gd name="connsiteX80" fmla="*/ 8394 w 10000"/>
                  <a:gd name="connsiteY80" fmla="*/ 168 h 10000"/>
                  <a:gd name="connsiteX81" fmla="*/ 8233 w 10000"/>
                  <a:gd name="connsiteY81" fmla="*/ 0 h 10000"/>
                  <a:gd name="connsiteX82" fmla="*/ 7992 w 10000"/>
                  <a:gd name="connsiteY82" fmla="*/ 168 h 10000"/>
                  <a:gd name="connsiteX83" fmla="*/ 7831 w 10000"/>
                  <a:gd name="connsiteY83" fmla="*/ 134 h 10000"/>
                  <a:gd name="connsiteX84" fmla="*/ 7711 w 10000"/>
                  <a:gd name="connsiteY84" fmla="*/ 434 h 10000"/>
                  <a:gd name="connsiteX85" fmla="*/ 7390 w 10000"/>
                  <a:gd name="connsiteY85" fmla="*/ 502 h 10000"/>
                  <a:gd name="connsiteX86" fmla="*/ 7309 w 10000"/>
                  <a:gd name="connsiteY86" fmla="*/ 735 h 10000"/>
                  <a:gd name="connsiteX87" fmla="*/ 7028 w 10000"/>
                  <a:gd name="connsiteY87" fmla="*/ 735 h 10000"/>
                  <a:gd name="connsiteX88" fmla="*/ 6787 w 10000"/>
                  <a:gd name="connsiteY88" fmla="*/ 636 h 10000"/>
                  <a:gd name="connsiteX89" fmla="*/ 6265 w 10000"/>
                  <a:gd name="connsiteY89" fmla="*/ 636 h 10000"/>
                  <a:gd name="connsiteX90" fmla="*/ 5743 w 10000"/>
                  <a:gd name="connsiteY90" fmla="*/ 636 h 10000"/>
                  <a:gd name="connsiteX91" fmla="*/ 5783 w 10000"/>
                  <a:gd name="connsiteY91" fmla="*/ 502 h 10000"/>
                  <a:gd name="connsiteX92" fmla="*/ 5703 w 10000"/>
                  <a:gd name="connsiteY92" fmla="*/ 502 h 10000"/>
                  <a:gd name="connsiteX93" fmla="*/ 5663 w 10000"/>
                  <a:gd name="connsiteY93" fmla="*/ 636 h 10000"/>
                  <a:gd name="connsiteX94" fmla="*/ 5181 w 10000"/>
                  <a:gd name="connsiteY94" fmla="*/ 636 h 10000"/>
                  <a:gd name="connsiteX95" fmla="*/ 4699 w 10000"/>
                  <a:gd name="connsiteY95" fmla="*/ 636 h 10000"/>
                  <a:gd name="connsiteX96" fmla="*/ 4217 w 10000"/>
                  <a:gd name="connsiteY96" fmla="*/ 636 h 10000"/>
                  <a:gd name="connsiteX97" fmla="*/ 3735 w 10000"/>
                  <a:gd name="connsiteY97" fmla="*/ 636 h 10000"/>
                  <a:gd name="connsiteX98" fmla="*/ 3293 w 10000"/>
                  <a:gd name="connsiteY98" fmla="*/ 636 h 10000"/>
                  <a:gd name="connsiteX99" fmla="*/ 2811 w 10000"/>
                  <a:gd name="connsiteY99" fmla="*/ 636 h 10000"/>
                  <a:gd name="connsiteX100" fmla="*/ 2369 w 10000"/>
                  <a:gd name="connsiteY100" fmla="*/ 636 h 10000"/>
                  <a:gd name="connsiteX101" fmla="*/ 1888 w 10000"/>
                  <a:gd name="connsiteY101" fmla="*/ 636 h 10000"/>
                  <a:gd name="connsiteX102" fmla="*/ 1888 w 10000"/>
                  <a:gd name="connsiteY102" fmla="*/ 1103 h 10000"/>
                  <a:gd name="connsiteX103" fmla="*/ 1888 w 10000"/>
                  <a:gd name="connsiteY103" fmla="*/ 1706 h 10000"/>
                  <a:gd name="connsiteX104" fmla="*/ 1285 w 10000"/>
                  <a:gd name="connsiteY104" fmla="*/ 1706 h 10000"/>
                  <a:gd name="connsiteX105" fmla="*/ 1285 w 10000"/>
                  <a:gd name="connsiteY105" fmla="*/ 1973 h 10000"/>
                  <a:gd name="connsiteX0" fmla="*/ 1285 w 10000"/>
                  <a:gd name="connsiteY0" fmla="*/ 1973 h 10000"/>
                  <a:gd name="connsiteX1" fmla="*/ 1285 w 10000"/>
                  <a:gd name="connsiteY1" fmla="*/ 2509 h 10000"/>
                  <a:gd name="connsiteX2" fmla="*/ 1285 w 10000"/>
                  <a:gd name="connsiteY2" fmla="*/ 3010 h 10000"/>
                  <a:gd name="connsiteX3" fmla="*/ 1285 w 10000"/>
                  <a:gd name="connsiteY3" fmla="*/ 3512 h 10000"/>
                  <a:gd name="connsiteX4" fmla="*/ 1285 w 10000"/>
                  <a:gd name="connsiteY4" fmla="*/ 3979 h 10000"/>
                  <a:gd name="connsiteX5" fmla="*/ 643 w 10000"/>
                  <a:gd name="connsiteY5" fmla="*/ 4081 h 10000"/>
                  <a:gd name="connsiteX6" fmla="*/ 522 w 10000"/>
                  <a:gd name="connsiteY6" fmla="*/ 4347 h 10000"/>
                  <a:gd name="connsiteX7" fmla="*/ 241 w 10000"/>
                  <a:gd name="connsiteY7" fmla="*/ 4682 h 10000"/>
                  <a:gd name="connsiteX8" fmla="*/ 241 w 10000"/>
                  <a:gd name="connsiteY8" fmla="*/ 4950 h 10000"/>
                  <a:gd name="connsiteX9" fmla="*/ 120 w 10000"/>
                  <a:gd name="connsiteY9" fmla="*/ 5016 h 10000"/>
                  <a:gd name="connsiteX10" fmla="*/ 120 w 10000"/>
                  <a:gd name="connsiteY10" fmla="*/ 5250 h 10000"/>
                  <a:gd name="connsiteX11" fmla="*/ 0 w 10000"/>
                  <a:gd name="connsiteY11" fmla="*/ 5452 h 10000"/>
                  <a:gd name="connsiteX12" fmla="*/ 0 w 10000"/>
                  <a:gd name="connsiteY12" fmla="*/ 5618 h 10000"/>
                  <a:gd name="connsiteX13" fmla="*/ 241 w 10000"/>
                  <a:gd name="connsiteY13" fmla="*/ 5585 h 10000"/>
                  <a:gd name="connsiteX14" fmla="*/ 281 w 10000"/>
                  <a:gd name="connsiteY14" fmla="*/ 5886 h 10000"/>
                  <a:gd name="connsiteX15" fmla="*/ 602 w 10000"/>
                  <a:gd name="connsiteY15" fmla="*/ 6422 h 10000"/>
                  <a:gd name="connsiteX16" fmla="*/ 602 w 10000"/>
                  <a:gd name="connsiteY16" fmla="*/ 6455 h 10000"/>
                  <a:gd name="connsiteX17" fmla="*/ 482 w 10000"/>
                  <a:gd name="connsiteY17" fmla="*/ 6488 h 10000"/>
                  <a:gd name="connsiteX18" fmla="*/ 964 w 10000"/>
                  <a:gd name="connsiteY18" fmla="*/ 7023 h 10000"/>
                  <a:gd name="connsiteX19" fmla="*/ 1004 w 10000"/>
                  <a:gd name="connsiteY19" fmla="*/ 7190 h 10000"/>
                  <a:gd name="connsiteX20" fmla="*/ 964 w 10000"/>
                  <a:gd name="connsiteY20" fmla="*/ 7659 h 10000"/>
                  <a:gd name="connsiteX21" fmla="*/ 1044 w 10000"/>
                  <a:gd name="connsiteY21" fmla="*/ 7726 h 10000"/>
                  <a:gd name="connsiteX22" fmla="*/ 1365 w 10000"/>
                  <a:gd name="connsiteY22" fmla="*/ 7759 h 10000"/>
                  <a:gd name="connsiteX23" fmla="*/ 1406 w 10000"/>
                  <a:gd name="connsiteY23" fmla="*/ 7892 h 10000"/>
                  <a:gd name="connsiteX24" fmla="*/ 1767 w 10000"/>
                  <a:gd name="connsiteY24" fmla="*/ 7926 h 10000"/>
                  <a:gd name="connsiteX25" fmla="*/ 1968 w 10000"/>
                  <a:gd name="connsiteY25" fmla="*/ 8060 h 10000"/>
                  <a:gd name="connsiteX26" fmla="*/ 2008 w 10000"/>
                  <a:gd name="connsiteY26" fmla="*/ 8294 h 10000"/>
                  <a:gd name="connsiteX27" fmla="*/ 2651 w 10000"/>
                  <a:gd name="connsiteY27" fmla="*/ 8696 h 10000"/>
                  <a:gd name="connsiteX28" fmla="*/ 2811 w 10000"/>
                  <a:gd name="connsiteY28" fmla="*/ 9097 h 10000"/>
                  <a:gd name="connsiteX29" fmla="*/ 3253 w 10000"/>
                  <a:gd name="connsiteY29" fmla="*/ 9298 h 10000"/>
                  <a:gd name="connsiteX30" fmla="*/ 3414 w 10000"/>
                  <a:gd name="connsiteY30" fmla="*/ 9566 h 10000"/>
                  <a:gd name="connsiteX31" fmla="*/ 3735 w 10000"/>
                  <a:gd name="connsiteY31" fmla="*/ 9900 h 10000"/>
                  <a:gd name="connsiteX32" fmla="*/ 3976 w 10000"/>
                  <a:gd name="connsiteY32" fmla="*/ 10000 h 10000"/>
                  <a:gd name="connsiteX33" fmla="*/ 4153 w 10000"/>
                  <a:gd name="connsiteY33" fmla="*/ 7579 h 10000"/>
                  <a:gd name="connsiteX34" fmla="*/ 4406 w 10000"/>
                  <a:gd name="connsiteY34" fmla="*/ 7531 h 10000"/>
                  <a:gd name="connsiteX35" fmla="*/ 4600 w 10000"/>
                  <a:gd name="connsiteY35" fmla="*/ 7408 h 10000"/>
                  <a:gd name="connsiteX36" fmla="*/ 4762 w 10000"/>
                  <a:gd name="connsiteY36" fmla="*/ 7182 h 10000"/>
                  <a:gd name="connsiteX37" fmla="*/ 4901 w 10000"/>
                  <a:gd name="connsiteY37" fmla="*/ 7044 h 10000"/>
                  <a:gd name="connsiteX38" fmla="*/ 5080 w 10000"/>
                  <a:gd name="connsiteY38" fmla="*/ 7143 h 10000"/>
                  <a:gd name="connsiteX39" fmla="*/ 5337 w 10000"/>
                  <a:gd name="connsiteY39" fmla="*/ 7242 h 10000"/>
                  <a:gd name="connsiteX40" fmla="*/ 5564 w 10000"/>
                  <a:gd name="connsiteY40" fmla="*/ 7370 h 10000"/>
                  <a:gd name="connsiteX41" fmla="*/ 5768 w 10000"/>
                  <a:gd name="connsiteY41" fmla="*/ 7287 h 10000"/>
                  <a:gd name="connsiteX42" fmla="*/ 5933 w 10000"/>
                  <a:gd name="connsiteY42" fmla="*/ 7209 h 10000"/>
                  <a:gd name="connsiteX43" fmla="*/ 6089 w 10000"/>
                  <a:gd name="connsiteY43" fmla="*/ 7038 h 10000"/>
                  <a:gd name="connsiteX44" fmla="*/ 6274 w 10000"/>
                  <a:gd name="connsiteY44" fmla="*/ 6804 h 10000"/>
                  <a:gd name="connsiteX45" fmla="*/ 6389 w 10000"/>
                  <a:gd name="connsiteY45" fmla="*/ 6697 h 10000"/>
                  <a:gd name="connsiteX46" fmla="*/ 6524 w 10000"/>
                  <a:gd name="connsiteY46" fmla="*/ 6653 h 10000"/>
                  <a:gd name="connsiteX47" fmla="*/ 6531 w 10000"/>
                  <a:gd name="connsiteY47" fmla="*/ 6516 h 10000"/>
                  <a:gd name="connsiteX48" fmla="*/ 6424 w 10000"/>
                  <a:gd name="connsiteY48" fmla="*/ 6205 h 10000"/>
                  <a:gd name="connsiteX49" fmla="*/ 6602 w 10000"/>
                  <a:gd name="connsiteY49" fmla="*/ 6213 h 10000"/>
                  <a:gd name="connsiteX50" fmla="*/ 6707 w 10000"/>
                  <a:gd name="connsiteY50" fmla="*/ 6095 h 10000"/>
                  <a:gd name="connsiteX51" fmla="*/ 6876 w 10000"/>
                  <a:gd name="connsiteY51" fmla="*/ 6096 h 10000"/>
                  <a:gd name="connsiteX52" fmla="*/ 6827 w 10000"/>
                  <a:gd name="connsiteY52" fmla="*/ 6821 h 10000"/>
                  <a:gd name="connsiteX53" fmla="*/ 6991 w 10000"/>
                  <a:gd name="connsiteY53" fmla="*/ 6903 h 10000"/>
                  <a:gd name="connsiteX54" fmla="*/ 7275 w 10000"/>
                  <a:gd name="connsiteY54" fmla="*/ 7114 h 10000"/>
                  <a:gd name="connsiteX55" fmla="*/ 7430 w 10000"/>
                  <a:gd name="connsiteY55" fmla="*/ 6789 h 10000"/>
                  <a:gd name="connsiteX56" fmla="*/ 7470 w 10000"/>
                  <a:gd name="connsiteY56" fmla="*/ 6822 h 10000"/>
                  <a:gd name="connsiteX57" fmla="*/ 7590 w 10000"/>
                  <a:gd name="connsiteY57" fmla="*/ 6622 h 10000"/>
                  <a:gd name="connsiteX58" fmla="*/ 7831 w 10000"/>
                  <a:gd name="connsiteY58" fmla="*/ 6522 h 10000"/>
                  <a:gd name="connsiteX59" fmla="*/ 7952 w 10000"/>
                  <a:gd name="connsiteY59" fmla="*/ 6153 h 10000"/>
                  <a:gd name="connsiteX60" fmla="*/ 8313 w 10000"/>
                  <a:gd name="connsiteY60" fmla="*/ 5719 h 10000"/>
                  <a:gd name="connsiteX61" fmla="*/ 8594 w 10000"/>
                  <a:gd name="connsiteY61" fmla="*/ 5518 h 10000"/>
                  <a:gd name="connsiteX62" fmla="*/ 8795 w 10000"/>
                  <a:gd name="connsiteY62" fmla="*/ 4950 h 10000"/>
                  <a:gd name="connsiteX63" fmla="*/ 8795 w 10000"/>
                  <a:gd name="connsiteY63" fmla="*/ 4816 h 10000"/>
                  <a:gd name="connsiteX64" fmla="*/ 8755 w 10000"/>
                  <a:gd name="connsiteY64" fmla="*/ 4482 h 10000"/>
                  <a:gd name="connsiteX65" fmla="*/ 9157 w 10000"/>
                  <a:gd name="connsiteY65" fmla="*/ 3277 h 10000"/>
                  <a:gd name="connsiteX66" fmla="*/ 9277 w 10000"/>
                  <a:gd name="connsiteY66" fmla="*/ 3277 h 10000"/>
                  <a:gd name="connsiteX67" fmla="*/ 9438 w 10000"/>
                  <a:gd name="connsiteY67" fmla="*/ 3178 h 10000"/>
                  <a:gd name="connsiteX68" fmla="*/ 9920 w 10000"/>
                  <a:gd name="connsiteY68" fmla="*/ 3010 h 10000"/>
                  <a:gd name="connsiteX69" fmla="*/ 10000 w 10000"/>
                  <a:gd name="connsiteY69" fmla="*/ 2742 h 10000"/>
                  <a:gd name="connsiteX70" fmla="*/ 9960 w 10000"/>
                  <a:gd name="connsiteY70" fmla="*/ 2675 h 10000"/>
                  <a:gd name="connsiteX71" fmla="*/ 9799 w 10000"/>
                  <a:gd name="connsiteY71" fmla="*/ 2675 h 10000"/>
                  <a:gd name="connsiteX72" fmla="*/ 9679 w 10000"/>
                  <a:gd name="connsiteY72" fmla="*/ 2509 h 10000"/>
                  <a:gd name="connsiteX73" fmla="*/ 9438 w 10000"/>
                  <a:gd name="connsiteY73" fmla="*/ 2442 h 10000"/>
                  <a:gd name="connsiteX74" fmla="*/ 9317 w 10000"/>
                  <a:gd name="connsiteY74" fmla="*/ 2308 h 10000"/>
                  <a:gd name="connsiteX75" fmla="*/ 9237 w 10000"/>
                  <a:gd name="connsiteY75" fmla="*/ 1806 h 10000"/>
                  <a:gd name="connsiteX76" fmla="*/ 9237 w 10000"/>
                  <a:gd name="connsiteY76" fmla="*/ 1103 h 10000"/>
                  <a:gd name="connsiteX77" fmla="*/ 9036 w 10000"/>
                  <a:gd name="connsiteY77" fmla="*/ 870 h 10000"/>
                  <a:gd name="connsiteX78" fmla="*/ 8996 w 10000"/>
                  <a:gd name="connsiteY78" fmla="*/ 636 h 10000"/>
                  <a:gd name="connsiteX79" fmla="*/ 8675 w 10000"/>
                  <a:gd name="connsiteY79" fmla="*/ 301 h 10000"/>
                  <a:gd name="connsiteX80" fmla="*/ 8394 w 10000"/>
                  <a:gd name="connsiteY80" fmla="*/ 168 h 10000"/>
                  <a:gd name="connsiteX81" fmla="*/ 8233 w 10000"/>
                  <a:gd name="connsiteY81" fmla="*/ 0 h 10000"/>
                  <a:gd name="connsiteX82" fmla="*/ 7992 w 10000"/>
                  <a:gd name="connsiteY82" fmla="*/ 168 h 10000"/>
                  <a:gd name="connsiteX83" fmla="*/ 7831 w 10000"/>
                  <a:gd name="connsiteY83" fmla="*/ 134 h 10000"/>
                  <a:gd name="connsiteX84" fmla="*/ 7711 w 10000"/>
                  <a:gd name="connsiteY84" fmla="*/ 434 h 10000"/>
                  <a:gd name="connsiteX85" fmla="*/ 7390 w 10000"/>
                  <a:gd name="connsiteY85" fmla="*/ 502 h 10000"/>
                  <a:gd name="connsiteX86" fmla="*/ 7309 w 10000"/>
                  <a:gd name="connsiteY86" fmla="*/ 735 h 10000"/>
                  <a:gd name="connsiteX87" fmla="*/ 7028 w 10000"/>
                  <a:gd name="connsiteY87" fmla="*/ 735 h 10000"/>
                  <a:gd name="connsiteX88" fmla="*/ 6787 w 10000"/>
                  <a:gd name="connsiteY88" fmla="*/ 636 h 10000"/>
                  <a:gd name="connsiteX89" fmla="*/ 6265 w 10000"/>
                  <a:gd name="connsiteY89" fmla="*/ 636 h 10000"/>
                  <a:gd name="connsiteX90" fmla="*/ 5743 w 10000"/>
                  <a:gd name="connsiteY90" fmla="*/ 636 h 10000"/>
                  <a:gd name="connsiteX91" fmla="*/ 5783 w 10000"/>
                  <a:gd name="connsiteY91" fmla="*/ 502 h 10000"/>
                  <a:gd name="connsiteX92" fmla="*/ 5703 w 10000"/>
                  <a:gd name="connsiteY92" fmla="*/ 502 h 10000"/>
                  <a:gd name="connsiteX93" fmla="*/ 5663 w 10000"/>
                  <a:gd name="connsiteY93" fmla="*/ 636 h 10000"/>
                  <a:gd name="connsiteX94" fmla="*/ 5181 w 10000"/>
                  <a:gd name="connsiteY94" fmla="*/ 636 h 10000"/>
                  <a:gd name="connsiteX95" fmla="*/ 4699 w 10000"/>
                  <a:gd name="connsiteY95" fmla="*/ 636 h 10000"/>
                  <a:gd name="connsiteX96" fmla="*/ 4217 w 10000"/>
                  <a:gd name="connsiteY96" fmla="*/ 636 h 10000"/>
                  <a:gd name="connsiteX97" fmla="*/ 3735 w 10000"/>
                  <a:gd name="connsiteY97" fmla="*/ 636 h 10000"/>
                  <a:gd name="connsiteX98" fmla="*/ 3293 w 10000"/>
                  <a:gd name="connsiteY98" fmla="*/ 636 h 10000"/>
                  <a:gd name="connsiteX99" fmla="*/ 2811 w 10000"/>
                  <a:gd name="connsiteY99" fmla="*/ 636 h 10000"/>
                  <a:gd name="connsiteX100" fmla="*/ 2369 w 10000"/>
                  <a:gd name="connsiteY100" fmla="*/ 636 h 10000"/>
                  <a:gd name="connsiteX101" fmla="*/ 1888 w 10000"/>
                  <a:gd name="connsiteY101" fmla="*/ 636 h 10000"/>
                  <a:gd name="connsiteX102" fmla="*/ 1888 w 10000"/>
                  <a:gd name="connsiteY102" fmla="*/ 1103 h 10000"/>
                  <a:gd name="connsiteX103" fmla="*/ 1888 w 10000"/>
                  <a:gd name="connsiteY103" fmla="*/ 1706 h 10000"/>
                  <a:gd name="connsiteX104" fmla="*/ 1285 w 10000"/>
                  <a:gd name="connsiteY104" fmla="*/ 1706 h 10000"/>
                  <a:gd name="connsiteX105" fmla="*/ 1285 w 10000"/>
                  <a:gd name="connsiteY105" fmla="*/ 1973 h 10000"/>
                  <a:gd name="connsiteX0" fmla="*/ 1285 w 10000"/>
                  <a:gd name="connsiteY0" fmla="*/ 1973 h 9900"/>
                  <a:gd name="connsiteX1" fmla="*/ 1285 w 10000"/>
                  <a:gd name="connsiteY1" fmla="*/ 2509 h 9900"/>
                  <a:gd name="connsiteX2" fmla="*/ 1285 w 10000"/>
                  <a:gd name="connsiteY2" fmla="*/ 3010 h 9900"/>
                  <a:gd name="connsiteX3" fmla="*/ 1285 w 10000"/>
                  <a:gd name="connsiteY3" fmla="*/ 3512 h 9900"/>
                  <a:gd name="connsiteX4" fmla="*/ 1285 w 10000"/>
                  <a:gd name="connsiteY4" fmla="*/ 3979 h 9900"/>
                  <a:gd name="connsiteX5" fmla="*/ 643 w 10000"/>
                  <a:gd name="connsiteY5" fmla="*/ 4081 h 9900"/>
                  <a:gd name="connsiteX6" fmla="*/ 522 w 10000"/>
                  <a:gd name="connsiteY6" fmla="*/ 4347 h 9900"/>
                  <a:gd name="connsiteX7" fmla="*/ 241 w 10000"/>
                  <a:gd name="connsiteY7" fmla="*/ 4682 h 9900"/>
                  <a:gd name="connsiteX8" fmla="*/ 241 w 10000"/>
                  <a:gd name="connsiteY8" fmla="*/ 4950 h 9900"/>
                  <a:gd name="connsiteX9" fmla="*/ 120 w 10000"/>
                  <a:gd name="connsiteY9" fmla="*/ 5016 h 9900"/>
                  <a:gd name="connsiteX10" fmla="*/ 120 w 10000"/>
                  <a:gd name="connsiteY10" fmla="*/ 5250 h 9900"/>
                  <a:gd name="connsiteX11" fmla="*/ 0 w 10000"/>
                  <a:gd name="connsiteY11" fmla="*/ 5452 h 9900"/>
                  <a:gd name="connsiteX12" fmla="*/ 0 w 10000"/>
                  <a:gd name="connsiteY12" fmla="*/ 5618 h 9900"/>
                  <a:gd name="connsiteX13" fmla="*/ 241 w 10000"/>
                  <a:gd name="connsiteY13" fmla="*/ 5585 h 9900"/>
                  <a:gd name="connsiteX14" fmla="*/ 281 w 10000"/>
                  <a:gd name="connsiteY14" fmla="*/ 5886 h 9900"/>
                  <a:gd name="connsiteX15" fmla="*/ 602 w 10000"/>
                  <a:gd name="connsiteY15" fmla="*/ 6422 h 9900"/>
                  <a:gd name="connsiteX16" fmla="*/ 602 w 10000"/>
                  <a:gd name="connsiteY16" fmla="*/ 6455 h 9900"/>
                  <a:gd name="connsiteX17" fmla="*/ 482 w 10000"/>
                  <a:gd name="connsiteY17" fmla="*/ 6488 h 9900"/>
                  <a:gd name="connsiteX18" fmla="*/ 964 w 10000"/>
                  <a:gd name="connsiteY18" fmla="*/ 7023 h 9900"/>
                  <a:gd name="connsiteX19" fmla="*/ 1004 w 10000"/>
                  <a:gd name="connsiteY19" fmla="*/ 7190 h 9900"/>
                  <a:gd name="connsiteX20" fmla="*/ 964 w 10000"/>
                  <a:gd name="connsiteY20" fmla="*/ 7659 h 9900"/>
                  <a:gd name="connsiteX21" fmla="*/ 1044 w 10000"/>
                  <a:gd name="connsiteY21" fmla="*/ 7726 h 9900"/>
                  <a:gd name="connsiteX22" fmla="*/ 1365 w 10000"/>
                  <a:gd name="connsiteY22" fmla="*/ 7759 h 9900"/>
                  <a:gd name="connsiteX23" fmla="*/ 1406 w 10000"/>
                  <a:gd name="connsiteY23" fmla="*/ 7892 h 9900"/>
                  <a:gd name="connsiteX24" fmla="*/ 1767 w 10000"/>
                  <a:gd name="connsiteY24" fmla="*/ 7926 h 9900"/>
                  <a:gd name="connsiteX25" fmla="*/ 1968 w 10000"/>
                  <a:gd name="connsiteY25" fmla="*/ 8060 h 9900"/>
                  <a:gd name="connsiteX26" fmla="*/ 2008 w 10000"/>
                  <a:gd name="connsiteY26" fmla="*/ 8294 h 9900"/>
                  <a:gd name="connsiteX27" fmla="*/ 2651 w 10000"/>
                  <a:gd name="connsiteY27" fmla="*/ 8696 h 9900"/>
                  <a:gd name="connsiteX28" fmla="*/ 2811 w 10000"/>
                  <a:gd name="connsiteY28" fmla="*/ 9097 h 9900"/>
                  <a:gd name="connsiteX29" fmla="*/ 3253 w 10000"/>
                  <a:gd name="connsiteY29" fmla="*/ 9298 h 9900"/>
                  <a:gd name="connsiteX30" fmla="*/ 3414 w 10000"/>
                  <a:gd name="connsiteY30" fmla="*/ 9566 h 9900"/>
                  <a:gd name="connsiteX31" fmla="*/ 3735 w 10000"/>
                  <a:gd name="connsiteY31" fmla="*/ 9900 h 9900"/>
                  <a:gd name="connsiteX32" fmla="*/ 3795 w 10000"/>
                  <a:gd name="connsiteY32" fmla="*/ 7514 h 9900"/>
                  <a:gd name="connsiteX33" fmla="*/ 4153 w 10000"/>
                  <a:gd name="connsiteY33" fmla="*/ 7579 h 9900"/>
                  <a:gd name="connsiteX34" fmla="*/ 4406 w 10000"/>
                  <a:gd name="connsiteY34" fmla="*/ 7531 h 9900"/>
                  <a:gd name="connsiteX35" fmla="*/ 4600 w 10000"/>
                  <a:gd name="connsiteY35" fmla="*/ 7408 h 9900"/>
                  <a:gd name="connsiteX36" fmla="*/ 4762 w 10000"/>
                  <a:gd name="connsiteY36" fmla="*/ 7182 h 9900"/>
                  <a:gd name="connsiteX37" fmla="*/ 4901 w 10000"/>
                  <a:gd name="connsiteY37" fmla="*/ 7044 h 9900"/>
                  <a:gd name="connsiteX38" fmla="*/ 5080 w 10000"/>
                  <a:gd name="connsiteY38" fmla="*/ 7143 h 9900"/>
                  <a:gd name="connsiteX39" fmla="*/ 5337 w 10000"/>
                  <a:gd name="connsiteY39" fmla="*/ 7242 h 9900"/>
                  <a:gd name="connsiteX40" fmla="*/ 5564 w 10000"/>
                  <a:gd name="connsiteY40" fmla="*/ 7370 h 9900"/>
                  <a:gd name="connsiteX41" fmla="*/ 5768 w 10000"/>
                  <a:gd name="connsiteY41" fmla="*/ 7287 h 9900"/>
                  <a:gd name="connsiteX42" fmla="*/ 5933 w 10000"/>
                  <a:gd name="connsiteY42" fmla="*/ 7209 h 9900"/>
                  <a:gd name="connsiteX43" fmla="*/ 6089 w 10000"/>
                  <a:gd name="connsiteY43" fmla="*/ 7038 h 9900"/>
                  <a:gd name="connsiteX44" fmla="*/ 6274 w 10000"/>
                  <a:gd name="connsiteY44" fmla="*/ 6804 h 9900"/>
                  <a:gd name="connsiteX45" fmla="*/ 6389 w 10000"/>
                  <a:gd name="connsiteY45" fmla="*/ 6697 h 9900"/>
                  <a:gd name="connsiteX46" fmla="*/ 6524 w 10000"/>
                  <a:gd name="connsiteY46" fmla="*/ 6653 h 9900"/>
                  <a:gd name="connsiteX47" fmla="*/ 6531 w 10000"/>
                  <a:gd name="connsiteY47" fmla="*/ 6516 h 9900"/>
                  <a:gd name="connsiteX48" fmla="*/ 6424 w 10000"/>
                  <a:gd name="connsiteY48" fmla="*/ 6205 h 9900"/>
                  <a:gd name="connsiteX49" fmla="*/ 6602 w 10000"/>
                  <a:gd name="connsiteY49" fmla="*/ 6213 h 9900"/>
                  <a:gd name="connsiteX50" fmla="*/ 6707 w 10000"/>
                  <a:gd name="connsiteY50" fmla="*/ 6095 h 9900"/>
                  <a:gd name="connsiteX51" fmla="*/ 6876 w 10000"/>
                  <a:gd name="connsiteY51" fmla="*/ 6096 h 9900"/>
                  <a:gd name="connsiteX52" fmla="*/ 6827 w 10000"/>
                  <a:gd name="connsiteY52" fmla="*/ 6821 h 9900"/>
                  <a:gd name="connsiteX53" fmla="*/ 6991 w 10000"/>
                  <a:gd name="connsiteY53" fmla="*/ 6903 h 9900"/>
                  <a:gd name="connsiteX54" fmla="*/ 7275 w 10000"/>
                  <a:gd name="connsiteY54" fmla="*/ 7114 h 9900"/>
                  <a:gd name="connsiteX55" fmla="*/ 7430 w 10000"/>
                  <a:gd name="connsiteY55" fmla="*/ 6789 h 9900"/>
                  <a:gd name="connsiteX56" fmla="*/ 7470 w 10000"/>
                  <a:gd name="connsiteY56" fmla="*/ 6822 h 9900"/>
                  <a:gd name="connsiteX57" fmla="*/ 7590 w 10000"/>
                  <a:gd name="connsiteY57" fmla="*/ 6622 h 9900"/>
                  <a:gd name="connsiteX58" fmla="*/ 7831 w 10000"/>
                  <a:gd name="connsiteY58" fmla="*/ 6522 h 9900"/>
                  <a:gd name="connsiteX59" fmla="*/ 7952 w 10000"/>
                  <a:gd name="connsiteY59" fmla="*/ 6153 h 9900"/>
                  <a:gd name="connsiteX60" fmla="*/ 8313 w 10000"/>
                  <a:gd name="connsiteY60" fmla="*/ 5719 h 9900"/>
                  <a:gd name="connsiteX61" fmla="*/ 8594 w 10000"/>
                  <a:gd name="connsiteY61" fmla="*/ 5518 h 9900"/>
                  <a:gd name="connsiteX62" fmla="*/ 8795 w 10000"/>
                  <a:gd name="connsiteY62" fmla="*/ 4950 h 9900"/>
                  <a:gd name="connsiteX63" fmla="*/ 8795 w 10000"/>
                  <a:gd name="connsiteY63" fmla="*/ 4816 h 9900"/>
                  <a:gd name="connsiteX64" fmla="*/ 8755 w 10000"/>
                  <a:gd name="connsiteY64" fmla="*/ 4482 h 9900"/>
                  <a:gd name="connsiteX65" fmla="*/ 9157 w 10000"/>
                  <a:gd name="connsiteY65" fmla="*/ 3277 h 9900"/>
                  <a:gd name="connsiteX66" fmla="*/ 9277 w 10000"/>
                  <a:gd name="connsiteY66" fmla="*/ 3277 h 9900"/>
                  <a:gd name="connsiteX67" fmla="*/ 9438 w 10000"/>
                  <a:gd name="connsiteY67" fmla="*/ 3178 h 9900"/>
                  <a:gd name="connsiteX68" fmla="*/ 9920 w 10000"/>
                  <a:gd name="connsiteY68" fmla="*/ 3010 h 9900"/>
                  <a:gd name="connsiteX69" fmla="*/ 10000 w 10000"/>
                  <a:gd name="connsiteY69" fmla="*/ 2742 h 9900"/>
                  <a:gd name="connsiteX70" fmla="*/ 9960 w 10000"/>
                  <a:gd name="connsiteY70" fmla="*/ 2675 h 9900"/>
                  <a:gd name="connsiteX71" fmla="*/ 9799 w 10000"/>
                  <a:gd name="connsiteY71" fmla="*/ 2675 h 9900"/>
                  <a:gd name="connsiteX72" fmla="*/ 9679 w 10000"/>
                  <a:gd name="connsiteY72" fmla="*/ 2509 h 9900"/>
                  <a:gd name="connsiteX73" fmla="*/ 9438 w 10000"/>
                  <a:gd name="connsiteY73" fmla="*/ 2442 h 9900"/>
                  <a:gd name="connsiteX74" fmla="*/ 9317 w 10000"/>
                  <a:gd name="connsiteY74" fmla="*/ 2308 h 9900"/>
                  <a:gd name="connsiteX75" fmla="*/ 9237 w 10000"/>
                  <a:gd name="connsiteY75" fmla="*/ 1806 h 9900"/>
                  <a:gd name="connsiteX76" fmla="*/ 9237 w 10000"/>
                  <a:gd name="connsiteY76" fmla="*/ 1103 h 9900"/>
                  <a:gd name="connsiteX77" fmla="*/ 9036 w 10000"/>
                  <a:gd name="connsiteY77" fmla="*/ 870 h 9900"/>
                  <a:gd name="connsiteX78" fmla="*/ 8996 w 10000"/>
                  <a:gd name="connsiteY78" fmla="*/ 636 h 9900"/>
                  <a:gd name="connsiteX79" fmla="*/ 8675 w 10000"/>
                  <a:gd name="connsiteY79" fmla="*/ 301 h 9900"/>
                  <a:gd name="connsiteX80" fmla="*/ 8394 w 10000"/>
                  <a:gd name="connsiteY80" fmla="*/ 168 h 9900"/>
                  <a:gd name="connsiteX81" fmla="*/ 8233 w 10000"/>
                  <a:gd name="connsiteY81" fmla="*/ 0 h 9900"/>
                  <a:gd name="connsiteX82" fmla="*/ 7992 w 10000"/>
                  <a:gd name="connsiteY82" fmla="*/ 168 h 9900"/>
                  <a:gd name="connsiteX83" fmla="*/ 7831 w 10000"/>
                  <a:gd name="connsiteY83" fmla="*/ 134 h 9900"/>
                  <a:gd name="connsiteX84" fmla="*/ 7711 w 10000"/>
                  <a:gd name="connsiteY84" fmla="*/ 434 h 9900"/>
                  <a:gd name="connsiteX85" fmla="*/ 7390 w 10000"/>
                  <a:gd name="connsiteY85" fmla="*/ 502 h 9900"/>
                  <a:gd name="connsiteX86" fmla="*/ 7309 w 10000"/>
                  <a:gd name="connsiteY86" fmla="*/ 735 h 9900"/>
                  <a:gd name="connsiteX87" fmla="*/ 7028 w 10000"/>
                  <a:gd name="connsiteY87" fmla="*/ 735 h 9900"/>
                  <a:gd name="connsiteX88" fmla="*/ 6787 w 10000"/>
                  <a:gd name="connsiteY88" fmla="*/ 636 h 9900"/>
                  <a:gd name="connsiteX89" fmla="*/ 6265 w 10000"/>
                  <a:gd name="connsiteY89" fmla="*/ 636 h 9900"/>
                  <a:gd name="connsiteX90" fmla="*/ 5743 w 10000"/>
                  <a:gd name="connsiteY90" fmla="*/ 636 h 9900"/>
                  <a:gd name="connsiteX91" fmla="*/ 5783 w 10000"/>
                  <a:gd name="connsiteY91" fmla="*/ 502 h 9900"/>
                  <a:gd name="connsiteX92" fmla="*/ 5703 w 10000"/>
                  <a:gd name="connsiteY92" fmla="*/ 502 h 9900"/>
                  <a:gd name="connsiteX93" fmla="*/ 5663 w 10000"/>
                  <a:gd name="connsiteY93" fmla="*/ 636 h 9900"/>
                  <a:gd name="connsiteX94" fmla="*/ 5181 w 10000"/>
                  <a:gd name="connsiteY94" fmla="*/ 636 h 9900"/>
                  <a:gd name="connsiteX95" fmla="*/ 4699 w 10000"/>
                  <a:gd name="connsiteY95" fmla="*/ 636 h 9900"/>
                  <a:gd name="connsiteX96" fmla="*/ 4217 w 10000"/>
                  <a:gd name="connsiteY96" fmla="*/ 636 h 9900"/>
                  <a:gd name="connsiteX97" fmla="*/ 3735 w 10000"/>
                  <a:gd name="connsiteY97" fmla="*/ 636 h 9900"/>
                  <a:gd name="connsiteX98" fmla="*/ 3293 w 10000"/>
                  <a:gd name="connsiteY98" fmla="*/ 636 h 9900"/>
                  <a:gd name="connsiteX99" fmla="*/ 2811 w 10000"/>
                  <a:gd name="connsiteY99" fmla="*/ 636 h 9900"/>
                  <a:gd name="connsiteX100" fmla="*/ 2369 w 10000"/>
                  <a:gd name="connsiteY100" fmla="*/ 636 h 9900"/>
                  <a:gd name="connsiteX101" fmla="*/ 1888 w 10000"/>
                  <a:gd name="connsiteY101" fmla="*/ 636 h 9900"/>
                  <a:gd name="connsiteX102" fmla="*/ 1888 w 10000"/>
                  <a:gd name="connsiteY102" fmla="*/ 1103 h 9900"/>
                  <a:gd name="connsiteX103" fmla="*/ 1888 w 10000"/>
                  <a:gd name="connsiteY103" fmla="*/ 1706 h 9900"/>
                  <a:gd name="connsiteX104" fmla="*/ 1285 w 10000"/>
                  <a:gd name="connsiteY104" fmla="*/ 1706 h 9900"/>
                  <a:gd name="connsiteX105" fmla="*/ 1285 w 10000"/>
                  <a:gd name="connsiteY105" fmla="*/ 1973 h 9900"/>
                  <a:gd name="connsiteX0" fmla="*/ 1285 w 10000"/>
                  <a:gd name="connsiteY0" fmla="*/ 1993 h 9663"/>
                  <a:gd name="connsiteX1" fmla="*/ 1285 w 10000"/>
                  <a:gd name="connsiteY1" fmla="*/ 2534 h 9663"/>
                  <a:gd name="connsiteX2" fmla="*/ 1285 w 10000"/>
                  <a:gd name="connsiteY2" fmla="*/ 3040 h 9663"/>
                  <a:gd name="connsiteX3" fmla="*/ 1285 w 10000"/>
                  <a:gd name="connsiteY3" fmla="*/ 3547 h 9663"/>
                  <a:gd name="connsiteX4" fmla="*/ 1285 w 10000"/>
                  <a:gd name="connsiteY4" fmla="*/ 4019 h 9663"/>
                  <a:gd name="connsiteX5" fmla="*/ 643 w 10000"/>
                  <a:gd name="connsiteY5" fmla="*/ 4122 h 9663"/>
                  <a:gd name="connsiteX6" fmla="*/ 522 w 10000"/>
                  <a:gd name="connsiteY6" fmla="*/ 4391 h 9663"/>
                  <a:gd name="connsiteX7" fmla="*/ 241 w 10000"/>
                  <a:gd name="connsiteY7" fmla="*/ 4729 h 9663"/>
                  <a:gd name="connsiteX8" fmla="*/ 241 w 10000"/>
                  <a:gd name="connsiteY8" fmla="*/ 5000 h 9663"/>
                  <a:gd name="connsiteX9" fmla="*/ 120 w 10000"/>
                  <a:gd name="connsiteY9" fmla="*/ 5067 h 9663"/>
                  <a:gd name="connsiteX10" fmla="*/ 120 w 10000"/>
                  <a:gd name="connsiteY10" fmla="*/ 5303 h 9663"/>
                  <a:gd name="connsiteX11" fmla="*/ 0 w 10000"/>
                  <a:gd name="connsiteY11" fmla="*/ 5507 h 9663"/>
                  <a:gd name="connsiteX12" fmla="*/ 0 w 10000"/>
                  <a:gd name="connsiteY12" fmla="*/ 5675 h 9663"/>
                  <a:gd name="connsiteX13" fmla="*/ 241 w 10000"/>
                  <a:gd name="connsiteY13" fmla="*/ 5641 h 9663"/>
                  <a:gd name="connsiteX14" fmla="*/ 281 w 10000"/>
                  <a:gd name="connsiteY14" fmla="*/ 5945 h 9663"/>
                  <a:gd name="connsiteX15" fmla="*/ 602 w 10000"/>
                  <a:gd name="connsiteY15" fmla="*/ 6487 h 9663"/>
                  <a:gd name="connsiteX16" fmla="*/ 602 w 10000"/>
                  <a:gd name="connsiteY16" fmla="*/ 6520 h 9663"/>
                  <a:gd name="connsiteX17" fmla="*/ 482 w 10000"/>
                  <a:gd name="connsiteY17" fmla="*/ 6554 h 9663"/>
                  <a:gd name="connsiteX18" fmla="*/ 964 w 10000"/>
                  <a:gd name="connsiteY18" fmla="*/ 7094 h 9663"/>
                  <a:gd name="connsiteX19" fmla="*/ 1004 w 10000"/>
                  <a:gd name="connsiteY19" fmla="*/ 7263 h 9663"/>
                  <a:gd name="connsiteX20" fmla="*/ 964 w 10000"/>
                  <a:gd name="connsiteY20" fmla="*/ 7736 h 9663"/>
                  <a:gd name="connsiteX21" fmla="*/ 1044 w 10000"/>
                  <a:gd name="connsiteY21" fmla="*/ 7804 h 9663"/>
                  <a:gd name="connsiteX22" fmla="*/ 1365 w 10000"/>
                  <a:gd name="connsiteY22" fmla="*/ 7837 h 9663"/>
                  <a:gd name="connsiteX23" fmla="*/ 1406 w 10000"/>
                  <a:gd name="connsiteY23" fmla="*/ 7972 h 9663"/>
                  <a:gd name="connsiteX24" fmla="*/ 1767 w 10000"/>
                  <a:gd name="connsiteY24" fmla="*/ 8006 h 9663"/>
                  <a:gd name="connsiteX25" fmla="*/ 1968 w 10000"/>
                  <a:gd name="connsiteY25" fmla="*/ 8141 h 9663"/>
                  <a:gd name="connsiteX26" fmla="*/ 2008 w 10000"/>
                  <a:gd name="connsiteY26" fmla="*/ 8378 h 9663"/>
                  <a:gd name="connsiteX27" fmla="*/ 2651 w 10000"/>
                  <a:gd name="connsiteY27" fmla="*/ 8784 h 9663"/>
                  <a:gd name="connsiteX28" fmla="*/ 2811 w 10000"/>
                  <a:gd name="connsiteY28" fmla="*/ 9189 h 9663"/>
                  <a:gd name="connsiteX29" fmla="*/ 3253 w 10000"/>
                  <a:gd name="connsiteY29" fmla="*/ 9392 h 9663"/>
                  <a:gd name="connsiteX30" fmla="*/ 3414 w 10000"/>
                  <a:gd name="connsiteY30" fmla="*/ 9663 h 9663"/>
                  <a:gd name="connsiteX31" fmla="*/ 3537 w 10000"/>
                  <a:gd name="connsiteY31" fmla="*/ 7420 h 9663"/>
                  <a:gd name="connsiteX32" fmla="*/ 3795 w 10000"/>
                  <a:gd name="connsiteY32" fmla="*/ 7590 h 9663"/>
                  <a:gd name="connsiteX33" fmla="*/ 4153 w 10000"/>
                  <a:gd name="connsiteY33" fmla="*/ 7656 h 9663"/>
                  <a:gd name="connsiteX34" fmla="*/ 4406 w 10000"/>
                  <a:gd name="connsiteY34" fmla="*/ 7607 h 9663"/>
                  <a:gd name="connsiteX35" fmla="*/ 4600 w 10000"/>
                  <a:gd name="connsiteY35" fmla="*/ 7483 h 9663"/>
                  <a:gd name="connsiteX36" fmla="*/ 4762 w 10000"/>
                  <a:gd name="connsiteY36" fmla="*/ 7255 h 9663"/>
                  <a:gd name="connsiteX37" fmla="*/ 4901 w 10000"/>
                  <a:gd name="connsiteY37" fmla="*/ 7115 h 9663"/>
                  <a:gd name="connsiteX38" fmla="*/ 5080 w 10000"/>
                  <a:gd name="connsiteY38" fmla="*/ 7215 h 9663"/>
                  <a:gd name="connsiteX39" fmla="*/ 5337 w 10000"/>
                  <a:gd name="connsiteY39" fmla="*/ 7315 h 9663"/>
                  <a:gd name="connsiteX40" fmla="*/ 5564 w 10000"/>
                  <a:gd name="connsiteY40" fmla="*/ 7444 h 9663"/>
                  <a:gd name="connsiteX41" fmla="*/ 5768 w 10000"/>
                  <a:gd name="connsiteY41" fmla="*/ 7361 h 9663"/>
                  <a:gd name="connsiteX42" fmla="*/ 5933 w 10000"/>
                  <a:gd name="connsiteY42" fmla="*/ 7282 h 9663"/>
                  <a:gd name="connsiteX43" fmla="*/ 6089 w 10000"/>
                  <a:gd name="connsiteY43" fmla="*/ 7109 h 9663"/>
                  <a:gd name="connsiteX44" fmla="*/ 6274 w 10000"/>
                  <a:gd name="connsiteY44" fmla="*/ 6873 h 9663"/>
                  <a:gd name="connsiteX45" fmla="*/ 6389 w 10000"/>
                  <a:gd name="connsiteY45" fmla="*/ 6765 h 9663"/>
                  <a:gd name="connsiteX46" fmla="*/ 6524 w 10000"/>
                  <a:gd name="connsiteY46" fmla="*/ 6720 h 9663"/>
                  <a:gd name="connsiteX47" fmla="*/ 6531 w 10000"/>
                  <a:gd name="connsiteY47" fmla="*/ 6582 h 9663"/>
                  <a:gd name="connsiteX48" fmla="*/ 6424 w 10000"/>
                  <a:gd name="connsiteY48" fmla="*/ 6268 h 9663"/>
                  <a:gd name="connsiteX49" fmla="*/ 6602 w 10000"/>
                  <a:gd name="connsiteY49" fmla="*/ 6276 h 9663"/>
                  <a:gd name="connsiteX50" fmla="*/ 6707 w 10000"/>
                  <a:gd name="connsiteY50" fmla="*/ 6157 h 9663"/>
                  <a:gd name="connsiteX51" fmla="*/ 6876 w 10000"/>
                  <a:gd name="connsiteY51" fmla="*/ 6158 h 9663"/>
                  <a:gd name="connsiteX52" fmla="*/ 6827 w 10000"/>
                  <a:gd name="connsiteY52" fmla="*/ 6890 h 9663"/>
                  <a:gd name="connsiteX53" fmla="*/ 6991 w 10000"/>
                  <a:gd name="connsiteY53" fmla="*/ 6973 h 9663"/>
                  <a:gd name="connsiteX54" fmla="*/ 7275 w 10000"/>
                  <a:gd name="connsiteY54" fmla="*/ 7186 h 9663"/>
                  <a:gd name="connsiteX55" fmla="*/ 7430 w 10000"/>
                  <a:gd name="connsiteY55" fmla="*/ 6858 h 9663"/>
                  <a:gd name="connsiteX56" fmla="*/ 7470 w 10000"/>
                  <a:gd name="connsiteY56" fmla="*/ 6891 h 9663"/>
                  <a:gd name="connsiteX57" fmla="*/ 7590 w 10000"/>
                  <a:gd name="connsiteY57" fmla="*/ 6689 h 9663"/>
                  <a:gd name="connsiteX58" fmla="*/ 7831 w 10000"/>
                  <a:gd name="connsiteY58" fmla="*/ 6588 h 9663"/>
                  <a:gd name="connsiteX59" fmla="*/ 7952 w 10000"/>
                  <a:gd name="connsiteY59" fmla="*/ 6215 h 9663"/>
                  <a:gd name="connsiteX60" fmla="*/ 8313 w 10000"/>
                  <a:gd name="connsiteY60" fmla="*/ 5777 h 9663"/>
                  <a:gd name="connsiteX61" fmla="*/ 8594 w 10000"/>
                  <a:gd name="connsiteY61" fmla="*/ 5574 h 9663"/>
                  <a:gd name="connsiteX62" fmla="*/ 8795 w 10000"/>
                  <a:gd name="connsiteY62" fmla="*/ 5000 h 9663"/>
                  <a:gd name="connsiteX63" fmla="*/ 8795 w 10000"/>
                  <a:gd name="connsiteY63" fmla="*/ 4865 h 9663"/>
                  <a:gd name="connsiteX64" fmla="*/ 8755 w 10000"/>
                  <a:gd name="connsiteY64" fmla="*/ 4527 h 9663"/>
                  <a:gd name="connsiteX65" fmla="*/ 9157 w 10000"/>
                  <a:gd name="connsiteY65" fmla="*/ 3310 h 9663"/>
                  <a:gd name="connsiteX66" fmla="*/ 9277 w 10000"/>
                  <a:gd name="connsiteY66" fmla="*/ 3310 h 9663"/>
                  <a:gd name="connsiteX67" fmla="*/ 9438 w 10000"/>
                  <a:gd name="connsiteY67" fmla="*/ 3210 h 9663"/>
                  <a:gd name="connsiteX68" fmla="*/ 9920 w 10000"/>
                  <a:gd name="connsiteY68" fmla="*/ 3040 h 9663"/>
                  <a:gd name="connsiteX69" fmla="*/ 10000 w 10000"/>
                  <a:gd name="connsiteY69" fmla="*/ 2770 h 9663"/>
                  <a:gd name="connsiteX70" fmla="*/ 9960 w 10000"/>
                  <a:gd name="connsiteY70" fmla="*/ 2702 h 9663"/>
                  <a:gd name="connsiteX71" fmla="*/ 9799 w 10000"/>
                  <a:gd name="connsiteY71" fmla="*/ 2702 h 9663"/>
                  <a:gd name="connsiteX72" fmla="*/ 9679 w 10000"/>
                  <a:gd name="connsiteY72" fmla="*/ 2534 h 9663"/>
                  <a:gd name="connsiteX73" fmla="*/ 9438 w 10000"/>
                  <a:gd name="connsiteY73" fmla="*/ 2467 h 9663"/>
                  <a:gd name="connsiteX74" fmla="*/ 9317 w 10000"/>
                  <a:gd name="connsiteY74" fmla="*/ 2331 h 9663"/>
                  <a:gd name="connsiteX75" fmla="*/ 9237 w 10000"/>
                  <a:gd name="connsiteY75" fmla="*/ 1824 h 9663"/>
                  <a:gd name="connsiteX76" fmla="*/ 9237 w 10000"/>
                  <a:gd name="connsiteY76" fmla="*/ 1114 h 9663"/>
                  <a:gd name="connsiteX77" fmla="*/ 9036 w 10000"/>
                  <a:gd name="connsiteY77" fmla="*/ 879 h 9663"/>
                  <a:gd name="connsiteX78" fmla="*/ 8996 w 10000"/>
                  <a:gd name="connsiteY78" fmla="*/ 642 h 9663"/>
                  <a:gd name="connsiteX79" fmla="*/ 8675 w 10000"/>
                  <a:gd name="connsiteY79" fmla="*/ 304 h 9663"/>
                  <a:gd name="connsiteX80" fmla="*/ 8394 w 10000"/>
                  <a:gd name="connsiteY80" fmla="*/ 170 h 9663"/>
                  <a:gd name="connsiteX81" fmla="*/ 8233 w 10000"/>
                  <a:gd name="connsiteY81" fmla="*/ 0 h 9663"/>
                  <a:gd name="connsiteX82" fmla="*/ 7992 w 10000"/>
                  <a:gd name="connsiteY82" fmla="*/ 170 h 9663"/>
                  <a:gd name="connsiteX83" fmla="*/ 7831 w 10000"/>
                  <a:gd name="connsiteY83" fmla="*/ 135 h 9663"/>
                  <a:gd name="connsiteX84" fmla="*/ 7711 w 10000"/>
                  <a:gd name="connsiteY84" fmla="*/ 438 h 9663"/>
                  <a:gd name="connsiteX85" fmla="*/ 7390 w 10000"/>
                  <a:gd name="connsiteY85" fmla="*/ 507 h 9663"/>
                  <a:gd name="connsiteX86" fmla="*/ 7309 w 10000"/>
                  <a:gd name="connsiteY86" fmla="*/ 742 h 9663"/>
                  <a:gd name="connsiteX87" fmla="*/ 7028 w 10000"/>
                  <a:gd name="connsiteY87" fmla="*/ 742 h 9663"/>
                  <a:gd name="connsiteX88" fmla="*/ 6787 w 10000"/>
                  <a:gd name="connsiteY88" fmla="*/ 642 h 9663"/>
                  <a:gd name="connsiteX89" fmla="*/ 6265 w 10000"/>
                  <a:gd name="connsiteY89" fmla="*/ 642 h 9663"/>
                  <a:gd name="connsiteX90" fmla="*/ 5743 w 10000"/>
                  <a:gd name="connsiteY90" fmla="*/ 642 h 9663"/>
                  <a:gd name="connsiteX91" fmla="*/ 5783 w 10000"/>
                  <a:gd name="connsiteY91" fmla="*/ 507 h 9663"/>
                  <a:gd name="connsiteX92" fmla="*/ 5703 w 10000"/>
                  <a:gd name="connsiteY92" fmla="*/ 507 h 9663"/>
                  <a:gd name="connsiteX93" fmla="*/ 5663 w 10000"/>
                  <a:gd name="connsiteY93" fmla="*/ 642 h 9663"/>
                  <a:gd name="connsiteX94" fmla="*/ 5181 w 10000"/>
                  <a:gd name="connsiteY94" fmla="*/ 642 h 9663"/>
                  <a:gd name="connsiteX95" fmla="*/ 4699 w 10000"/>
                  <a:gd name="connsiteY95" fmla="*/ 642 h 9663"/>
                  <a:gd name="connsiteX96" fmla="*/ 4217 w 10000"/>
                  <a:gd name="connsiteY96" fmla="*/ 642 h 9663"/>
                  <a:gd name="connsiteX97" fmla="*/ 3735 w 10000"/>
                  <a:gd name="connsiteY97" fmla="*/ 642 h 9663"/>
                  <a:gd name="connsiteX98" fmla="*/ 3293 w 10000"/>
                  <a:gd name="connsiteY98" fmla="*/ 642 h 9663"/>
                  <a:gd name="connsiteX99" fmla="*/ 2811 w 10000"/>
                  <a:gd name="connsiteY99" fmla="*/ 642 h 9663"/>
                  <a:gd name="connsiteX100" fmla="*/ 2369 w 10000"/>
                  <a:gd name="connsiteY100" fmla="*/ 642 h 9663"/>
                  <a:gd name="connsiteX101" fmla="*/ 1888 w 10000"/>
                  <a:gd name="connsiteY101" fmla="*/ 642 h 9663"/>
                  <a:gd name="connsiteX102" fmla="*/ 1888 w 10000"/>
                  <a:gd name="connsiteY102" fmla="*/ 1114 h 9663"/>
                  <a:gd name="connsiteX103" fmla="*/ 1888 w 10000"/>
                  <a:gd name="connsiteY103" fmla="*/ 1723 h 9663"/>
                  <a:gd name="connsiteX104" fmla="*/ 1285 w 10000"/>
                  <a:gd name="connsiteY104" fmla="*/ 1723 h 9663"/>
                  <a:gd name="connsiteX105" fmla="*/ 1285 w 10000"/>
                  <a:gd name="connsiteY105" fmla="*/ 1993 h 9663"/>
                  <a:gd name="connsiteX0" fmla="*/ 1285 w 10000"/>
                  <a:gd name="connsiteY0" fmla="*/ 2063 h 9813"/>
                  <a:gd name="connsiteX1" fmla="*/ 1285 w 10000"/>
                  <a:gd name="connsiteY1" fmla="*/ 2622 h 9813"/>
                  <a:gd name="connsiteX2" fmla="*/ 1285 w 10000"/>
                  <a:gd name="connsiteY2" fmla="*/ 3146 h 9813"/>
                  <a:gd name="connsiteX3" fmla="*/ 1285 w 10000"/>
                  <a:gd name="connsiteY3" fmla="*/ 3671 h 9813"/>
                  <a:gd name="connsiteX4" fmla="*/ 1285 w 10000"/>
                  <a:gd name="connsiteY4" fmla="*/ 4159 h 9813"/>
                  <a:gd name="connsiteX5" fmla="*/ 643 w 10000"/>
                  <a:gd name="connsiteY5" fmla="*/ 4266 h 9813"/>
                  <a:gd name="connsiteX6" fmla="*/ 522 w 10000"/>
                  <a:gd name="connsiteY6" fmla="*/ 4544 h 9813"/>
                  <a:gd name="connsiteX7" fmla="*/ 241 w 10000"/>
                  <a:gd name="connsiteY7" fmla="*/ 4894 h 9813"/>
                  <a:gd name="connsiteX8" fmla="*/ 241 w 10000"/>
                  <a:gd name="connsiteY8" fmla="*/ 5174 h 9813"/>
                  <a:gd name="connsiteX9" fmla="*/ 120 w 10000"/>
                  <a:gd name="connsiteY9" fmla="*/ 5244 h 9813"/>
                  <a:gd name="connsiteX10" fmla="*/ 120 w 10000"/>
                  <a:gd name="connsiteY10" fmla="*/ 5488 h 9813"/>
                  <a:gd name="connsiteX11" fmla="*/ 0 w 10000"/>
                  <a:gd name="connsiteY11" fmla="*/ 5699 h 9813"/>
                  <a:gd name="connsiteX12" fmla="*/ 0 w 10000"/>
                  <a:gd name="connsiteY12" fmla="*/ 5873 h 9813"/>
                  <a:gd name="connsiteX13" fmla="*/ 241 w 10000"/>
                  <a:gd name="connsiteY13" fmla="*/ 5838 h 9813"/>
                  <a:gd name="connsiteX14" fmla="*/ 281 w 10000"/>
                  <a:gd name="connsiteY14" fmla="*/ 6152 h 9813"/>
                  <a:gd name="connsiteX15" fmla="*/ 602 w 10000"/>
                  <a:gd name="connsiteY15" fmla="*/ 6713 h 9813"/>
                  <a:gd name="connsiteX16" fmla="*/ 602 w 10000"/>
                  <a:gd name="connsiteY16" fmla="*/ 6747 h 9813"/>
                  <a:gd name="connsiteX17" fmla="*/ 482 w 10000"/>
                  <a:gd name="connsiteY17" fmla="*/ 6783 h 9813"/>
                  <a:gd name="connsiteX18" fmla="*/ 964 w 10000"/>
                  <a:gd name="connsiteY18" fmla="*/ 7341 h 9813"/>
                  <a:gd name="connsiteX19" fmla="*/ 1004 w 10000"/>
                  <a:gd name="connsiteY19" fmla="*/ 7516 h 9813"/>
                  <a:gd name="connsiteX20" fmla="*/ 964 w 10000"/>
                  <a:gd name="connsiteY20" fmla="*/ 8006 h 9813"/>
                  <a:gd name="connsiteX21" fmla="*/ 1044 w 10000"/>
                  <a:gd name="connsiteY21" fmla="*/ 8076 h 9813"/>
                  <a:gd name="connsiteX22" fmla="*/ 1365 w 10000"/>
                  <a:gd name="connsiteY22" fmla="*/ 8110 h 9813"/>
                  <a:gd name="connsiteX23" fmla="*/ 1406 w 10000"/>
                  <a:gd name="connsiteY23" fmla="*/ 8250 h 9813"/>
                  <a:gd name="connsiteX24" fmla="*/ 1767 w 10000"/>
                  <a:gd name="connsiteY24" fmla="*/ 8285 h 9813"/>
                  <a:gd name="connsiteX25" fmla="*/ 1968 w 10000"/>
                  <a:gd name="connsiteY25" fmla="*/ 8425 h 9813"/>
                  <a:gd name="connsiteX26" fmla="*/ 2008 w 10000"/>
                  <a:gd name="connsiteY26" fmla="*/ 8670 h 9813"/>
                  <a:gd name="connsiteX27" fmla="*/ 2651 w 10000"/>
                  <a:gd name="connsiteY27" fmla="*/ 9090 h 9813"/>
                  <a:gd name="connsiteX28" fmla="*/ 2811 w 10000"/>
                  <a:gd name="connsiteY28" fmla="*/ 9509 h 9813"/>
                  <a:gd name="connsiteX29" fmla="*/ 3253 w 10000"/>
                  <a:gd name="connsiteY29" fmla="*/ 9720 h 9813"/>
                  <a:gd name="connsiteX30" fmla="*/ 3167 w 10000"/>
                  <a:gd name="connsiteY30" fmla="*/ 7732 h 9813"/>
                  <a:gd name="connsiteX31" fmla="*/ 3537 w 10000"/>
                  <a:gd name="connsiteY31" fmla="*/ 7679 h 9813"/>
                  <a:gd name="connsiteX32" fmla="*/ 3795 w 10000"/>
                  <a:gd name="connsiteY32" fmla="*/ 7855 h 9813"/>
                  <a:gd name="connsiteX33" fmla="*/ 4153 w 10000"/>
                  <a:gd name="connsiteY33" fmla="*/ 7923 h 9813"/>
                  <a:gd name="connsiteX34" fmla="*/ 4406 w 10000"/>
                  <a:gd name="connsiteY34" fmla="*/ 7872 h 9813"/>
                  <a:gd name="connsiteX35" fmla="*/ 4600 w 10000"/>
                  <a:gd name="connsiteY35" fmla="*/ 7744 h 9813"/>
                  <a:gd name="connsiteX36" fmla="*/ 4762 w 10000"/>
                  <a:gd name="connsiteY36" fmla="*/ 7508 h 9813"/>
                  <a:gd name="connsiteX37" fmla="*/ 4901 w 10000"/>
                  <a:gd name="connsiteY37" fmla="*/ 7363 h 9813"/>
                  <a:gd name="connsiteX38" fmla="*/ 5080 w 10000"/>
                  <a:gd name="connsiteY38" fmla="*/ 7467 h 9813"/>
                  <a:gd name="connsiteX39" fmla="*/ 5337 w 10000"/>
                  <a:gd name="connsiteY39" fmla="*/ 7570 h 9813"/>
                  <a:gd name="connsiteX40" fmla="*/ 5564 w 10000"/>
                  <a:gd name="connsiteY40" fmla="*/ 7704 h 9813"/>
                  <a:gd name="connsiteX41" fmla="*/ 5768 w 10000"/>
                  <a:gd name="connsiteY41" fmla="*/ 7618 h 9813"/>
                  <a:gd name="connsiteX42" fmla="*/ 5933 w 10000"/>
                  <a:gd name="connsiteY42" fmla="*/ 7536 h 9813"/>
                  <a:gd name="connsiteX43" fmla="*/ 6089 w 10000"/>
                  <a:gd name="connsiteY43" fmla="*/ 7357 h 9813"/>
                  <a:gd name="connsiteX44" fmla="*/ 6274 w 10000"/>
                  <a:gd name="connsiteY44" fmla="*/ 7113 h 9813"/>
                  <a:gd name="connsiteX45" fmla="*/ 6389 w 10000"/>
                  <a:gd name="connsiteY45" fmla="*/ 7001 h 9813"/>
                  <a:gd name="connsiteX46" fmla="*/ 6524 w 10000"/>
                  <a:gd name="connsiteY46" fmla="*/ 6954 h 9813"/>
                  <a:gd name="connsiteX47" fmla="*/ 6531 w 10000"/>
                  <a:gd name="connsiteY47" fmla="*/ 6812 h 9813"/>
                  <a:gd name="connsiteX48" fmla="*/ 6424 w 10000"/>
                  <a:gd name="connsiteY48" fmla="*/ 6487 h 9813"/>
                  <a:gd name="connsiteX49" fmla="*/ 6602 w 10000"/>
                  <a:gd name="connsiteY49" fmla="*/ 6495 h 9813"/>
                  <a:gd name="connsiteX50" fmla="*/ 6707 w 10000"/>
                  <a:gd name="connsiteY50" fmla="*/ 6372 h 9813"/>
                  <a:gd name="connsiteX51" fmla="*/ 6876 w 10000"/>
                  <a:gd name="connsiteY51" fmla="*/ 6373 h 9813"/>
                  <a:gd name="connsiteX52" fmla="*/ 6827 w 10000"/>
                  <a:gd name="connsiteY52" fmla="*/ 7130 h 9813"/>
                  <a:gd name="connsiteX53" fmla="*/ 6991 w 10000"/>
                  <a:gd name="connsiteY53" fmla="*/ 7216 h 9813"/>
                  <a:gd name="connsiteX54" fmla="*/ 7275 w 10000"/>
                  <a:gd name="connsiteY54" fmla="*/ 7437 h 9813"/>
                  <a:gd name="connsiteX55" fmla="*/ 7430 w 10000"/>
                  <a:gd name="connsiteY55" fmla="*/ 7097 h 9813"/>
                  <a:gd name="connsiteX56" fmla="*/ 7470 w 10000"/>
                  <a:gd name="connsiteY56" fmla="*/ 7131 h 9813"/>
                  <a:gd name="connsiteX57" fmla="*/ 7590 w 10000"/>
                  <a:gd name="connsiteY57" fmla="*/ 6922 h 9813"/>
                  <a:gd name="connsiteX58" fmla="*/ 7831 w 10000"/>
                  <a:gd name="connsiteY58" fmla="*/ 6818 h 9813"/>
                  <a:gd name="connsiteX59" fmla="*/ 7952 w 10000"/>
                  <a:gd name="connsiteY59" fmla="*/ 6432 h 9813"/>
                  <a:gd name="connsiteX60" fmla="*/ 8313 w 10000"/>
                  <a:gd name="connsiteY60" fmla="*/ 5978 h 9813"/>
                  <a:gd name="connsiteX61" fmla="*/ 8594 w 10000"/>
                  <a:gd name="connsiteY61" fmla="*/ 5768 h 9813"/>
                  <a:gd name="connsiteX62" fmla="*/ 8795 w 10000"/>
                  <a:gd name="connsiteY62" fmla="*/ 5174 h 9813"/>
                  <a:gd name="connsiteX63" fmla="*/ 8795 w 10000"/>
                  <a:gd name="connsiteY63" fmla="*/ 5035 h 9813"/>
                  <a:gd name="connsiteX64" fmla="*/ 8755 w 10000"/>
                  <a:gd name="connsiteY64" fmla="*/ 4685 h 9813"/>
                  <a:gd name="connsiteX65" fmla="*/ 9157 w 10000"/>
                  <a:gd name="connsiteY65" fmla="*/ 3425 h 9813"/>
                  <a:gd name="connsiteX66" fmla="*/ 9277 w 10000"/>
                  <a:gd name="connsiteY66" fmla="*/ 3425 h 9813"/>
                  <a:gd name="connsiteX67" fmla="*/ 9438 w 10000"/>
                  <a:gd name="connsiteY67" fmla="*/ 3322 h 9813"/>
                  <a:gd name="connsiteX68" fmla="*/ 9920 w 10000"/>
                  <a:gd name="connsiteY68" fmla="*/ 3146 h 9813"/>
                  <a:gd name="connsiteX69" fmla="*/ 10000 w 10000"/>
                  <a:gd name="connsiteY69" fmla="*/ 2867 h 9813"/>
                  <a:gd name="connsiteX70" fmla="*/ 9960 w 10000"/>
                  <a:gd name="connsiteY70" fmla="*/ 2796 h 9813"/>
                  <a:gd name="connsiteX71" fmla="*/ 9799 w 10000"/>
                  <a:gd name="connsiteY71" fmla="*/ 2796 h 9813"/>
                  <a:gd name="connsiteX72" fmla="*/ 9679 w 10000"/>
                  <a:gd name="connsiteY72" fmla="*/ 2622 h 9813"/>
                  <a:gd name="connsiteX73" fmla="*/ 9438 w 10000"/>
                  <a:gd name="connsiteY73" fmla="*/ 2553 h 9813"/>
                  <a:gd name="connsiteX74" fmla="*/ 9317 w 10000"/>
                  <a:gd name="connsiteY74" fmla="*/ 2412 h 9813"/>
                  <a:gd name="connsiteX75" fmla="*/ 9237 w 10000"/>
                  <a:gd name="connsiteY75" fmla="*/ 1888 h 9813"/>
                  <a:gd name="connsiteX76" fmla="*/ 9237 w 10000"/>
                  <a:gd name="connsiteY76" fmla="*/ 1153 h 9813"/>
                  <a:gd name="connsiteX77" fmla="*/ 9036 w 10000"/>
                  <a:gd name="connsiteY77" fmla="*/ 910 h 9813"/>
                  <a:gd name="connsiteX78" fmla="*/ 8996 w 10000"/>
                  <a:gd name="connsiteY78" fmla="*/ 664 h 9813"/>
                  <a:gd name="connsiteX79" fmla="*/ 8675 w 10000"/>
                  <a:gd name="connsiteY79" fmla="*/ 315 h 9813"/>
                  <a:gd name="connsiteX80" fmla="*/ 8394 w 10000"/>
                  <a:gd name="connsiteY80" fmla="*/ 176 h 9813"/>
                  <a:gd name="connsiteX81" fmla="*/ 8233 w 10000"/>
                  <a:gd name="connsiteY81" fmla="*/ 0 h 9813"/>
                  <a:gd name="connsiteX82" fmla="*/ 7992 w 10000"/>
                  <a:gd name="connsiteY82" fmla="*/ 176 h 9813"/>
                  <a:gd name="connsiteX83" fmla="*/ 7831 w 10000"/>
                  <a:gd name="connsiteY83" fmla="*/ 140 h 9813"/>
                  <a:gd name="connsiteX84" fmla="*/ 7711 w 10000"/>
                  <a:gd name="connsiteY84" fmla="*/ 453 h 9813"/>
                  <a:gd name="connsiteX85" fmla="*/ 7390 w 10000"/>
                  <a:gd name="connsiteY85" fmla="*/ 525 h 9813"/>
                  <a:gd name="connsiteX86" fmla="*/ 7309 w 10000"/>
                  <a:gd name="connsiteY86" fmla="*/ 768 h 9813"/>
                  <a:gd name="connsiteX87" fmla="*/ 7028 w 10000"/>
                  <a:gd name="connsiteY87" fmla="*/ 768 h 9813"/>
                  <a:gd name="connsiteX88" fmla="*/ 6787 w 10000"/>
                  <a:gd name="connsiteY88" fmla="*/ 664 h 9813"/>
                  <a:gd name="connsiteX89" fmla="*/ 6265 w 10000"/>
                  <a:gd name="connsiteY89" fmla="*/ 664 h 9813"/>
                  <a:gd name="connsiteX90" fmla="*/ 5743 w 10000"/>
                  <a:gd name="connsiteY90" fmla="*/ 664 h 9813"/>
                  <a:gd name="connsiteX91" fmla="*/ 5783 w 10000"/>
                  <a:gd name="connsiteY91" fmla="*/ 525 h 9813"/>
                  <a:gd name="connsiteX92" fmla="*/ 5703 w 10000"/>
                  <a:gd name="connsiteY92" fmla="*/ 525 h 9813"/>
                  <a:gd name="connsiteX93" fmla="*/ 5663 w 10000"/>
                  <a:gd name="connsiteY93" fmla="*/ 664 h 9813"/>
                  <a:gd name="connsiteX94" fmla="*/ 5181 w 10000"/>
                  <a:gd name="connsiteY94" fmla="*/ 664 h 9813"/>
                  <a:gd name="connsiteX95" fmla="*/ 4699 w 10000"/>
                  <a:gd name="connsiteY95" fmla="*/ 664 h 9813"/>
                  <a:gd name="connsiteX96" fmla="*/ 4217 w 10000"/>
                  <a:gd name="connsiteY96" fmla="*/ 664 h 9813"/>
                  <a:gd name="connsiteX97" fmla="*/ 3735 w 10000"/>
                  <a:gd name="connsiteY97" fmla="*/ 664 h 9813"/>
                  <a:gd name="connsiteX98" fmla="*/ 3293 w 10000"/>
                  <a:gd name="connsiteY98" fmla="*/ 664 h 9813"/>
                  <a:gd name="connsiteX99" fmla="*/ 2811 w 10000"/>
                  <a:gd name="connsiteY99" fmla="*/ 664 h 9813"/>
                  <a:gd name="connsiteX100" fmla="*/ 2369 w 10000"/>
                  <a:gd name="connsiteY100" fmla="*/ 664 h 9813"/>
                  <a:gd name="connsiteX101" fmla="*/ 1888 w 10000"/>
                  <a:gd name="connsiteY101" fmla="*/ 664 h 9813"/>
                  <a:gd name="connsiteX102" fmla="*/ 1888 w 10000"/>
                  <a:gd name="connsiteY102" fmla="*/ 1153 h 9813"/>
                  <a:gd name="connsiteX103" fmla="*/ 1888 w 10000"/>
                  <a:gd name="connsiteY103" fmla="*/ 1783 h 9813"/>
                  <a:gd name="connsiteX104" fmla="*/ 1285 w 10000"/>
                  <a:gd name="connsiteY104" fmla="*/ 1783 h 9813"/>
                  <a:gd name="connsiteX105" fmla="*/ 1285 w 10000"/>
                  <a:gd name="connsiteY105" fmla="*/ 2063 h 9813"/>
                  <a:gd name="connsiteX0" fmla="*/ 1285 w 10000"/>
                  <a:gd name="connsiteY0" fmla="*/ 2102 h 9690"/>
                  <a:gd name="connsiteX1" fmla="*/ 1285 w 10000"/>
                  <a:gd name="connsiteY1" fmla="*/ 2672 h 9690"/>
                  <a:gd name="connsiteX2" fmla="*/ 1285 w 10000"/>
                  <a:gd name="connsiteY2" fmla="*/ 3206 h 9690"/>
                  <a:gd name="connsiteX3" fmla="*/ 1285 w 10000"/>
                  <a:gd name="connsiteY3" fmla="*/ 3741 h 9690"/>
                  <a:gd name="connsiteX4" fmla="*/ 1285 w 10000"/>
                  <a:gd name="connsiteY4" fmla="*/ 4238 h 9690"/>
                  <a:gd name="connsiteX5" fmla="*/ 643 w 10000"/>
                  <a:gd name="connsiteY5" fmla="*/ 4347 h 9690"/>
                  <a:gd name="connsiteX6" fmla="*/ 522 w 10000"/>
                  <a:gd name="connsiteY6" fmla="*/ 4631 h 9690"/>
                  <a:gd name="connsiteX7" fmla="*/ 241 w 10000"/>
                  <a:gd name="connsiteY7" fmla="*/ 4987 h 9690"/>
                  <a:gd name="connsiteX8" fmla="*/ 241 w 10000"/>
                  <a:gd name="connsiteY8" fmla="*/ 5273 h 9690"/>
                  <a:gd name="connsiteX9" fmla="*/ 120 w 10000"/>
                  <a:gd name="connsiteY9" fmla="*/ 5344 h 9690"/>
                  <a:gd name="connsiteX10" fmla="*/ 120 w 10000"/>
                  <a:gd name="connsiteY10" fmla="*/ 5593 h 9690"/>
                  <a:gd name="connsiteX11" fmla="*/ 0 w 10000"/>
                  <a:gd name="connsiteY11" fmla="*/ 5808 h 9690"/>
                  <a:gd name="connsiteX12" fmla="*/ 0 w 10000"/>
                  <a:gd name="connsiteY12" fmla="*/ 5985 h 9690"/>
                  <a:gd name="connsiteX13" fmla="*/ 241 w 10000"/>
                  <a:gd name="connsiteY13" fmla="*/ 5949 h 9690"/>
                  <a:gd name="connsiteX14" fmla="*/ 281 w 10000"/>
                  <a:gd name="connsiteY14" fmla="*/ 6269 h 9690"/>
                  <a:gd name="connsiteX15" fmla="*/ 602 w 10000"/>
                  <a:gd name="connsiteY15" fmla="*/ 6841 h 9690"/>
                  <a:gd name="connsiteX16" fmla="*/ 602 w 10000"/>
                  <a:gd name="connsiteY16" fmla="*/ 6876 h 9690"/>
                  <a:gd name="connsiteX17" fmla="*/ 482 w 10000"/>
                  <a:gd name="connsiteY17" fmla="*/ 6912 h 9690"/>
                  <a:gd name="connsiteX18" fmla="*/ 964 w 10000"/>
                  <a:gd name="connsiteY18" fmla="*/ 7481 h 9690"/>
                  <a:gd name="connsiteX19" fmla="*/ 1004 w 10000"/>
                  <a:gd name="connsiteY19" fmla="*/ 7659 h 9690"/>
                  <a:gd name="connsiteX20" fmla="*/ 964 w 10000"/>
                  <a:gd name="connsiteY20" fmla="*/ 8159 h 9690"/>
                  <a:gd name="connsiteX21" fmla="*/ 1044 w 10000"/>
                  <a:gd name="connsiteY21" fmla="*/ 8230 h 9690"/>
                  <a:gd name="connsiteX22" fmla="*/ 1365 w 10000"/>
                  <a:gd name="connsiteY22" fmla="*/ 8265 h 9690"/>
                  <a:gd name="connsiteX23" fmla="*/ 1406 w 10000"/>
                  <a:gd name="connsiteY23" fmla="*/ 8407 h 9690"/>
                  <a:gd name="connsiteX24" fmla="*/ 1767 w 10000"/>
                  <a:gd name="connsiteY24" fmla="*/ 8443 h 9690"/>
                  <a:gd name="connsiteX25" fmla="*/ 1968 w 10000"/>
                  <a:gd name="connsiteY25" fmla="*/ 8586 h 9690"/>
                  <a:gd name="connsiteX26" fmla="*/ 2008 w 10000"/>
                  <a:gd name="connsiteY26" fmla="*/ 8835 h 9690"/>
                  <a:gd name="connsiteX27" fmla="*/ 2651 w 10000"/>
                  <a:gd name="connsiteY27" fmla="*/ 9263 h 9690"/>
                  <a:gd name="connsiteX28" fmla="*/ 2811 w 10000"/>
                  <a:gd name="connsiteY28" fmla="*/ 9690 h 9690"/>
                  <a:gd name="connsiteX29" fmla="*/ 2890 w 10000"/>
                  <a:gd name="connsiteY29" fmla="*/ 7871 h 9690"/>
                  <a:gd name="connsiteX30" fmla="*/ 3167 w 10000"/>
                  <a:gd name="connsiteY30" fmla="*/ 7879 h 9690"/>
                  <a:gd name="connsiteX31" fmla="*/ 3537 w 10000"/>
                  <a:gd name="connsiteY31" fmla="*/ 7825 h 9690"/>
                  <a:gd name="connsiteX32" fmla="*/ 3795 w 10000"/>
                  <a:gd name="connsiteY32" fmla="*/ 8005 h 9690"/>
                  <a:gd name="connsiteX33" fmla="*/ 4153 w 10000"/>
                  <a:gd name="connsiteY33" fmla="*/ 8074 h 9690"/>
                  <a:gd name="connsiteX34" fmla="*/ 4406 w 10000"/>
                  <a:gd name="connsiteY34" fmla="*/ 8022 h 9690"/>
                  <a:gd name="connsiteX35" fmla="*/ 4600 w 10000"/>
                  <a:gd name="connsiteY35" fmla="*/ 7892 h 9690"/>
                  <a:gd name="connsiteX36" fmla="*/ 4762 w 10000"/>
                  <a:gd name="connsiteY36" fmla="*/ 7651 h 9690"/>
                  <a:gd name="connsiteX37" fmla="*/ 4901 w 10000"/>
                  <a:gd name="connsiteY37" fmla="*/ 7503 h 9690"/>
                  <a:gd name="connsiteX38" fmla="*/ 5080 w 10000"/>
                  <a:gd name="connsiteY38" fmla="*/ 7609 h 9690"/>
                  <a:gd name="connsiteX39" fmla="*/ 5337 w 10000"/>
                  <a:gd name="connsiteY39" fmla="*/ 7714 h 9690"/>
                  <a:gd name="connsiteX40" fmla="*/ 5564 w 10000"/>
                  <a:gd name="connsiteY40" fmla="*/ 7851 h 9690"/>
                  <a:gd name="connsiteX41" fmla="*/ 5768 w 10000"/>
                  <a:gd name="connsiteY41" fmla="*/ 7763 h 9690"/>
                  <a:gd name="connsiteX42" fmla="*/ 5933 w 10000"/>
                  <a:gd name="connsiteY42" fmla="*/ 7680 h 9690"/>
                  <a:gd name="connsiteX43" fmla="*/ 6089 w 10000"/>
                  <a:gd name="connsiteY43" fmla="*/ 7497 h 9690"/>
                  <a:gd name="connsiteX44" fmla="*/ 6274 w 10000"/>
                  <a:gd name="connsiteY44" fmla="*/ 7249 h 9690"/>
                  <a:gd name="connsiteX45" fmla="*/ 6389 w 10000"/>
                  <a:gd name="connsiteY45" fmla="*/ 7134 h 9690"/>
                  <a:gd name="connsiteX46" fmla="*/ 6524 w 10000"/>
                  <a:gd name="connsiteY46" fmla="*/ 7087 h 9690"/>
                  <a:gd name="connsiteX47" fmla="*/ 6531 w 10000"/>
                  <a:gd name="connsiteY47" fmla="*/ 6942 h 9690"/>
                  <a:gd name="connsiteX48" fmla="*/ 6424 w 10000"/>
                  <a:gd name="connsiteY48" fmla="*/ 6611 h 9690"/>
                  <a:gd name="connsiteX49" fmla="*/ 6602 w 10000"/>
                  <a:gd name="connsiteY49" fmla="*/ 6619 h 9690"/>
                  <a:gd name="connsiteX50" fmla="*/ 6707 w 10000"/>
                  <a:gd name="connsiteY50" fmla="*/ 6493 h 9690"/>
                  <a:gd name="connsiteX51" fmla="*/ 6876 w 10000"/>
                  <a:gd name="connsiteY51" fmla="*/ 6494 h 9690"/>
                  <a:gd name="connsiteX52" fmla="*/ 6827 w 10000"/>
                  <a:gd name="connsiteY52" fmla="*/ 7266 h 9690"/>
                  <a:gd name="connsiteX53" fmla="*/ 6991 w 10000"/>
                  <a:gd name="connsiteY53" fmla="*/ 7354 h 9690"/>
                  <a:gd name="connsiteX54" fmla="*/ 7275 w 10000"/>
                  <a:gd name="connsiteY54" fmla="*/ 7579 h 9690"/>
                  <a:gd name="connsiteX55" fmla="*/ 7430 w 10000"/>
                  <a:gd name="connsiteY55" fmla="*/ 7232 h 9690"/>
                  <a:gd name="connsiteX56" fmla="*/ 7470 w 10000"/>
                  <a:gd name="connsiteY56" fmla="*/ 7267 h 9690"/>
                  <a:gd name="connsiteX57" fmla="*/ 7590 w 10000"/>
                  <a:gd name="connsiteY57" fmla="*/ 7054 h 9690"/>
                  <a:gd name="connsiteX58" fmla="*/ 7831 w 10000"/>
                  <a:gd name="connsiteY58" fmla="*/ 6948 h 9690"/>
                  <a:gd name="connsiteX59" fmla="*/ 7952 w 10000"/>
                  <a:gd name="connsiteY59" fmla="*/ 6555 h 9690"/>
                  <a:gd name="connsiteX60" fmla="*/ 8313 w 10000"/>
                  <a:gd name="connsiteY60" fmla="*/ 6092 h 9690"/>
                  <a:gd name="connsiteX61" fmla="*/ 8594 w 10000"/>
                  <a:gd name="connsiteY61" fmla="*/ 5878 h 9690"/>
                  <a:gd name="connsiteX62" fmla="*/ 8795 w 10000"/>
                  <a:gd name="connsiteY62" fmla="*/ 5273 h 9690"/>
                  <a:gd name="connsiteX63" fmla="*/ 8795 w 10000"/>
                  <a:gd name="connsiteY63" fmla="*/ 5131 h 9690"/>
                  <a:gd name="connsiteX64" fmla="*/ 8755 w 10000"/>
                  <a:gd name="connsiteY64" fmla="*/ 4774 h 9690"/>
                  <a:gd name="connsiteX65" fmla="*/ 9157 w 10000"/>
                  <a:gd name="connsiteY65" fmla="*/ 3490 h 9690"/>
                  <a:gd name="connsiteX66" fmla="*/ 9277 w 10000"/>
                  <a:gd name="connsiteY66" fmla="*/ 3490 h 9690"/>
                  <a:gd name="connsiteX67" fmla="*/ 9438 w 10000"/>
                  <a:gd name="connsiteY67" fmla="*/ 3385 h 9690"/>
                  <a:gd name="connsiteX68" fmla="*/ 9920 w 10000"/>
                  <a:gd name="connsiteY68" fmla="*/ 3206 h 9690"/>
                  <a:gd name="connsiteX69" fmla="*/ 10000 w 10000"/>
                  <a:gd name="connsiteY69" fmla="*/ 2922 h 9690"/>
                  <a:gd name="connsiteX70" fmla="*/ 9960 w 10000"/>
                  <a:gd name="connsiteY70" fmla="*/ 2849 h 9690"/>
                  <a:gd name="connsiteX71" fmla="*/ 9799 w 10000"/>
                  <a:gd name="connsiteY71" fmla="*/ 2849 h 9690"/>
                  <a:gd name="connsiteX72" fmla="*/ 9679 w 10000"/>
                  <a:gd name="connsiteY72" fmla="*/ 2672 h 9690"/>
                  <a:gd name="connsiteX73" fmla="*/ 9438 w 10000"/>
                  <a:gd name="connsiteY73" fmla="*/ 2602 h 9690"/>
                  <a:gd name="connsiteX74" fmla="*/ 9317 w 10000"/>
                  <a:gd name="connsiteY74" fmla="*/ 2458 h 9690"/>
                  <a:gd name="connsiteX75" fmla="*/ 9237 w 10000"/>
                  <a:gd name="connsiteY75" fmla="*/ 1924 h 9690"/>
                  <a:gd name="connsiteX76" fmla="*/ 9237 w 10000"/>
                  <a:gd name="connsiteY76" fmla="*/ 1175 h 9690"/>
                  <a:gd name="connsiteX77" fmla="*/ 9036 w 10000"/>
                  <a:gd name="connsiteY77" fmla="*/ 927 h 9690"/>
                  <a:gd name="connsiteX78" fmla="*/ 8996 w 10000"/>
                  <a:gd name="connsiteY78" fmla="*/ 677 h 9690"/>
                  <a:gd name="connsiteX79" fmla="*/ 8675 w 10000"/>
                  <a:gd name="connsiteY79" fmla="*/ 321 h 9690"/>
                  <a:gd name="connsiteX80" fmla="*/ 8394 w 10000"/>
                  <a:gd name="connsiteY80" fmla="*/ 179 h 9690"/>
                  <a:gd name="connsiteX81" fmla="*/ 8233 w 10000"/>
                  <a:gd name="connsiteY81" fmla="*/ 0 h 9690"/>
                  <a:gd name="connsiteX82" fmla="*/ 7992 w 10000"/>
                  <a:gd name="connsiteY82" fmla="*/ 179 h 9690"/>
                  <a:gd name="connsiteX83" fmla="*/ 7831 w 10000"/>
                  <a:gd name="connsiteY83" fmla="*/ 143 h 9690"/>
                  <a:gd name="connsiteX84" fmla="*/ 7711 w 10000"/>
                  <a:gd name="connsiteY84" fmla="*/ 462 h 9690"/>
                  <a:gd name="connsiteX85" fmla="*/ 7390 w 10000"/>
                  <a:gd name="connsiteY85" fmla="*/ 535 h 9690"/>
                  <a:gd name="connsiteX86" fmla="*/ 7309 w 10000"/>
                  <a:gd name="connsiteY86" fmla="*/ 783 h 9690"/>
                  <a:gd name="connsiteX87" fmla="*/ 7028 w 10000"/>
                  <a:gd name="connsiteY87" fmla="*/ 783 h 9690"/>
                  <a:gd name="connsiteX88" fmla="*/ 6787 w 10000"/>
                  <a:gd name="connsiteY88" fmla="*/ 677 h 9690"/>
                  <a:gd name="connsiteX89" fmla="*/ 6265 w 10000"/>
                  <a:gd name="connsiteY89" fmla="*/ 677 h 9690"/>
                  <a:gd name="connsiteX90" fmla="*/ 5743 w 10000"/>
                  <a:gd name="connsiteY90" fmla="*/ 677 h 9690"/>
                  <a:gd name="connsiteX91" fmla="*/ 5783 w 10000"/>
                  <a:gd name="connsiteY91" fmla="*/ 535 h 9690"/>
                  <a:gd name="connsiteX92" fmla="*/ 5703 w 10000"/>
                  <a:gd name="connsiteY92" fmla="*/ 535 h 9690"/>
                  <a:gd name="connsiteX93" fmla="*/ 5663 w 10000"/>
                  <a:gd name="connsiteY93" fmla="*/ 677 h 9690"/>
                  <a:gd name="connsiteX94" fmla="*/ 5181 w 10000"/>
                  <a:gd name="connsiteY94" fmla="*/ 677 h 9690"/>
                  <a:gd name="connsiteX95" fmla="*/ 4699 w 10000"/>
                  <a:gd name="connsiteY95" fmla="*/ 677 h 9690"/>
                  <a:gd name="connsiteX96" fmla="*/ 4217 w 10000"/>
                  <a:gd name="connsiteY96" fmla="*/ 677 h 9690"/>
                  <a:gd name="connsiteX97" fmla="*/ 3735 w 10000"/>
                  <a:gd name="connsiteY97" fmla="*/ 677 h 9690"/>
                  <a:gd name="connsiteX98" fmla="*/ 3293 w 10000"/>
                  <a:gd name="connsiteY98" fmla="*/ 677 h 9690"/>
                  <a:gd name="connsiteX99" fmla="*/ 2811 w 10000"/>
                  <a:gd name="connsiteY99" fmla="*/ 677 h 9690"/>
                  <a:gd name="connsiteX100" fmla="*/ 2369 w 10000"/>
                  <a:gd name="connsiteY100" fmla="*/ 677 h 9690"/>
                  <a:gd name="connsiteX101" fmla="*/ 1888 w 10000"/>
                  <a:gd name="connsiteY101" fmla="*/ 677 h 9690"/>
                  <a:gd name="connsiteX102" fmla="*/ 1888 w 10000"/>
                  <a:gd name="connsiteY102" fmla="*/ 1175 h 9690"/>
                  <a:gd name="connsiteX103" fmla="*/ 1888 w 10000"/>
                  <a:gd name="connsiteY103" fmla="*/ 1817 h 9690"/>
                  <a:gd name="connsiteX104" fmla="*/ 1285 w 10000"/>
                  <a:gd name="connsiteY104" fmla="*/ 1817 h 9690"/>
                  <a:gd name="connsiteX105" fmla="*/ 1285 w 10000"/>
                  <a:gd name="connsiteY105" fmla="*/ 2102 h 9690"/>
                  <a:gd name="connsiteX0" fmla="*/ 1285 w 10000"/>
                  <a:gd name="connsiteY0" fmla="*/ 2169 h 9707"/>
                  <a:gd name="connsiteX1" fmla="*/ 1285 w 10000"/>
                  <a:gd name="connsiteY1" fmla="*/ 2757 h 9707"/>
                  <a:gd name="connsiteX2" fmla="*/ 1285 w 10000"/>
                  <a:gd name="connsiteY2" fmla="*/ 3309 h 9707"/>
                  <a:gd name="connsiteX3" fmla="*/ 1285 w 10000"/>
                  <a:gd name="connsiteY3" fmla="*/ 3861 h 9707"/>
                  <a:gd name="connsiteX4" fmla="*/ 1285 w 10000"/>
                  <a:gd name="connsiteY4" fmla="*/ 4374 h 9707"/>
                  <a:gd name="connsiteX5" fmla="*/ 643 w 10000"/>
                  <a:gd name="connsiteY5" fmla="*/ 4486 h 9707"/>
                  <a:gd name="connsiteX6" fmla="*/ 522 w 10000"/>
                  <a:gd name="connsiteY6" fmla="*/ 4779 h 9707"/>
                  <a:gd name="connsiteX7" fmla="*/ 241 w 10000"/>
                  <a:gd name="connsiteY7" fmla="*/ 5147 h 9707"/>
                  <a:gd name="connsiteX8" fmla="*/ 241 w 10000"/>
                  <a:gd name="connsiteY8" fmla="*/ 5442 h 9707"/>
                  <a:gd name="connsiteX9" fmla="*/ 120 w 10000"/>
                  <a:gd name="connsiteY9" fmla="*/ 5515 h 9707"/>
                  <a:gd name="connsiteX10" fmla="*/ 120 w 10000"/>
                  <a:gd name="connsiteY10" fmla="*/ 5772 h 9707"/>
                  <a:gd name="connsiteX11" fmla="*/ 0 w 10000"/>
                  <a:gd name="connsiteY11" fmla="*/ 5994 h 9707"/>
                  <a:gd name="connsiteX12" fmla="*/ 0 w 10000"/>
                  <a:gd name="connsiteY12" fmla="*/ 6176 h 9707"/>
                  <a:gd name="connsiteX13" fmla="*/ 241 w 10000"/>
                  <a:gd name="connsiteY13" fmla="*/ 6139 h 9707"/>
                  <a:gd name="connsiteX14" fmla="*/ 281 w 10000"/>
                  <a:gd name="connsiteY14" fmla="*/ 6470 h 9707"/>
                  <a:gd name="connsiteX15" fmla="*/ 602 w 10000"/>
                  <a:gd name="connsiteY15" fmla="*/ 7060 h 9707"/>
                  <a:gd name="connsiteX16" fmla="*/ 602 w 10000"/>
                  <a:gd name="connsiteY16" fmla="*/ 7096 h 9707"/>
                  <a:gd name="connsiteX17" fmla="*/ 482 w 10000"/>
                  <a:gd name="connsiteY17" fmla="*/ 7133 h 9707"/>
                  <a:gd name="connsiteX18" fmla="*/ 964 w 10000"/>
                  <a:gd name="connsiteY18" fmla="*/ 7720 h 9707"/>
                  <a:gd name="connsiteX19" fmla="*/ 1004 w 10000"/>
                  <a:gd name="connsiteY19" fmla="*/ 7904 h 9707"/>
                  <a:gd name="connsiteX20" fmla="*/ 964 w 10000"/>
                  <a:gd name="connsiteY20" fmla="*/ 8420 h 9707"/>
                  <a:gd name="connsiteX21" fmla="*/ 1044 w 10000"/>
                  <a:gd name="connsiteY21" fmla="*/ 8493 h 9707"/>
                  <a:gd name="connsiteX22" fmla="*/ 1365 w 10000"/>
                  <a:gd name="connsiteY22" fmla="*/ 8529 h 9707"/>
                  <a:gd name="connsiteX23" fmla="*/ 1406 w 10000"/>
                  <a:gd name="connsiteY23" fmla="*/ 8676 h 9707"/>
                  <a:gd name="connsiteX24" fmla="*/ 1767 w 10000"/>
                  <a:gd name="connsiteY24" fmla="*/ 8713 h 9707"/>
                  <a:gd name="connsiteX25" fmla="*/ 1968 w 10000"/>
                  <a:gd name="connsiteY25" fmla="*/ 8861 h 9707"/>
                  <a:gd name="connsiteX26" fmla="*/ 2008 w 10000"/>
                  <a:gd name="connsiteY26" fmla="*/ 9118 h 9707"/>
                  <a:gd name="connsiteX27" fmla="*/ 2651 w 10000"/>
                  <a:gd name="connsiteY27" fmla="*/ 9559 h 9707"/>
                  <a:gd name="connsiteX28" fmla="*/ 2679 w 10000"/>
                  <a:gd name="connsiteY28" fmla="*/ 8143 h 9707"/>
                  <a:gd name="connsiteX29" fmla="*/ 2890 w 10000"/>
                  <a:gd name="connsiteY29" fmla="*/ 8123 h 9707"/>
                  <a:gd name="connsiteX30" fmla="*/ 3167 w 10000"/>
                  <a:gd name="connsiteY30" fmla="*/ 8131 h 9707"/>
                  <a:gd name="connsiteX31" fmla="*/ 3537 w 10000"/>
                  <a:gd name="connsiteY31" fmla="*/ 8075 h 9707"/>
                  <a:gd name="connsiteX32" fmla="*/ 3795 w 10000"/>
                  <a:gd name="connsiteY32" fmla="*/ 8261 h 9707"/>
                  <a:gd name="connsiteX33" fmla="*/ 4153 w 10000"/>
                  <a:gd name="connsiteY33" fmla="*/ 8332 h 9707"/>
                  <a:gd name="connsiteX34" fmla="*/ 4406 w 10000"/>
                  <a:gd name="connsiteY34" fmla="*/ 8279 h 9707"/>
                  <a:gd name="connsiteX35" fmla="*/ 4600 w 10000"/>
                  <a:gd name="connsiteY35" fmla="*/ 8144 h 9707"/>
                  <a:gd name="connsiteX36" fmla="*/ 4762 w 10000"/>
                  <a:gd name="connsiteY36" fmla="*/ 7896 h 9707"/>
                  <a:gd name="connsiteX37" fmla="*/ 4901 w 10000"/>
                  <a:gd name="connsiteY37" fmla="*/ 7743 h 9707"/>
                  <a:gd name="connsiteX38" fmla="*/ 5080 w 10000"/>
                  <a:gd name="connsiteY38" fmla="*/ 7852 h 9707"/>
                  <a:gd name="connsiteX39" fmla="*/ 5337 w 10000"/>
                  <a:gd name="connsiteY39" fmla="*/ 7961 h 9707"/>
                  <a:gd name="connsiteX40" fmla="*/ 5564 w 10000"/>
                  <a:gd name="connsiteY40" fmla="*/ 8102 h 9707"/>
                  <a:gd name="connsiteX41" fmla="*/ 5768 w 10000"/>
                  <a:gd name="connsiteY41" fmla="*/ 8011 h 9707"/>
                  <a:gd name="connsiteX42" fmla="*/ 5933 w 10000"/>
                  <a:gd name="connsiteY42" fmla="*/ 7926 h 9707"/>
                  <a:gd name="connsiteX43" fmla="*/ 6089 w 10000"/>
                  <a:gd name="connsiteY43" fmla="*/ 7737 h 9707"/>
                  <a:gd name="connsiteX44" fmla="*/ 6274 w 10000"/>
                  <a:gd name="connsiteY44" fmla="*/ 7481 h 9707"/>
                  <a:gd name="connsiteX45" fmla="*/ 6389 w 10000"/>
                  <a:gd name="connsiteY45" fmla="*/ 7362 h 9707"/>
                  <a:gd name="connsiteX46" fmla="*/ 6524 w 10000"/>
                  <a:gd name="connsiteY46" fmla="*/ 7314 h 9707"/>
                  <a:gd name="connsiteX47" fmla="*/ 6531 w 10000"/>
                  <a:gd name="connsiteY47" fmla="*/ 7164 h 9707"/>
                  <a:gd name="connsiteX48" fmla="*/ 6424 w 10000"/>
                  <a:gd name="connsiteY48" fmla="*/ 6822 h 9707"/>
                  <a:gd name="connsiteX49" fmla="*/ 6602 w 10000"/>
                  <a:gd name="connsiteY49" fmla="*/ 6831 h 9707"/>
                  <a:gd name="connsiteX50" fmla="*/ 6707 w 10000"/>
                  <a:gd name="connsiteY50" fmla="*/ 6701 h 9707"/>
                  <a:gd name="connsiteX51" fmla="*/ 6876 w 10000"/>
                  <a:gd name="connsiteY51" fmla="*/ 6702 h 9707"/>
                  <a:gd name="connsiteX52" fmla="*/ 6827 w 10000"/>
                  <a:gd name="connsiteY52" fmla="*/ 7498 h 9707"/>
                  <a:gd name="connsiteX53" fmla="*/ 6991 w 10000"/>
                  <a:gd name="connsiteY53" fmla="*/ 7589 h 9707"/>
                  <a:gd name="connsiteX54" fmla="*/ 7275 w 10000"/>
                  <a:gd name="connsiteY54" fmla="*/ 7821 h 9707"/>
                  <a:gd name="connsiteX55" fmla="*/ 7430 w 10000"/>
                  <a:gd name="connsiteY55" fmla="*/ 7463 h 9707"/>
                  <a:gd name="connsiteX56" fmla="*/ 7470 w 10000"/>
                  <a:gd name="connsiteY56" fmla="*/ 7499 h 9707"/>
                  <a:gd name="connsiteX57" fmla="*/ 7590 w 10000"/>
                  <a:gd name="connsiteY57" fmla="*/ 7280 h 9707"/>
                  <a:gd name="connsiteX58" fmla="*/ 7831 w 10000"/>
                  <a:gd name="connsiteY58" fmla="*/ 7170 h 9707"/>
                  <a:gd name="connsiteX59" fmla="*/ 7952 w 10000"/>
                  <a:gd name="connsiteY59" fmla="*/ 6765 h 9707"/>
                  <a:gd name="connsiteX60" fmla="*/ 8313 w 10000"/>
                  <a:gd name="connsiteY60" fmla="*/ 6287 h 9707"/>
                  <a:gd name="connsiteX61" fmla="*/ 8594 w 10000"/>
                  <a:gd name="connsiteY61" fmla="*/ 6066 h 9707"/>
                  <a:gd name="connsiteX62" fmla="*/ 8795 w 10000"/>
                  <a:gd name="connsiteY62" fmla="*/ 5442 h 9707"/>
                  <a:gd name="connsiteX63" fmla="*/ 8795 w 10000"/>
                  <a:gd name="connsiteY63" fmla="*/ 5295 h 9707"/>
                  <a:gd name="connsiteX64" fmla="*/ 8755 w 10000"/>
                  <a:gd name="connsiteY64" fmla="*/ 4927 h 9707"/>
                  <a:gd name="connsiteX65" fmla="*/ 9157 w 10000"/>
                  <a:gd name="connsiteY65" fmla="*/ 3602 h 9707"/>
                  <a:gd name="connsiteX66" fmla="*/ 9277 w 10000"/>
                  <a:gd name="connsiteY66" fmla="*/ 3602 h 9707"/>
                  <a:gd name="connsiteX67" fmla="*/ 9438 w 10000"/>
                  <a:gd name="connsiteY67" fmla="*/ 3493 h 9707"/>
                  <a:gd name="connsiteX68" fmla="*/ 9920 w 10000"/>
                  <a:gd name="connsiteY68" fmla="*/ 3309 h 9707"/>
                  <a:gd name="connsiteX69" fmla="*/ 10000 w 10000"/>
                  <a:gd name="connsiteY69" fmla="*/ 3015 h 9707"/>
                  <a:gd name="connsiteX70" fmla="*/ 9960 w 10000"/>
                  <a:gd name="connsiteY70" fmla="*/ 2940 h 9707"/>
                  <a:gd name="connsiteX71" fmla="*/ 9799 w 10000"/>
                  <a:gd name="connsiteY71" fmla="*/ 2940 h 9707"/>
                  <a:gd name="connsiteX72" fmla="*/ 9679 w 10000"/>
                  <a:gd name="connsiteY72" fmla="*/ 2757 h 9707"/>
                  <a:gd name="connsiteX73" fmla="*/ 9438 w 10000"/>
                  <a:gd name="connsiteY73" fmla="*/ 2685 h 9707"/>
                  <a:gd name="connsiteX74" fmla="*/ 9317 w 10000"/>
                  <a:gd name="connsiteY74" fmla="*/ 2537 h 9707"/>
                  <a:gd name="connsiteX75" fmla="*/ 9237 w 10000"/>
                  <a:gd name="connsiteY75" fmla="*/ 1986 h 9707"/>
                  <a:gd name="connsiteX76" fmla="*/ 9237 w 10000"/>
                  <a:gd name="connsiteY76" fmla="*/ 1213 h 9707"/>
                  <a:gd name="connsiteX77" fmla="*/ 9036 w 10000"/>
                  <a:gd name="connsiteY77" fmla="*/ 957 h 9707"/>
                  <a:gd name="connsiteX78" fmla="*/ 8996 w 10000"/>
                  <a:gd name="connsiteY78" fmla="*/ 699 h 9707"/>
                  <a:gd name="connsiteX79" fmla="*/ 8675 w 10000"/>
                  <a:gd name="connsiteY79" fmla="*/ 331 h 9707"/>
                  <a:gd name="connsiteX80" fmla="*/ 8394 w 10000"/>
                  <a:gd name="connsiteY80" fmla="*/ 185 h 9707"/>
                  <a:gd name="connsiteX81" fmla="*/ 8233 w 10000"/>
                  <a:gd name="connsiteY81" fmla="*/ 0 h 9707"/>
                  <a:gd name="connsiteX82" fmla="*/ 7992 w 10000"/>
                  <a:gd name="connsiteY82" fmla="*/ 185 h 9707"/>
                  <a:gd name="connsiteX83" fmla="*/ 7831 w 10000"/>
                  <a:gd name="connsiteY83" fmla="*/ 148 h 9707"/>
                  <a:gd name="connsiteX84" fmla="*/ 7711 w 10000"/>
                  <a:gd name="connsiteY84" fmla="*/ 477 h 9707"/>
                  <a:gd name="connsiteX85" fmla="*/ 7390 w 10000"/>
                  <a:gd name="connsiteY85" fmla="*/ 552 h 9707"/>
                  <a:gd name="connsiteX86" fmla="*/ 7309 w 10000"/>
                  <a:gd name="connsiteY86" fmla="*/ 808 h 9707"/>
                  <a:gd name="connsiteX87" fmla="*/ 7028 w 10000"/>
                  <a:gd name="connsiteY87" fmla="*/ 808 h 9707"/>
                  <a:gd name="connsiteX88" fmla="*/ 6787 w 10000"/>
                  <a:gd name="connsiteY88" fmla="*/ 699 h 9707"/>
                  <a:gd name="connsiteX89" fmla="*/ 6265 w 10000"/>
                  <a:gd name="connsiteY89" fmla="*/ 699 h 9707"/>
                  <a:gd name="connsiteX90" fmla="*/ 5743 w 10000"/>
                  <a:gd name="connsiteY90" fmla="*/ 699 h 9707"/>
                  <a:gd name="connsiteX91" fmla="*/ 5783 w 10000"/>
                  <a:gd name="connsiteY91" fmla="*/ 552 h 9707"/>
                  <a:gd name="connsiteX92" fmla="*/ 5703 w 10000"/>
                  <a:gd name="connsiteY92" fmla="*/ 552 h 9707"/>
                  <a:gd name="connsiteX93" fmla="*/ 5663 w 10000"/>
                  <a:gd name="connsiteY93" fmla="*/ 699 h 9707"/>
                  <a:gd name="connsiteX94" fmla="*/ 5181 w 10000"/>
                  <a:gd name="connsiteY94" fmla="*/ 699 h 9707"/>
                  <a:gd name="connsiteX95" fmla="*/ 4699 w 10000"/>
                  <a:gd name="connsiteY95" fmla="*/ 699 h 9707"/>
                  <a:gd name="connsiteX96" fmla="*/ 4217 w 10000"/>
                  <a:gd name="connsiteY96" fmla="*/ 699 h 9707"/>
                  <a:gd name="connsiteX97" fmla="*/ 3735 w 10000"/>
                  <a:gd name="connsiteY97" fmla="*/ 699 h 9707"/>
                  <a:gd name="connsiteX98" fmla="*/ 3293 w 10000"/>
                  <a:gd name="connsiteY98" fmla="*/ 699 h 9707"/>
                  <a:gd name="connsiteX99" fmla="*/ 2811 w 10000"/>
                  <a:gd name="connsiteY99" fmla="*/ 699 h 9707"/>
                  <a:gd name="connsiteX100" fmla="*/ 2369 w 10000"/>
                  <a:gd name="connsiteY100" fmla="*/ 699 h 9707"/>
                  <a:gd name="connsiteX101" fmla="*/ 1888 w 10000"/>
                  <a:gd name="connsiteY101" fmla="*/ 699 h 9707"/>
                  <a:gd name="connsiteX102" fmla="*/ 1888 w 10000"/>
                  <a:gd name="connsiteY102" fmla="*/ 1213 h 9707"/>
                  <a:gd name="connsiteX103" fmla="*/ 1888 w 10000"/>
                  <a:gd name="connsiteY103" fmla="*/ 1875 h 9707"/>
                  <a:gd name="connsiteX104" fmla="*/ 1285 w 10000"/>
                  <a:gd name="connsiteY104" fmla="*/ 1875 h 9707"/>
                  <a:gd name="connsiteX105" fmla="*/ 1285 w 10000"/>
                  <a:gd name="connsiteY105" fmla="*/ 2169 h 9707"/>
                  <a:gd name="connsiteX0" fmla="*/ 1285 w 10000"/>
                  <a:gd name="connsiteY0" fmla="*/ 2234 h 9424"/>
                  <a:gd name="connsiteX1" fmla="*/ 1285 w 10000"/>
                  <a:gd name="connsiteY1" fmla="*/ 2840 h 9424"/>
                  <a:gd name="connsiteX2" fmla="*/ 1285 w 10000"/>
                  <a:gd name="connsiteY2" fmla="*/ 3409 h 9424"/>
                  <a:gd name="connsiteX3" fmla="*/ 1285 w 10000"/>
                  <a:gd name="connsiteY3" fmla="*/ 3978 h 9424"/>
                  <a:gd name="connsiteX4" fmla="*/ 1285 w 10000"/>
                  <a:gd name="connsiteY4" fmla="*/ 4506 h 9424"/>
                  <a:gd name="connsiteX5" fmla="*/ 643 w 10000"/>
                  <a:gd name="connsiteY5" fmla="*/ 4621 h 9424"/>
                  <a:gd name="connsiteX6" fmla="*/ 522 w 10000"/>
                  <a:gd name="connsiteY6" fmla="*/ 4923 h 9424"/>
                  <a:gd name="connsiteX7" fmla="*/ 241 w 10000"/>
                  <a:gd name="connsiteY7" fmla="*/ 5302 h 9424"/>
                  <a:gd name="connsiteX8" fmla="*/ 241 w 10000"/>
                  <a:gd name="connsiteY8" fmla="*/ 5606 h 9424"/>
                  <a:gd name="connsiteX9" fmla="*/ 120 w 10000"/>
                  <a:gd name="connsiteY9" fmla="*/ 5681 h 9424"/>
                  <a:gd name="connsiteX10" fmla="*/ 120 w 10000"/>
                  <a:gd name="connsiteY10" fmla="*/ 5946 h 9424"/>
                  <a:gd name="connsiteX11" fmla="*/ 0 w 10000"/>
                  <a:gd name="connsiteY11" fmla="*/ 6175 h 9424"/>
                  <a:gd name="connsiteX12" fmla="*/ 0 w 10000"/>
                  <a:gd name="connsiteY12" fmla="*/ 6362 h 9424"/>
                  <a:gd name="connsiteX13" fmla="*/ 241 w 10000"/>
                  <a:gd name="connsiteY13" fmla="*/ 6324 h 9424"/>
                  <a:gd name="connsiteX14" fmla="*/ 281 w 10000"/>
                  <a:gd name="connsiteY14" fmla="*/ 6665 h 9424"/>
                  <a:gd name="connsiteX15" fmla="*/ 602 w 10000"/>
                  <a:gd name="connsiteY15" fmla="*/ 7273 h 9424"/>
                  <a:gd name="connsiteX16" fmla="*/ 602 w 10000"/>
                  <a:gd name="connsiteY16" fmla="*/ 7310 h 9424"/>
                  <a:gd name="connsiteX17" fmla="*/ 482 w 10000"/>
                  <a:gd name="connsiteY17" fmla="*/ 7348 h 9424"/>
                  <a:gd name="connsiteX18" fmla="*/ 964 w 10000"/>
                  <a:gd name="connsiteY18" fmla="*/ 7953 h 9424"/>
                  <a:gd name="connsiteX19" fmla="*/ 1004 w 10000"/>
                  <a:gd name="connsiteY19" fmla="*/ 8143 h 9424"/>
                  <a:gd name="connsiteX20" fmla="*/ 964 w 10000"/>
                  <a:gd name="connsiteY20" fmla="*/ 8674 h 9424"/>
                  <a:gd name="connsiteX21" fmla="*/ 1044 w 10000"/>
                  <a:gd name="connsiteY21" fmla="*/ 8749 h 9424"/>
                  <a:gd name="connsiteX22" fmla="*/ 1365 w 10000"/>
                  <a:gd name="connsiteY22" fmla="*/ 8786 h 9424"/>
                  <a:gd name="connsiteX23" fmla="*/ 1406 w 10000"/>
                  <a:gd name="connsiteY23" fmla="*/ 8938 h 9424"/>
                  <a:gd name="connsiteX24" fmla="*/ 1767 w 10000"/>
                  <a:gd name="connsiteY24" fmla="*/ 8976 h 9424"/>
                  <a:gd name="connsiteX25" fmla="*/ 1968 w 10000"/>
                  <a:gd name="connsiteY25" fmla="*/ 9128 h 9424"/>
                  <a:gd name="connsiteX26" fmla="*/ 2008 w 10000"/>
                  <a:gd name="connsiteY26" fmla="*/ 9393 h 9424"/>
                  <a:gd name="connsiteX27" fmla="*/ 2519 w 10000"/>
                  <a:gd name="connsiteY27" fmla="*/ 7935 h 9424"/>
                  <a:gd name="connsiteX28" fmla="*/ 2679 w 10000"/>
                  <a:gd name="connsiteY28" fmla="*/ 8389 h 9424"/>
                  <a:gd name="connsiteX29" fmla="*/ 2890 w 10000"/>
                  <a:gd name="connsiteY29" fmla="*/ 8368 h 9424"/>
                  <a:gd name="connsiteX30" fmla="*/ 3167 w 10000"/>
                  <a:gd name="connsiteY30" fmla="*/ 8376 h 9424"/>
                  <a:gd name="connsiteX31" fmla="*/ 3537 w 10000"/>
                  <a:gd name="connsiteY31" fmla="*/ 8319 h 9424"/>
                  <a:gd name="connsiteX32" fmla="*/ 3795 w 10000"/>
                  <a:gd name="connsiteY32" fmla="*/ 8510 h 9424"/>
                  <a:gd name="connsiteX33" fmla="*/ 4153 w 10000"/>
                  <a:gd name="connsiteY33" fmla="*/ 8583 h 9424"/>
                  <a:gd name="connsiteX34" fmla="*/ 4406 w 10000"/>
                  <a:gd name="connsiteY34" fmla="*/ 8529 h 9424"/>
                  <a:gd name="connsiteX35" fmla="*/ 4600 w 10000"/>
                  <a:gd name="connsiteY35" fmla="*/ 8390 h 9424"/>
                  <a:gd name="connsiteX36" fmla="*/ 4762 w 10000"/>
                  <a:gd name="connsiteY36" fmla="*/ 8134 h 9424"/>
                  <a:gd name="connsiteX37" fmla="*/ 4901 w 10000"/>
                  <a:gd name="connsiteY37" fmla="*/ 7977 h 9424"/>
                  <a:gd name="connsiteX38" fmla="*/ 5080 w 10000"/>
                  <a:gd name="connsiteY38" fmla="*/ 8089 h 9424"/>
                  <a:gd name="connsiteX39" fmla="*/ 5337 w 10000"/>
                  <a:gd name="connsiteY39" fmla="*/ 8201 h 9424"/>
                  <a:gd name="connsiteX40" fmla="*/ 5564 w 10000"/>
                  <a:gd name="connsiteY40" fmla="*/ 8347 h 9424"/>
                  <a:gd name="connsiteX41" fmla="*/ 5768 w 10000"/>
                  <a:gd name="connsiteY41" fmla="*/ 8253 h 9424"/>
                  <a:gd name="connsiteX42" fmla="*/ 5933 w 10000"/>
                  <a:gd name="connsiteY42" fmla="*/ 8165 h 9424"/>
                  <a:gd name="connsiteX43" fmla="*/ 6089 w 10000"/>
                  <a:gd name="connsiteY43" fmla="*/ 7971 h 9424"/>
                  <a:gd name="connsiteX44" fmla="*/ 6274 w 10000"/>
                  <a:gd name="connsiteY44" fmla="*/ 7707 h 9424"/>
                  <a:gd name="connsiteX45" fmla="*/ 6389 w 10000"/>
                  <a:gd name="connsiteY45" fmla="*/ 7584 h 9424"/>
                  <a:gd name="connsiteX46" fmla="*/ 6524 w 10000"/>
                  <a:gd name="connsiteY46" fmla="*/ 7535 h 9424"/>
                  <a:gd name="connsiteX47" fmla="*/ 6531 w 10000"/>
                  <a:gd name="connsiteY47" fmla="*/ 7380 h 9424"/>
                  <a:gd name="connsiteX48" fmla="*/ 6424 w 10000"/>
                  <a:gd name="connsiteY48" fmla="*/ 7028 h 9424"/>
                  <a:gd name="connsiteX49" fmla="*/ 6602 w 10000"/>
                  <a:gd name="connsiteY49" fmla="*/ 7037 h 9424"/>
                  <a:gd name="connsiteX50" fmla="*/ 6707 w 10000"/>
                  <a:gd name="connsiteY50" fmla="*/ 6903 h 9424"/>
                  <a:gd name="connsiteX51" fmla="*/ 6876 w 10000"/>
                  <a:gd name="connsiteY51" fmla="*/ 6904 h 9424"/>
                  <a:gd name="connsiteX52" fmla="*/ 6827 w 10000"/>
                  <a:gd name="connsiteY52" fmla="*/ 7724 h 9424"/>
                  <a:gd name="connsiteX53" fmla="*/ 6991 w 10000"/>
                  <a:gd name="connsiteY53" fmla="*/ 7818 h 9424"/>
                  <a:gd name="connsiteX54" fmla="*/ 7275 w 10000"/>
                  <a:gd name="connsiteY54" fmla="*/ 8057 h 9424"/>
                  <a:gd name="connsiteX55" fmla="*/ 7430 w 10000"/>
                  <a:gd name="connsiteY55" fmla="*/ 7688 h 9424"/>
                  <a:gd name="connsiteX56" fmla="*/ 7470 w 10000"/>
                  <a:gd name="connsiteY56" fmla="*/ 7725 h 9424"/>
                  <a:gd name="connsiteX57" fmla="*/ 7590 w 10000"/>
                  <a:gd name="connsiteY57" fmla="*/ 7500 h 9424"/>
                  <a:gd name="connsiteX58" fmla="*/ 7831 w 10000"/>
                  <a:gd name="connsiteY58" fmla="*/ 7386 h 9424"/>
                  <a:gd name="connsiteX59" fmla="*/ 7952 w 10000"/>
                  <a:gd name="connsiteY59" fmla="*/ 6969 h 9424"/>
                  <a:gd name="connsiteX60" fmla="*/ 8313 w 10000"/>
                  <a:gd name="connsiteY60" fmla="*/ 6477 h 9424"/>
                  <a:gd name="connsiteX61" fmla="*/ 8594 w 10000"/>
                  <a:gd name="connsiteY61" fmla="*/ 6249 h 9424"/>
                  <a:gd name="connsiteX62" fmla="*/ 8795 w 10000"/>
                  <a:gd name="connsiteY62" fmla="*/ 5606 h 9424"/>
                  <a:gd name="connsiteX63" fmla="*/ 8795 w 10000"/>
                  <a:gd name="connsiteY63" fmla="*/ 5455 h 9424"/>
                  <a:gd name="connsiteX64" fmla="*/ 8755 w 10000"/>
                  <a:gd name="connsiteY64" fmla="*/ 5076 h 9424"/>
                  <a:gd name="connsiteX65" fmla="*/ 9157 w 10000"/>
                  <a:gd name="connsiteY65" fmla="*/ 3711 h 9424"/>
                  <a:gd name="connsiteX66" fmla="*/ 9277 w 10000"/>
                  <a:gd name="connsiteY66" fmla="*/ 3711 h 9424"/>
                  <a:gd name="connsiteX67" fmla="*/ 9438 w 10000"/>
                  <a:gd name="connsiteY67" fmla="*/ 3598 h 9424"/>
                  <a:gd name="connsiteX68" fmla="*/ 9920 w 10000"/>
                  <a:gd name="connsiteY68" fmla="*/ 3409 h 9424"/>
                  <a:gd name="connsiteX69" fmla="*/ 10000 w 10000"/>
                  <a:gd name="connsiteY69" fmla="*/ 3106 h 9424"/>
                  <a:gd name="connsiteX70" fmla="*/ 9960 w 10000"/>
                  <a:gd name="connsiteY70" fmla="*/ 3029 h 9424"/>
                  <a:gd name="connsiteX71" fmla="*/ 9799 w 10000"/>
                  <a:gd name="connsiteY71" fmla="*/ 3029 h 9424"/>
                  <a:gd name="connsiteX72" fmla="*/ 9679 w 10000"/>
                  <a:gd name="connsiteY72" fmla="*/ 2840 h 9424"/>
                  <a:gd name="connsiteX73" fmla="*/ 9438 w 10000"/>
                  <a:gd name="connsiteY73" fmla="*/ 2766 h 9424"/>
                  <a:gd name="connsiteX74" fmla="*/ 9317 w 10000"/>
                  <a:gd name="connsiteY74" fmla="*/ 2614 h 9424"/>
                  <a:gd name="connsiteX75" fmla="*/ 9237 w 10000"/>
                  <a:gd name="connsiteY75" fmla="*/ 2046 h 9424"/>
                  <a:gd name="connsiteX76" fmla="*/ 9237 w 10000"/>
                  <a:gd name="connsiteY76" fmla="*/ 1250 h 9424"/>
                  <a:gd name="connsiteX77" fmla="*/ 9036 w 10000"/>
                  <a:gd name="connsiteY77" fmla="*/ 986 h 9424"/>
                  <a:gd name="connsiteX78" fmla="*/ 8996 w 10000"/>
                  <a:gd name="connsiteY78" fmla="*/ 720 h 9424"/>
                  <a:gd name="connsiteX79" fmla="*/ 8675 w 10000"/>
                  <a:gd name="connsiteY79" fmla="*/ 341 h 9424"/>
                  <a:gd name="connsiteX80" fmla="*/ 8394 w 10000"/>
                  <a:gd name="connsiteY80" fmla="*/ 191 h 9424"/>
                  <a:gd name="connsiteX81" fmla="*/ 8233 w 10000"/>
                  <a:gd name="connsiteY81" fmla="*/ 0 h 9424"/>
                  <a:gd name="connsiteX82" fmla="*/ 7992 w 10000"/>
                  <a:gd name="connsiteY82" fmla="*/ 191 h 9424"/>
                  <a:gd name="connsiteX83" fmla="*/ 7831 w 10000"/>
                  <a:gd name="connsiteY83" fmla="*/ 152 h 9424"/>
                  <a:gd name="connsiteX84" fmla="*/ 7711 w 10000"/>
                  <a:gd name="connsiteY84" fmla="*/ 491 h 9424"/>
                  <a:gd name="connsiteX85" fmla="*/ 7390 w 10000"/>
                  <a:gd name="connsiteY85" fmla="*/ 569 h 9424"/>
                  <a:gd name="connsiteX86" fmla="*/ 7309 w 10000"/>
                  <a:gd name="connsiteY86" fmla="*/ 832 h 9424"/>
                  <a:gd name="connsiteX87" fmla="*/ 7028 w 10000"/>
                  <a:gd name="connsiteY87" fmla="*/ 832 h 9424"/>
                  <a:gd name="connsiteX88" fmla="*/ 6787 w 10000"/>
                  <a:gd name="connsiteY88" fmla="*/ 720 h 9424"/>
                  <a:gd name="connsiteX89" fmla="*/ 6265 w 10000"/>
                  <a:gd name="connsiteY89" fmla="*/ 720 h 9424"/>
                  <a:gd name="connsiteX90" fmla="*/ 5743 w 10000"/>
                  <a:gd name="connsiteY90" fmla="*/ 720 h 9424"/>
                  <a:gd name="connsiteX91" fmla="*/ 5783 w 10000"/>
                  <a:gd name="connsiteY91" fmla="*/ 569 h 9424"/>
                  <a:gd name="connsiteX92" fmla="*/ 5703 w 10000"/>
                  <a:gd name="connsiteY92" fmla="*/ 569 h 9424"/>
                  <a:gd name="connsiteX93" fmla="*/ 5663 w 10000"/>
                  <a:gd name="connsiteY93" fmla="*/ 720 h 9424"/>
                  <a:gd name="connsiteX94" fmla="*/ 5181 w 10000"/>
                  <a:gd name="connsiteY94" fmla="*/ 720 h 9424"/>
                  <a:gd name="connsiteX95" fmla="*/ 4699 w 10000"/>
                  <a:gd name="connsiteY95" fmla="*/ 720 h 9424"/>
                  <a:gd name="connsiteX96" fmla="*/ 4217 w 10000"/>
                  <a:gd name="connsiteY96" fmla="*/ 720 h 9424"/>
                  <a:gd name="connsiteX97" fmla="*/ 3735 w 10000"/>
                  <a:gd name="connsiteY97" fmla="*/ 720 h 9424"/>
                  <a:gd name="connsiteX98" fmla="*/ 3293 w 10000"/>
                  <a:gd name="connsiteY98" fmla="*/ 720 h 9424"/>
                  <a:gd name="connsiteX99" fmla="*/ 2811 w 10000"/>
                  <a:gd name="connsiteY99" fmla="*/ 720 h 9424"/>
                  <a:gd name="connsiteX100" fmla="*/ 2369 w 10000"/>
                  <a:gd name="connsiteY100" fmla="*/ 720 h 9424"/>
                  <a:gd name="connsiteX101" fmla="*/ 1888 w 10000"/>
                  <a:gd name="connsiteY101" fmla="*/ 720 h 9424"/>
                  <a:gd name="connsiteX102" fmla="*/ 1888 w 10000"/>
                  <a:gd name="connsiteY102" fmla="*/ 1250 h 9424"/>
                  <a:gd name="connsiteX103" fmla="*/ 1888 w 10000"/>
                  <a:gd name="connsiteY103" fmla="*/ 1932 h 9424"/>
                  <a:gd name="connsiteX104" fmla="*/ 1285 w 10000"/>
                  <a:gd name="connsiteY104" fmla="*/ 1932 h 9424"/>
                  <a:gd name="connsiteX105" fmla="*/ 1285 w 10000"/>
                  <a:gd name="connsiteY105" fmla="*/ 2234 h 9424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044 w 10000"/>
                  <a:gd name="connsiteY21" fmla="*/ 9284 h 10000"/>
                  <a:gd name="connsiteX22" fmla="*/ 1365 w 10000"/>
                  <a:gd name="connsiteY22" fmla="*/ 9323 h 10000"/>
                  <a:gd name="connsiteX23" fmla="*/ 1406 w 10000"/>
                  <a:gd name="connsiteY23" fmla="*/ 9484 h 10000"/>
                  <a:gd name="connsiteX24" fmla="*/ 1767 w 10000"/>
                  <a:gd name="connsiteY24" fmla="*/ 9525 h 10000"/>
                  <a:gd name="connsiteX25" fmla="*/ 1968 w 10000"/>
                  <a:gd name="connsiteY25" fmla="*/ 9686 h 10000"/>
                  <a:gd name="connsiteX26" fmla="*/ 2239 w 10000"/>
                  <a:gd name="connsiteY26" fmla="*/ 8383 h 10000"/>
                  <a:gd name="connsiteX27" fmla="*/ 2519 w 10000"/>
                  <a:gd name="connsiteY27" fmla="*/ 8420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044 w 10000"/>
                  <a:gd name="connsiteY21" fmla="*/ 9284 h 10000"/>
                  <a:gd name="connsiteX22" fmla="*/ 1365 w 10000"/>
                  <a:gd name="connsiteY22" fmla="*/ 9323 h 10000"/>
                  <a:gd name="connsiteX23" fmla="*/ 1406 w 10000"/>
                  <a:gd name="connsiteY23" fmla="*/ 9484 h 10000"/>
                  <a:gd name="connsiteX24" fmla="*/ 1767 w 10000"/>
                  <a:gd name="connsiteY24" fmla="*/ 9525 h 10000"/>
                  <a:gd name="connsiteX25" fmla="*/ 2050 w 10000"/>
                  <a:gd name="connsiteY25" fmla="*/ 8465 h 10000"/>
                  <a:gd name="connsiteX26" fmla="*/ 2239 w 10000"/>
                  <a:gd name="connsiteY26" fmla="*/ 8383 h 10000"/>
                  <a:gd name="connsiteX27" fmla="*/ 2519 w 10000"/>
                  <a:gd name="connsiteY27" fmla="*/ 8420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044 w 10000"/>
                  <a:gd name="connsiteY21" fmla="*/ 9284 h 10000"/>
                  <a:gd name="connsiteX22" fmla="*/ 1365 w 10000"/>
                  <a:gd name="connsiteY22" fmla="*/ 9323 h 10000"/>
                  <a:gd name="connsiteX23" fmla="*/ 1406 w 10000"/>
                  <a:gd name="connsiteY23" fmla="*/ 9484 h 10000"/>
                  <a:gd name="connsiteX24" fmla="*/ 1767 w 10000"/>
                  <a:gd name="connsiteY24" fmla="*/ 8782 h 10000"/>
                  <a:gd name="connsiteX25" fmla="*/ 2050 w 10000"/>
                  <a:gd name="connsiteY25" fmla="*/ 8465 h 10000"/>
                  <a:gd name="connsiteX26" fmla="*/ 2239 w 10000"/>
                  <a:gd name="connsiteY26" fmla="*/ 8383 h 10000"/>
                  <a:gd name="connsiteX27" fmla="*/ 2519 w 10000"/>
                  <a:gd name="connsiteY27" fmla="*/ 8420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044 w 10000"/>
                  <a:gd name="connsiteY21" fmla="*/ 9284 h 10000"/>
                  <a:gd name="connsiteX22" fmla="*/ 1365 w 10000"/>
                  <a:gd name="connsiteY22" fmla="*/ 9323 h 10000"/>
                  <a:gd name="connsiteX23" fmla="*/ 1406 w 10000"/>
                  <a:gd name="connsiteY23" fmla="*/ 9484 h 10000"/>
                  <a:gd name="connsiteX24" fmla="*/ 1767 w 10000"/>
                  <a:gd name="connsiteY24" fmla="*/ 8782 h 10000"/>
                  <a:gd name="connsiteX25" fmla="*/ 2050 w 10000"/>
                  <a:gd name="connsiteY25" fmla="*/ 8465 h 10000"/>
                  <a:gd name="connsiteX26" fmla="*/ 2239 w 10000"/>
                  <a:gd name="connsiteY26" fmla="*/ 8383 h 10000"/>
                  <a:gd name="connsiteX27" fmla="*/ 2519 w 10000"/>
                  <a:gd name="connsiteY27" fmla="*/ 8420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65 w 10000"/>
                  <a:gd name="connsiteY22" fmla="*/ 9323 h 10000"/>
                  <a:gd name="connsiteX23" fmla="*/ 1406 w 10000"/>
                  <a:gd name="connsiteY23" fmla="*/ 9484 h 10000"/>
                  <a:gd name="connsiteX24" fmla="*/ 1767 w 10000"/>
                  <a:gd name="connsiteY24" fmla="*/ 8782 h 10000"/>
                  <a:gd name="connsiteX25" fmla="*/ 2050 w 10000"/>
                  <a:gd name="connsiteY25" fmla="*/ 8465 h 10000"/>
                  <a:gd name="connsiteX26" fmla="*/ 2239 w 10000"/>
                  <a:gd name="connsiteY26" fmla="*/ 8383 h 10000"/>
                  <a:gd name="connsiteX27" fmla="*/ 2519 w 10000"/>
                  <a:gd name="connsiteY27" fmla="*/ 8420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06 w 10000"/>
                  <a:gd name="connsiteY23" fmla="*/ 9484 h 10000"/>
                  <a:gd name="connsiteX24" fmla="*/ 1767 w 10000"/>
                  <a:gd name="connsiteY24" fmla="*/ 8782 h 10000"/>
                  <a:gd name="connsiteX25" fmla="*/ 2050 w 10000"/>
                  <a:gd name="connsiteY25" fmla="*/ 8465 h 10000"/>
                  <a:gd name="connsiteX26" fmla="*/ 2239 w 10000"/>
                  <a:gd name="connsiteY26" fmla="*/ 8383 h 10000"/>
                  <a:gd name="connsiteX27" fmla="*/ 2519 w 10000"/>
                  <a:gd name="connsiteY27" fmla="*/ 8420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2050 w 10000"/>
                  <a:gd name="connsiteY25" fmla="*/ 8465 h 10000"/>
                  <a:gd name="connsiteX26" fmla="*/ 2239 w 10000"/>
                  <a:gd name="connsiteY26" fmla="*/ 8383 h 10000"/>
                  <a:gd name="connsiteX27" fmla="*/ 2519 w 10000"/>
                  <a:gd name="connsiteY27" fmla="*/ 8420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239 w 10000"/>
                  <a:gd name="connsiteY26" fmla="*/ 8383 h 10000"/>
                  <a:gd name="connsiteX27" fmla="*/ 2519 w 10000"/>
                  <a:gd name="connsiteY27" fmla="*/ 8420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519 w 10000"/>
                  <a:gd name="connsiteY27" fmla="*/ 8420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338 w 10000"/>
                  <a:gd name="connsiteY27" fmla="*/ 8354 h 10000"/>
                  <a:gd name="connsiteX28" fmla="*/ 2679 w 10000"/>
                  <a:gd name="connsiteY28" fmla="*/ 8902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338 w 10000"/>
                  <a:gd name="connsiteY27" fmla="*/ 8354 h 10000"/>
                  <a:gd name="connsiteX28" fmla="*/ 2613 w 10000"/>
                  <a:gd name="connsiteY28" fmla="*/ 8588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338 w 10000"/>
                  <a:gd name="connsiteY27" fmla="*/ 8354 h 10000"/>
                  <a:gd name="connsiteX28" fmla="*/ 2613 w 10000"/>
                  <a:gd name="connsiteY28" fmla="*/ 8588 h 10000"/>
                  <a:gd name="connsiteX29" fmla="*/ 2890 w 10000"/>
                  <a:gd name="connsiteY29" fmla="*/ 8879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338 w 10000"/>
                  <a:gd name="connsiteY27" fmla="*/ 8354 h 10000"/>
                  <a:gd name="connsiteX28" fmla="*/ 2890 w 10000"/>
                  <a:gd name="connsiteY28" fmla="*/ 8879 h 10000"/>
                  <a:gd name="connsiteX29" fmla="*/ 3167 w 10000"/>
                  <a:gd name="connsiteY29" fmla="*/ 8888 h 10000"/>
                  <a:gd name="connsiteX30" fmla="*/ 3537 w 10000"/>
                  <a:gd name="connsiteY30" fmla="*/ 8827 h 10000"/>
                  <a:gd name="connsiteX31" fmla="*/ 3795 w 10000"/>
                  <a:gd name="connsiteY31" fmla="*/ 9030 h 10000"/>
                  <a:gd name="connsiteX32" fmla="*/ 4153 w 10000"/>
                  <a:gd name="connsiteY32" fmla="*/ 9108 h 10000"/>
                  <a:gd name="connsiteX33" fmla="*/ 4406 w 10000"/>
                  <a:gd name="connsiteY33" fmla="*/ 9050 h 10000"/>
                  <a:gd name="connsiteX34" fmla="*/ 4600 w 10000"/>
                  <a:gd name="connsiteY34" fmla="*/ 8903 h 10000"/>
                  <a:gd name="connsiteX35" fmla="*/ 4762 w 10000"/>
                  <a:gd name="connsiteY35" fmla="*/ 8631 h 10000"/>
                  <a:gd name="connsiteX36" fmla="*/ 4901 w 10000"/>
                  <a:gd name="connsiteY36" fmla="*/ 8465 h 10000"/>
                  <a:gd name="connsiteX37" fmla="*/ 5080 w 10000"/>
                  <a:gd name="connsiteY37" fmla="*/ 8583 h 10000"/>
                  <a:gd name="connsiteX38" fmla="*/ 5337 w 10000"/>
                  <a:gd name="connsiteY38" fmla="*/ 8702 h 10000"/>
                  <a:gd name="connsiteX39" fmla="*/ 5564 w 10000"/>
                  <a:gd name="connsiteY39" fmla="*/ 8857 h 10000"/>
                  <a:gd name="connsiteX40" fmla="*/ 5768 w 10000"/>
                  <a:gd name="connsiteY40" fmla="*/ 8757 h 10000"/>
                  <a:gd name="connsiteX41" fmla="*/ 5933 w 10000"/>
                  <a:gd name="connsiteY41" fmla="*/ 8664 h 10000"/>
                  <a:gd name="connsiteX42" fmla="*/ 6089 w 10000"/>
                  <a:gd name="connsiteY42" fmla="*/ 8458 h 10000"/>
                  <a:gd name="connsiteX43" fmla="*/ 6274 w 10000"/>
                  <a:gd name="connsiteY43" fmla="*/ 8178 h 10000"/>
                  <a:gd name="connsiteX44" fmla="*/ 6389 w 10000"/>
                  <a:gd name="connsiteY44" fmla="*/ 8048 h 10000"/>
                  <a:gd name="connsiteX45" fmla="*/ 6524 w 10000"/>
                  <a:gd name="connsiteY45" fmla="*/ 7996 h 10000"/>
                  <a:gd name="connsiteX46" fmla="*/ 6531 w 10000"/>
                  <a:gd name="connsiteY46" fmla="*/ 7831 h 10000"/>
                  <a:gd name="connsiteX47" fmla="*/ 6424 w 10000"/>
                  <a:gd name="connsiteY47" fmla="*/ 7458 h 10000"/>
                  <a:gd name="connsiteX48" fmla="*/ 6602 w 10000"/>
                  <a:gd name="connsiteY48" fmla="*/ 7467 h 10000"/>
                  <a:gd name="connsiteX49" fmla="*/ 6707 w 10000"/>
                  <a:gd name="connsiteY49" fmla="*/ 7325 h 10000"/>
                  <a:gd name="connsiteX50" fmla="*/ 6876 w 10000"/>
                  <a:gd name="connsiteY50" fmla="*/ 7326 h 10000"/>
                  <a:gd name="connsiteX51" fmla="*/ 6827 w 10000"/>
                  <a:gd name="connsiteY51" fmla="*/ 8196 h 10000"/>
                  <a:gd name="connsiteX52" fmla="*/ 6991 w 10000"/>
                  <a:gd name="connsiteY52" fmla="*/ 8296 h 10000"/>
                  <a:gd name="connsiteX53" fmla="*/ 7275 w 10000"/>
                  <a:gd name="connsiteY53" fmla="*/ 8549 h 10000"/>
                  <a:gd name="connsiteX54" fmla="*/ 7430 w 10000"/>
                  <a:gd name="connsiteY54" fmla="*/ 8158 h 10000"/>
                  <a:gd name="connsiteX55" fmla="*/ 7470 w 10000"/>
                  <a:gd name="connsiteY55" fmla="*/ 8197 h 10000"/>
                  <a:gd name="connsiteX56" fmla="*/ 7590 w 10000"/>
                  <a:gd name="connsiteY56" fmla="*/ 7958 h 10000"/>
                  <a:gd name="connsiteX57" fmla="*/ 7831 w 10000"/>
                  <a:gd name="connsiteY57" fmla="*/ 7837 h 10000"/>
                  <a:gd name="connsiteX58" fmla="*/ 7952 w 10000"/>
                  <a:gd name="connsiteY58" fmla="*/ 7395 h 10000"/>
                  <a:gd name="connsiteX59" fmla="*/ 8313 w 10000"/>
                  <a:gd name="connsiteY59" fmla="*/ 6873 h 10000"/>
                  <a:gd name="connsiteX60" fmla="*/ 8594 w 10000"/>
                  <a:gd name="connsiteY60" fmla="*/ 6631 h 10000"/>
                  <a:gd name="connsiteX61" fmla="*/ 8795 w 10000"/>
                  <a:gd name="connsiteY61" fmla="*/ 5949 h 10000"/>
                  <a:gd name="connsiteX62" fmla="*/ 8795 w 10000"/>
                  <a:gd name="connsiteY62" fmla="*/ 5788 h 10000"/>
                  <a:gd name="connsiteX63" fmla="*/ 8755 w 10000"/>
                  <a:gd name="connsiteY63" fmla="*/ 5386 h 10000"/>
                  <a:gd name="connsiteX64" fmla="*/ 9157 w 10000"/>
                  <a:gd name="connsiteY64" fmla="*/ 3938 h 10000"/>
                  <a:gd name="connsiteX65" fmla="*/ 9277 w 10000"/>
                  <a:gd name="connsiteY65" fmla="*/ 3938 h 10000"/>
                  <a:gd name="connsiteX66" fmla="*/ 9438 w 10000"/>
                  <a:gd name="connsiteY66" fmla="*/ 3818 h 10000"/>
                  <a:gd name="connsiteX67" fmla="*/ 9920 w 10000"/>
                  <a:gd name="connsiteY67" fmla="*/ 3617 h 10000"/>
                  <a:gd name="connsiteX68" fmla="*/ 10000 w 10000"/>
                  <a:gd name="connsiteY68" fmla="*/ 3296 h 10000"/>
                  <a:gd name="connsiteX69" fmla="*/ 9960 w 10000"/>
                  <a:gd name="connsiteY69" fmla="*/ 3214 h 10000"/>
                  <a:gd name="connsiteX70" fmla="*/ 9799 w 10000"/>
                  <a:gd name="connsiteY70" fmla="*/ 3214 h 10000"/>
                  <a:gd name="connsiteX71" fmla="*/ 9679 w 10000"/>
                  <a:gd name="connsiteY71" fmla="*/ 3014 h 10000"/>
                  <a:gd name="connsiteX72" fmla="*/ 9438 w 10000"/>
                  <a:gd name="connsiteY72" fmla="*/ 2935 h 10000"/>
                  <a:gd name="connsiteX73" fmla="*/ 9317 w 10000"/>
                  <a:gd name="connsiteY73" fmla="*/ 2774 h 10000"/>
                  <a:gd name="connsiteX74" fmla="*/ 9237 w 10000"/>
                  <a:gd name="connsiteY74" fmla="*/ 2171 h 10000"/>
                  <a:gd name="connsiteX75" fmla="*/ 9237 w 10000"/>
                  <a:gd name="connsiteY75" fmla="*/ 1326 h 10000"/>
                  <a:gd name="connsiteX76" fmla="*/ 9036 w 10000"/>
                  <a:gd name="connsiteY76" fmla="*/ 1046 h 10000"/>
                  <a:gd name="connsiteX77" fmla="*/ 8996 w 10000"/>
                  <a:gd name="connsiteY77" fmla="*/ 764 h 10000"/>
                  <a:gd name="connsiteX78" fmla="*/ 8675 w 10000"/>
                  <a:gd name="connsiteY78" fmla="*/ 362 h 10000"/>
                  <a:gd name="connsiteX79" fmla="*/ 8394 w 10000"/>
                  <a:gd name="connsiteY79" fmla="*/ 203 h 10000"/>
                  <a:gd name="connsiteX80" fmla="*/ 8233 w 10000"/>
                  <a:gd name="connsiteY80" fmla="*/ 0 h 10000"/>
                  <a:gd name="connsiteX81" fmla="*/ 7992 w 10000"/>
                  <a:gd name="connsiteY81" fmla="*/ 203 h 10000"/>
                  <a:gd name="connsiteX82" fmla="*/ 7831 w 10000"/>
                  <a:gd name="connsiteY82" fmla="*/ 161 h 10000"/>
                  <a:gd name="connsiteX83" fmla="*/ 7711 w 10000"/>
                  <a:gd name="connsiteY83" fmla="*/ 521 h 10000"/>
                  <a:gd name="connsiteX84" fmla="*/ 7390 w 10000"/>
                  <a:gd name="connsiteY84" fmla="*/ 604 h 10000"/>
                  <a:gd name="connsiteX85" fmla="*/ 7309 w 10000"/>
                  <a:gd name="connsiteY85" fmla="*/ 883 h 10000"/>
                  <a:gd name="connsiteX86" fmla="*/ 7028 w 10000"/>
                  <a:gd name="connsiteY86" fmla="*/ 883 h 10000"/>
                  <a:gd name="connsiteX87" fmla="*/ 6787 w 10000"/>
                  <a:gd name="connsiteY87" fmla="*/ 764 h 10000"/>
                  <a:gd name="connsiteX88" fmla="*/ 6265 w 10000"/>
                  <a:gd name="connsiteY88" fmla="*/ 764 h 10000"/>
                  <a:gd name="connsiteX89" fmla="*/ 5743 w 10000"/>
                  <a:gd name="connsiteY89" fmla="*/ 764 h 10000"/>
                  <a:gd name="connsiteX90" fmla="*/ 5783 w 10000"/>
                  <a:gd name="connsiteY90" fmla="*/ 604 h 10000"/>
                  <a:gd name="connsiteX91" fmla="*/ 5703 w 10000"/>
                  <a:gd name="connsiteY91" fmla="*/ 604 h 10000"/>
                  <a:gd name="connsiteX92" fmla="*/ 5663 w 10000"/>
                  <a:gd name="connsiteY92" fmla="*/ 764 h 10000"/>
                  <a:gd name="connsiteX93" fmla="*/ 5181 w 10000"/>
                  <a:gd name="connsiteY93" fmla="*/ 764 h 10000"/>
                  <a:gd name="connsiteX94" fmla="*/ 4699 w 10000"/>
                  <a:gd name="connsiteY94" fmla="*/ 764 h 10000"/>
                  <a:gd name="connsiteX95" fmla="*/ 4217 w 10000"/>
                  <a:gd name="connsiteY95" fmla="*/ 764 h 10000"/>
                  <a:gd name="connsiteX96" fmla="*/ 3735 w 10000"/>
                  <a:gd name="connsiteY96" fmla="*/ 764 h 10000"/>
                  <a:gd name="connsiteX97" fmla="*/ 3293 w 10000"/>
                  <a:gd name="connsiteY97" fmla="*/ 764 h 10000"/>
                  <a:gd name="connsiteX98" fmla="*/ 2811 w 10000"/>
                  <a:gd name="connsiteY98" fmla="*/ 764 h 10000"/>
                  <a:gd name="connsiteX99" fmla="*/ 2369 w 10000"/>
                  <a:gd name="connsiteY99" fmla="*/ 764 h 10000"/>
                  <a:gd name="connsiteX100" fmla="*/ 1888 w 10000"/>
                  <a:gd name="connsiteY100" fmla="*/ 764 h 10000"/>
                  <a:gd name="connsiteX101" fmla="*/ 1888 w 10000"/>
                  <a:gd name="connsiteY101" fmla="*/ 1326 h 10000"/>
                  <a:gd name="connsiteX102" fmla="*/ 1888 w 10000"/>
                  <a:gd name="connsiteY102" fmla="*/ 2050 h 10000"/>
                  <a:gd name="connsiteX103" fmla="*/ 1285 w 10000"/>
                  <a:gd name="connsiteY103" fmla="*/ 2050 h 10000"/>
                  <a:gd name="connsiteX104" fmla="*/ 1285 w 10000"/>
                  <a:gd name="connsiteY104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338 w 10000"/>
                  <a:gd name="connsiteY27" fmla="*/ 8354 h 10000"/>
                  <a:gd name="connsiteX28" fmla="*/ 2643 w 10000"/>
                  <a:gd name="connsiteY28" fmla="*/ 8747 h 10000"/>
                  <a:gd name="connsiteX29" fmla="*/ 3167 w 10000"/>
                  <a:gd name="connsiteY29" fmla="*/ 8888 h 10000"/>
                  <a:gd name="connsiteX30" fmla="*/ 3537 w 10000"/>
                  <a:gd name="connsiteY30" fmla="*/ 8827 h 10000"/>
                  <a:gd name="connsiteX31" fmla="*/ 3795 w 10000"/>
                  <a:gd name="connsiteY31" fmla="*/ 9030 h 10000"/>
                  <a:gd name="connsiteX32" fmla="*/ 4153 w 10000"/>
                  <a:gd name="connsiteY32" fmla="*/ 9108 h 10000"/>
                  <a:gd name="connsiteX33" fmla="*/ 4406 w 10000"/>
                  <a:gd name="connsiteY33" fmla="*/ 9050 h 10000"/>
                  <a:gd name="connsiteX34" fmla="*/ 4600 w 10000"/>
                  <a:gd name="connsiteY34" fmla="*/ 8903 h 10000"/>
                  <a:gd name="connsiteX35" fmla="*/ 4762 w 10000"/>
                  <a:gd name="connsiteY35" fmla="*/ 8631 h 10000"/>
                  <a:gd name="connsiteX36" fmla="*/ 4901 w 10000"/>
                  <a:gd name="connsiteY36" fmla="*/ 8465 h 10000"/>
                  <a:gd name="connsiteX37" fmla="*/ 5080 w 10000"/>
                  <a:gd name="connsiteY37" fmla="*/ 8583 h 10000"/>
                  <a:gd name="connsiteX38" fmla="*/ 5337 w 10000"/>
                  <a:gd name="connsiteY38" fmla="*/ 8702 h 10000"/>
                  <a:gd name="connsiteX39" fmla="*/ 5564 w 10000"/>
                  <a:gd name="connsiteY39" fmla="*/ 8857 h 10000"/>
                  <a:gd name="connsiteX40" fmla="*/ 5768 w 10000"/>
                  <a:gd name="connsiteY40" fmla="*/ 8757 h 10000"/>
                  <a:gd name="connsiteX41" fmla="*/ 5933 w 10000"/>
                  <a:gd name="connsiteY41" fmla="*/ 8664 h 10000"/>
                  <a:gd name="connsiteX42" fmla="*/ 6089 w 10000"/>
                  <a:gd name="connsiteY42" fmla="*/ 8458 h 10000"/>
                  <a:gd name="connsiteX43" fmla="*/ 6274 w 10000"/>
                  <a:gd name="connsiteY43" fmla="*/ 8178 h 10000"/>
                  <a:gd name="connsiteX44" fmla="*/ 6389 w 10000"/>
                  <a:gd name="connsiteY44" fmla="*/ 8048 h 10000"/>
                  <a:gd name="connsiteX45" fmla="*/ 6524 w 10000"/>
                  <a:gd name="connsiteY45" fmla="*/ 7996 h 10000"/>
                  <a:gd name="connsiteX46" fmla="*/ 6531 w 10000"/>
                  <a:gd name="connsiteY46" fmla="*/ 7831 h 10000"/>
                  <a:gd name="connsiteX47" fmla="*/ 6424 w 10000"/>
                  <a:gd name="connsiteY47" fmla="*/ 7458 h 10000"/>
                  <a:gd name="connsiteX48" fmla="*/ 6602 w 10000"/>
                  <a:gd name="connsiteY48" fmla="*/ 7467 h 10000"/>
                  <a:gd name="connsiteX49" fmla="*/ 6707 w 10000"/>
                  <a:gd name="connsiteY49" fmla="*/ 7325 h 10000"/>
                  <a:gd name="connsiteX50" fmla="*/ 6876 w 10000"/>
                  <a:gd name="connsiteY50" fmla="*/ 7326 h 10000"/>
                  <a:gd name="connsiteX51" fmla="*/ 6827 w 10000"/>
                  <a:gd name="connsiteY51" fmla="*/ 8196 h 10000"/>
                  <a:gd name="connsiteX52" fmla="*/ 6991 w 10000"/>
                  <a:gd name="connsiteY52" fmla="*/ 8296 h 10000"/>
                  <a:gd name="connsiteX53" fmla="*/ 7275 w 10000"/>
                  <a:gd name="connsiteY53" fmla="*/ 8549 h 10000"/>
                  <a:gd name="connsiteX54" fmla="*/ 7430 w 10000"/>
                  <a:gd name="connsiteY54" fmla="*/ 8158 h 10000"/>
                  <a:gd name="connsiteX55" fmla="*/ 7470 w 10000"/>
                  <a:gd name="connsiteY55" fmla="*/ 8197 h 10000"/>
                  <a:gd name="connsiteX56" fmla="*/ 7590 w 10000"/>
                  <a:gd name="connsiteY56" fmla="*/ 7958 h 10000"/>
                  <a:gd name="connsiteX57" fmla="*/ 7831 w 10000"/>
                  <a:gd name="connsiteY57" fmla="*/ 7837 h 10000"/>
                  <a:gd name="connsiteX58" fmla="*/ 7952 w 10000"/>
                  <a:gd name="connsiteY58" fmla="*/ 7395 h 10000"/>
                  <a:gd name="connsiteX59" fmla="*/ 8313 w 10000"/>
                  <a:gd name="connsiteY59" fmla="*/ 6873 h 10000"/>
                  <a:gd name="connsiteX60" fmla="*/ 8594 w 10000"/>
                  <a:gd name="connsiteY60" fmla="*/ 6631 h 10000"/>
                  <a:gd name="connsiteX61" fmla="*/ 8795 w 10000"/>
                  <a:gd name="connsiteY61" fmla="*/ 5949 h 10000"/>
                  <a:gd name="connsiteX62" fmla="*/ 8795 w 10000"/>
                  <a:gd name="connsiteY62" fmla="*/ 5788 h 10000"/>
                  <a:gd name="connsiteX63" fmla="*/ 8755 w 10000"/>
                  <a:gd name="connsiteY63" fmla="*/ 5386 h 10000"/>
                  <a:gd name="connsiteX64" fmla="*/ 9157 w 10000"/>
                  <a:gd name="connsiteY64" fmla="*/ 3938 h 10000"/>
                  <a:gd name="connsiteX65" fmla="*/ 9277 w 10000"/>
                  <a:gd name="connsiteY65" fmla="*/ 3938 h 10000"/>
                  <a:gd name="connsiteX66" fmla="*/ 9438 w 10000"/>
                  <a:gd name="connsiteY66" fmla="*/ 3818 h 10000"/>
                  <a:gd name="connsiteX67" fmla="*/ 9920 w 10000"/>
                  <a:gd name="connsiteY67" fmla="*/ 3617 h 10000"/>
                  <a:gd name="connsiteX68" fmla="*/ 10000 w 10000"/>
                  <a:gd name="connsiteY68" fmla="*/ 3296 h 10000"/>
                  <a:gd name="connsiteX69" fmla="*/ 9960 w 10000"/>
                  <a:gd name="connsiteY69" fmla="*/ 3214 h 10000"/>
                  <a:gd name="connsiteX70" fmla="*/ 9799 w 10000"/>
                  <a:gd name="connsiteY70" fmla="*/ 3214 h 10000"/>
                  <a:gd name="connsiteX71" fmla="*/ 9679 w 10000"/>
                  <a:gd name="connsiteY71" fmla="*/ 3014 h 10000"/>
                  <a:gd name="connsiteX72" fmla="*/ 9438 w 10000"/>
                  <a:gd name="connsiteY72" fmla="*/ 2935 h 10000"/>
                  <a:gd name="connsiteX73" fmla="*/ 9317 w 10000"/>
                  <a:gd name="connsiteY73" fmla="*/ 2774 h 10000"/>
                  <a:gd name="connsiteX74" fmla="*/ 9237 w 10000"/>
                  <a:gd name="connsiteY74" fmla="*/ 2171 h 10000"/>
                  <a:gd name="connsiteX75" fmla="*/ 9237 w 10000"/>
                  <a:gd name="connsiteY75" fmla="*/ 1326 h 10000"/>
                  <a:gd name="connsiteX76" fmla="*/ 9036 w 10000"/>
                  <a:gd name="connsiteY76" fmla="*/ 1046 h 10000"/>
                  <a:gd name="connsiteX77" fmla="*/ 8996 w 10000"/>
                  <a:gd name="connsiteY77" fmla="*/ 764 h 10000"/>
                  <a:gd name="connsiteX78" fmla="*/ 8675 w 10000"/>
                  <a:gd name="connsiteY78" fmla="*/ 362 h 10000"/>
                  <a:gd name="connsiteX79" fmla="*/ 8394 w 10000"/>
                  <a:gd name="connsiteY79" fmla="*/ 203 h 10000"/>
                  <a:gd name="connsiteX80" fmla="*/ 8233 w 10000"/>
                  <a:gd name="connsiteY80" fmla="*/ 0 h 10000"/>
                  <a:gd name="connsiteX81" fmla="*/ 7992 w 10000"/>
                  <a:gd name="connsiteY81" fmla="*/ 203 h 10000"/>
                  <a:gd name="connsiteX82" fmla="*/ 7831 w 10000"/>
                  <a:gd name="connsiteY82" fmla="*/ 161 h 10000"/>
                  <a:gd name="connsiteX83" fmla="*/ 7711 w 10000"/>
                  <a:gd name="connsiteY83" fmla="*/ 521 h 10000"/>
                  <a:gd name="connsiteX84" fmla="*/ 7390 w 10000"/>
                  <a:gd name="connsiteY84" fmla="*/ 604 h 10000"/>
                  <a:gd name="connsiteX85" fmla="*/ 7309 w 10000"/>
                  <a:gd name="connsiteY85" fmla="*/ 883 h 10000"/>
                  <a:gd name="connsiteX86" fmla="*/ 7028 w 10000"/>
                  <a:gd name="connsiteY86" fmla="*/ 883 h 10000"/>
                  <a:gd name="connsiteX87" fmla="*/ 6787 w 10000"/>
                  <a:gd name="connsiteY87" fmla="*/ 764 h 10000"/>
                  <a:gd name="connsiteX88" fmla="*/ 6265 w 10000"/>
                  <a:gd name="connsiteY88" fmla="*/ 764 h 10000"/>
                  <a:gd name="connsiteX89" fmla="*/ 5743 w 10000"/>
                  <a:gd name="connsiteY89" fmla="*/ 764 h 10000"/>
                  <a:gd name="connsiteX90" fmla="*/ 5783 w 10000"/>
                  <a:gd name="connsiteY90" fmla="*/ 604 h 10000"/>
                  <a:gd name="connsiteX91" fmla="*/ 5703 w 10000"/>
                  <a:gd name="connsiteY91" fmla="*/ 604 h 10000"/>
                  <a:gd name="connsiteX92" fmla="*/ 5663 w 10000"/>
                  <a:gd name="connsiteY92" fmla="*/ 764 h 10000"/>
                  <a:gd name="connsiteX93" fmla="*/ 5181 w 10000"/>
                  <a:gd name="connsiteY93" fmla="*/ 764 h 10000"/>
                  <a:gd name="connsiteX94" fmla="*/ 4699 w 10000"/>
                  <a:gd name="connsiteY94" fmla="*/ 764 h 10000"/>
                  <a:gd name="connsiteX95" fmla="*/ 4217 w 10000"/>
                  <a:gd name="connsiteY95" fmla="*/ 764 h 10000"/>
                  <a:gd name="connsiteX96" fmla="*/ 3735 w 10000"/>
                  <a:gd name="connsiteY96" fmla="*/ 764 h 10000"/>
                  <a:gd name="connsiteX97" fmla="*/ 3293 w 10000"/>
                  <a:gd name="connsiteY97" fmla="*/ 764 h 10000"/>
                  <a:gd name="connsiteX98" fmla="*/ 2811 w 10000"/>
                  <a:gd name="connsiteY98" fmla="*/ 764 h 10000"/>
                  <a:gd name="connsiteX99" fmla="*/ 2369 w 10000"/>
                  <a:gd name="connsiteY99" fmla="*/ 764 h 10000"/>
                  <a:gd name="connsiteX100" fmla="*/ 1888 w 10000"/>
                  <a:gd name="connsiteY100" fmla="*/ 764 h 10000"/>
                  <a:gd name="connsiteX101" fmla="*/ 1888 w 10000"/>
                  <a:gd name="connsiteY101" fmla="*/ 1326 h 10000"/>
                  <a:gd name="connsiteX102" fmla="*/ 1888 w 10000"/>
                  <a:gd name="connsiteY102" fmla="*/ 2050 h 10000"/>
                  <a:gd name="connsiteX103" fmla="*/ 1285 w 10000"/>
                  <a:gd name="connsiteY103" fmla="*/ 2050 h 10000"/>
                  <a:gd name="connsiteX104" fmla="*/ 1285 w 10000"/>
                  <a:gd name="connsiteY104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338 w 10000"/>
                  <a:gd name="connsiteY27" fmla="*/ 8354 h 10000"/>
                  <a:gd name="connsiteX28" fmla="*/ 2643 w 10000"/>
                  <a:gd name="connsiteY28" fmla="*/ 8747 h 10000"/>
                  <a:gd name="connsiteX29" fmla="*/ 2960 w 10000"/>
                  <a:gd name="connsiteY29" fmla="*/ 8802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338 w 10000"/>
                  <a:gd name="connsiteY27" fmla="*/ 8354 h 10000"/>
                  <a:gd name="connsiteX28" fmla="*/ 2643 w 10000"/>
                  <a:gd name="connsiteY28" fmla="*/ 8747 h 10000"/>
                  <a:gd name="connsiteX29" fmla="*/ 2911 w 10000"/>
                  <a:gd name="connsiteY29" fmla="*/ 8918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424 w 10000"/>
                  <a:gd name="connsiteY48" fmla="*/ 7458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338 w 10000"/>
                  <a:gd name="connsiteY27" fmla="*/ 8354 h 10000"/>
                  <a:gd name="connsiteX28" fmla="*/ 2643 w 10000"/>
                  <a:gd name="connsiteY28" fmla="*/ 8747 h 10000"/>
                  <a:gd name="connsiteX29" fmla="*/ 2911 w 10000"/>
                  <a:gd name="connsiteY29" fmla="*/ 8918 h 10000"/>
                  <a:gd name="connsiteX30" fmla="*/ 3167 w 10000"/>
                  <a:gd name="connsiteY30" fmla="*/ 8888 h 10000"/>
                  <a:gd name="connsiteX31" fmla="*/ 3537 w 10000"/>
                  <a:gd name="connsiteY31" fmla="*/ 8827 h 10000"/>
                  <a:gd name="connsiteX32" fmla="*/ 3795 w 10000"/>
                  <a:gd name="connsiteY32" fmla="*/ 9030 h 10000"/>
                  <a:gd name="connsiteX33" fmla="*/ 4153 w 10000"/>
                  <a:gd name="connsiteY33" fmla="*/ 9108 h 10000"/>
                  <a:gd name="connsiteX34" fmla="*/ 4406 w 10000"/>
                  <a:gd name="connsiteY34" fmla="*/ 9050 h 10000"/>
                  <a:gd name="connsiteX35" fmla="*/ 4600 w 10000"/>
                  <a:gd name="connsiteY35" fmla="*/ 8903 h 10000"/>
                  <a:gd name="connsiteX36" fmla="*/ 4762 w 10000"/>
                  <a:gd name="connsiteY36" fmla="*/ 8631 h 10000"/>
                  <a:gd name="connsiteX37" fmla="*/ 4901 w 10000"/>
                  <a:gd name="connsiteY37" fmla="*/ 8465 h 10000"/>
                  <a:gd name="connsiteX38" fmla="*/ 5080 w 10000"/>
                  <a:gd name="connsiteY38" fmla="*/ 8583 h 10000"/>
                  <a:gd name="connsiteX39" fmla="*/ 5337 w 10000"/>
                  <a:gd name="connsiteY39" fmla="*/ 8702 h 10000"/>
                  <a:gd name="connsiteX40" fmla="*/ 5564 w 10000"/>
                  <a:gd name="connsiteY40" fmla="*/ 8857 h 10000"/>
                  <a:gd name="connsiteX41" fmla="*/ 5768 w 10000"/>
                  <a:gd name="connsiteY41" fmla="*/ 8757 h 10000"/>
                  <a:gd name="connsiteX42" fmla="*/ 5933 w 10000"/>
                  <a:gd name="connsiteY42" fmla="*/ 8664 h 10000"/>
                  <a:gd name="connsiteX43" fmla="*/ 6089 w 10000"/>
                  <a:gd name="connsiteY43" fmla="*/ 8458 h 10000"/>
                  <a:gd name="connsiteX44" fmla="*/ 6274 w 10000"/>
                  <a:gd name="connsiteY44" fmla="*/ 8178 h 10000"/>
                  <a:gd name="connsiteX45" fmla="*/ 6389 w 10000"/>
                  <a:gd name="connsiteY45" fmla="*/ 8048 h 10000"/>
                  <a:gd name="connsiteX46" fmla="*/ 6524 w 10000"/>
                  <a:gd name="connsiteY46" fmla="*/ 7996 h 10000"/>
                  <a:gd name="connsiteX47" fmla="*/ 6531 w 10000"/>
                  <a:gd name="connsiteY47" fmla="*/ 7831 h 10000"/>
                  <a:gd name="connsiteX48" fmla="*/ 6572 w 10000"/>
                  <a:gd name="connsiteY48" fmla="*/ 7640 h 10000"/>
                  <a:gd name="connsiteX49" fmla="*/ 6602 w 10000"/>
                  <a:gd name="connsiteY49" fmla="*/ 7467 h 10000"/>
                  <a:gd name="connsiteX50" fmla="*/ 6707 w 10000"/>
                  <a:gd name="connsiteY50" fmla="*/ 7325 h 10000"/>
                  <a:gd name="connsiteX51" fmla="*/ 6876 w 10000"/>
                  <a:gd name="connsiteY51" fmla="*/ 7326 h 10000"/>
                  <a:gd name="connsiteX52" fmla="*/ 6827 w 10000"/>
                  <a:gd name="connsiteY52" fmla="*/ 8196 h 10000"/>
                  <a:gd name="connsiteX53" fmla="*/ 6991 w 10000"/>
                  <a:gd name="connsiteY53" fmla="*/ 8296 h 10000"/>
                  <a:gd name="connsiteX54" fmla="*/ 7275 w 10000"/>
                  <a:gd name="connsiteY54" fmla="*/ 8549 h 10000"/>
                  <a:gd name="connsiteX55" fmla="*/ 7430 w 10000"/>
                  <a:gd name="connsiteY55" fmla="*/ 8158 h 10000"/>
                  <a:gd name="connsiteX56" fmla="*/ 7470 w 10000"/>
                  <a:gd name="connsiteY56" fmla="*/ 8197 h 10000"/>
                  <a:gd name="connsiteX57" fmla="*/ 7590 w 10000"/>
                  <a:gd name="connsiteY57" fmla="*/ 7958 h 10000"/>
                  <a:gd name="connsiteX58" fmla="*/ 7831 w 10000"/>
                  <a:gd name="connsiteY58" fmla="*/ 7837 h 10000"/>
                  <a:gd name="connsiteX59" fmla="*/ 7952 w 10000"/>
                  <a:gd name="connsiteY59" fmla="*/ 7395 h 10000"/>
                  <a:gd name="connsiteX60" fmla="*/ 8313 w 10000"/>
                  <a:gd name="connsiteY60" fmla="*/ 6873 h 10000"/>
                  <a:gd name="connsiteX61" fmla="*/ 8594 w 10000"/>
                  <a:gd name="connsiteY61" fmla="*/ 6631 h 10000"/>
                  <a:gd name="connsiteX62" fmla="*/ 8795 w 10000"/>
                  <a:gd name="connsiteY62" fmla="*/ 5949 h 10000"/>
                  <a:gd name="connsiteX63" fmla="*/ 8795 w 10000"/>
                  <a:gd name="connsiteY63" fmla="*/ 5788 h 10000"/>
                  <a:gd name="connsiteX64" fmla="*/ 8755 w 10000"/>
                  <a:gd name="connsiteY64" fmla="*/ 5386 h 10000"/>
                  <a:gd name="connsiteX65" fmla="*/ 9157 w 10000"/>
                  <a:gd name="connsiteY65" fmla="*/ 3938 h 10000"/>
                  <a:gd name="connsiteX66" fmla="*/ 9277 w 10000"/>
                  <a:gd name="connsiteY66" fmla="*/ 3938 h 10000"/>
                  <a:gd name="connsiteX67" fmla="*/ 9438 w 10000"/>
                  <a:gd name="connsiteY67" fmla="*/ 3818 h 10000"/>
                  <a:gd name="connsiteX68" fmla="*/ 9920 w 10000"/>
                  <a:gd name="connsiteY68" fmla="*/ 3617 h 10000"/>
                  <a:gd name="connsiteX69" fmla="*/ 10000 w 10000"/>
                  <a:gd name="connsiteY69" fmla="*/ 3296 h 10000"/>
                  <a:gd name="connsiteX70" fmla="*/ 9960 w 10000"/>
                  <a:gd name="connsiteY70" fmla="*/ 3214 h 10000"/>
                  <a:gd name="connsiteX71" fmla="*/ 9799 w 10000"/>
                  <a:gd name="connsiteY71" fmla="*/ 3214 h 10000"/>
                  <a:gd name="connsiteX72" fmla="*/ 9679 w 10000"/>
                  <a:gd name="connsiteY72" fmla="*/ 3014 h 10000"/>
                  <a:gd name="connsiteX73" fmla="*/ 9438 w 10000"/>
                  <a:gd name="connsiteY73" fmla="*/ 2935 h 10000"/>
                  <a:gd name="connsiteX74" fmla="*/ 9317 w 10000"/>
                  <a:gd name="connsiteY74" fmla="*/ 2774 h 10000"/>
                  <a:gd name="connsiteX75" fmla="*/ 9237 w 10000"/>
                  <a:gd name="connsiteY75" fmla="*/ 2171 h 10000"/>
                  <a:gd name="connsiteX76" fmla="*/ 9237 w 10000"/>
                  <a:gd name="connsiteY76" fmla="*/ 1326 h 10000"/>
                  <a:gd name="connsiteX77" fmla="*/ 9036 w 10000"/>
                  <a:gd name="connsiteY77" fmla="*/ 1046 h 10000"/>
                  <a:gd name="connsiteX78" fmla="*/ 8996 w 10000"/>
                  <a:gd name="connsiteY78" fmla="*/ 764 h 10000"/>
                  <a:gd name="connsiteX79" fmla="*/ 8675 w 10000"/>
                  <a:gd name="connsiteY79" fmla="*/ 362 h 10000"/>
                  <a:gd name="connsiteX80" fmla="*/ 8394 w 10000"/>
                  <a:gd name="connsiteY80" fmla="*/ 203 h 10000"/>
                  <a:gd name="connsiteX81" fmla="*/ 8233 w 10000"/>
                  <a:gd name="connsiteY81" fmla="*/ 0 h 10000"/>
                  <a:gd name="connsiteX82" fmla="*/ 7992 w 10000"/>
                  <a:gd name="connsiteY82" fmla="*/ 203 h 10000"/>
                  <a:gd name="connsiteX83" fmla="*/ 7831 w 10000"/>
                  <a:gd name="connsiteY83" fmla="*/ 161 h 10000"/>
                  <a:gd name="connsiteX84" fmla="*/ 7711 w 10000"/>
                  <a:gd name="connsiteY84" fmla="*/ 521 h 10000"/>
                  <a:gd name="connsiteX85" fmla="*/ 7390 w 10000"/>
                  <a:gd name="connsiteY85" fmla="*/ 604 h 10000"/>
                  <a:gd name="connsiteX86" fmla="*/ 7309 w 10000"/>
                  <a:gd name="connsiteY86" fmla="*/ 883 h 10000"/>
                  <a:gd name="connsiteX87" fmla="*/ 7028 w 10000"/>
                  <a:gd name="connsiteY87" fmla="*/ 883 h 10000"/>
                  <a:gd name="connsiteX88" fmla="*/ 6787 w 10000"/>
                  <a:gd name="connsiteY88" fmla="*/ 764 h 10000"/>
                  <a:gd name="connsiteX89" fmla="*/ 6265 w 10000"/>
                  <a:gd name="connsiteY89" fmla="*/ 764 h 10000"/>
                  <a:gd name="connsiteX90" fmla="*/ 5743 w 10000"/>
                  <a:gd name="connsiteY90" fmla="*/ 764 h 10000"/>
                  <a:gd name="connsiteX91" fmla="*/ 5783 w 10000"/>
                  <a:gd name="connsiteY91" fmla="*/ 604 h 10000"/>
                  <a:gd name="connsiteX92" fmla="*/ 5703 w 10000"/>
                  <a:gd name="connsiteY92" fmla="*/ 604 h 10000"/>
                  <a:gd name="connsiteX93" fmla="*/ 5663 w 10000"/>
                  <a:gd name="connsiteY93" fmla="*/ 764 h 10000"/>
                  <a:gd name="connsiteX94" fmla="*/ 5181 w 10000"/>
                  <a:gd name="connsiteY94" fmla="*/ 764 h 10000"/>
                  <a:gd name="connsiteX95" fmla="*/ 4699 w 10000"/>
                  <a:gd name="connsiteY95" fmla="*/ 764 h 10000"/>
                  <a:gd name="connsiteX96" fmla="*/ 4217 w 10000"/>
                  <a:gd name="connsiteY96" fmla="*/ 764 h 10000"/>
                  <a:gd name="connsiteX97" fmla="*/ 3735 w 10000"/>
                  <a:gd name="connsiteY97" fmla="*/ 764 h 10000"/>
                  <a:gd name="connsiteX98" fmla="*/ 3293 w 10000"/>
                  <a:gd name="connsiteY98" fmla="*/ 764 h 10000"/>
                  <a:gd name="connsiteX99" fmla="*/ 2811 w 10000"/>
                  <a:gd name="connsiteY99" fmla="*/ 764 h 10000"/>
                  <a:gd name="connsiteX100" fmla="*/ 2369 w 10000"/>
                  <a:gd name="connsiteY100" fmla="*/ 764 h 10000"/>
                  <a:gd name="connsiteX101" fmla="*/ 1888 w 10000"/>
                  <a:gd name="connsiteY101" fmla="*/ 764 h 10000"/>
                  <a:gd name="connsiteX102" fmla="*/ 1888 w 10000"/>
                  <a:gd name="connsiteY102" fmla="*/ 1326 h 10000"/>
                  <a:gd name="connsiteX103" fmla="*/ 1888 w 10000"/>
                  <a:gd name="connsiteY103" fmla="*/ 2050 h 10000"/>
                  <a:gd name="connsiteX104" fmla="*/ 1285 w 10000"/>
                  <a:gd name="connsiteY104" fmla="*/ 2050 h 10000"/>
                  <a:gd name="connsiteX105" fmla="*/ 1285 w 10000"/>
                  <a:gd name="connsiteY105" fmla="*/ 2371 h 10000"/>
                  <a:gd name="connsiteX0" fmla="*/ 1285 w 10000"/>
                  <a:gd name="connsiteY0" fmla="*/ 2371 h 10000"/>
                  <a:gd name="connsiteX1" fmla="*/ 1285 w 10000"/>
                  <a:gd name="connsiteY1" fmla="*/ 3014 h 10000"/>
                  <a:gd name="connsiteX2" fmla="*/ 1285 w 10000"/>
                  <a:gd name="connsiteY2" fmla="*/ 3617 h 10000"/>
                  <a:gd name="connsiteX3" fmla="*/ 1285 w 10000"/>
                  <a:gd name="connsiteY3" fmla="*/ 4221 h 10000"/>
                  <a:gd name="connsiteX4" fmla="*/ 1285 w 10000"/>
                  <a:gd name="connsiteY4" fmla="*/ 4781 h 10000"/>
                  <a:gd name="connsiteX5" fmla="*/ 643 w 10000"/>
                  <a:gd name="connsiteY5" fmla="*/ 4903 h 10000"/>
                  <a:gd name="connsiteX6" fmla="*/ 522 w 10000"/>
                  <a:gd name="connsiteY6" fmla="*/ 5224 h 10000"/>
                  <a:gd name="connsiteX7" fmla="*/ 241 w 10000"/>
                  <a:gd name="connsiteY7" fmla="*/ 5626 h 10000"/>
                  <a:gd name="connsiteX8" fmla="*/ 241 w 10000"/>
                  <a:gd name="connsiteY8" fmla="*/ 5949 h 10000"/>
                  <a:gd name="connsiteX9" fmla="*/ 120 w 10000"/>
                  <a:gd name="connsiteY9" fmla="*/ 6028 h 10000"/>
                  <a:gd name="connsiteX10" fmla="*/ 120 w 10000"/>
                  <a:gd name="connsiteY10" fmla="*/ 6309 h 10000"/>
                  <a:gd name="connsiteX11" fmla="*/ 0 w 10000"/>
                  <a:gd name="connsiteY11" fmla="*/ 6552 h 10000"/>
                  <a:gd name="connsiteX12" fmla="*/ 0 w 10000"/>
                  <a:gd name="connsiteY12" fmla="*/ 6751 h 10000"/>
                  <a:gd name="connsiteX13" fmla="*/ 241 w 10000"/>
                  <a:gd name="connsiteY13" fmla="*/ 6711 h 10000"/>
                  <a:gd name="connsiteX14" fmla="*/ 281 w 10000"/>
                  <a:gd name="connsiteY14" fmla="*/ 7072 h 10000"/>
                  <a:gd name="connsiteX15" fmla="*/ 602 w 10000"/>
                  <a:gd name="connsiteY15" fmla="*/ 7718 h 10000"/>
                  <a:gd name="connsiteX16" fmla="*/ 602 w 10000"/>
                  <a:gd name="connsiteY16" fmla="*/ 7757 h 10000"/>
                  <a:gd name="connsiteX17" fmla="*/ 482 w 10000"/>
                  <a:gd name="connsiteY17" fmla="*/ 7797 h 10000"/>
                  <a:gd name="connsiteX18" fmla="*/ 964 w 10000"/>
                  <a:gd name="connsiteY18" fmla="*/ 8439 h 10000"/>
                  <a:gd name="connsiteX19" fmla="*/ 1004 w 10000"/>
                  <a:gd name="connsiteY19" fmla="*/ 8641 h 10000"/>
                  <a:gd name="connsiteX20" fmla="*/ 964 w 10000"/>
                  <a:gd name="connsiteY20" fmla="*/ 9204 h 10000"/>
                  <a:gd name="connsiteX21" fmla="*/ 1192 w 10000"/>
                  <a:gd name="connsiteY21" fmla="*/ 9317 h 10000"/>
                  <a:gd name="connsiteX22" fmla="*/ 1332 w 10000"/>
                  <a:gd name="connsiteY22" fmla="*/ 8762 h 10000"/>
                  <a:gd name="connsiteX23" fmla="*/ 1439 w 10000"/>
                  <a:gd name="connsiteY23" fmla="*/ 8857 h 10000"/>
                  <a:gd name="connsiteX24" fmla="*/ 1767 w 10000"/>
                  <a:gd name="connsiteY24" fmla="*/ 8782 h 10000"/>
                  <a:gd name="connsiteX25" fmla="*/ 1951 w 10000"/>
                  <a:gd name="connsiteY25" fmla="*/ 8680 h 10000"/>
                  <a:gd name="connsiteX26" fmla="*/ 2025 w 10000"/>
                  <a:gd name="connsiteY26" fmla="*/ 8433 h 10000"/>
                  <a:gd name="connsiteX27" fmla="*/ 2338 w 10000"/>
                  <a:gd name="connsiteY27" fmla="*/ 8354 h 10000"/>
                  <a:gd name="connsiteX28" fmla="*/ 2643 w 10000"/>
                  <a:gd name="connsiteY28" fmla="*/ 8747 h 10000"/>
                  <a:gd name="connsiteX29" fmla="*/ 2911 w 10000"/>
                  <a:gd name="connsiteY29" fmla="*/ 8918 h 10000"/>
                  <a:gd name="connsiteX30" fmla="*/ 3167 w 10000"/>
                  <a:gd name="connsiteY30" fmla="*/ 8888 h 10000"/>
                  <a:gd name="connsiteX31" fmla="*/ 3795 w 10000"/>
                  <a:gd name="connsiteY31" fmla="*/ 9030 h 10000"/>
                  <a:gd name="connsiteX32" fmla="*/ 4153 w 10000"/>
                  <a:gd name="connsiteY32" fmla="*/ 9108 h 10000"/>
                  <a:gd name="connsiteX33" fmla="*/ 4406 w 10000"/>
                  <a:gd name="connsiteY33" fmla="*/ 9050 h 10000"/>
                  <a:gd name="connsiteX34" fmla="*/ 4600 w 10000"/>
                  <a:gd name="connsiteY34" fmla="*/ 8903 h 10000"/>
                  <a:gd name="connsiteX35" fmla="*/ 4762 w 10000"/>
                  <a:gd name="connsiteY35" fmla="*/ 8631 h 10000"/>
                  <a:gd name="connsiteX36" fmla="*/ 4901 w 10000"/>
                  <a:gd name="connsiteY36" fmla="*/ 8465 h 10000"/>
                  <a:gd name="connsiteX37" fmla="*/ 5080 w 10000"/>
                  <a:gd name="connsiteY37" fmla="*/ 8583 h 10000"/>
                  <a:gd name="connsiteX38" fmla="*/ 5337 w 10000"/>
                  <a:gd name="connsiteY38" fmla="*/ 8702 h 10000"/>
                  <a:gd name="connsiteX39" fmla="*/ 5564 w 10000"/>
                  <a:gd name="connsiteY39" fmla="*/ 8857 h 10000"/>
                  <a:gd name="connsiteX40" fmla="*/ 5768 w 10000"/>
                  <a:gd name="connsiteY40" fmla="*/ 8757 h 10000"/>
                  <a:gd name="connsiteX41" fmla="*/ 5933 w 10000"/>
                  <a:gd name="connsiteY41" fmla="*/ 8664 h 10000"/>
                  <a:gd name="connsiteX42" fmla="*/ 6089 w 10000"/>
                  <a:gd name="connsiteY42" fmla="*/ 8458 h 10000"/>
                  <a:gd name="connsiteX43" fmla="*/ 6274 w 10000"/>
                  <a:gd name="connsiteY43" fmla="*/ 8178 h 10000"/>
                  <a:gd name="connsiteX44" fmla="*/ 6389 w 10000"/>
                  <a:gd name="connsiteY44" fmla="*/ 8048 h 10000"/>
                  <a:gd name="connsiteX45" fmla="*/ 6524 w 10000"/>
                  <a:gd name="connsiteY45" fmla="*/ 7996 h 10000"/>
                  <a:gd name="connsiteX46" fmla="*/ 6531 w 10000"/>
                  <a:gd name="connsiteY46" fmla="*/ 7831 h 10000"/>
                  <a:gd name="connsiteX47" fmla="*/ 6572 w 10000"/>
                  <a:gd name="connsiteY47" fmla="*/ 7640 h 10000"/>
                  <a:gd name="connsiteX48" fmla="*/ 6602 w 10000"/>
                  <a:gd name="connsiteY48" fmla="*/ 7467 h 10000"/>
                  <a:gd name="connsiteX49" fmla="*/ 6707 w 10000"/>
                  <a:gd name="connsiteY49" fmla="*/ 7325 h 10000"/>
                  <a:gd name="connsiteX50" fmla="*/ 6876 w 10000"/>
                  <a:gd name="connsiteY50" fmla="*/ 7326 h 10000"/>
                  <a:gd name="connsiteX51" fmla="*/ 6827 w 10000"/>
                  <a:gd name="connsiteY51" fmla="*/ 8196 h 10000"/>
                  <a:gd name="connsiteX52" fmla="*/ 6991 w 10000"/>
                  <a:gd name="connsiteY52" fmla="*/ 8296 h 10000"/>
                  <a:gd name="connsiteX53" fmla="*/ 7275 w 10000"/>
                  <a:gd name="connsiteY53" fmla="*/ 8549 h 10000"/>
                  <a:gd name="connsiteX54" fmla="*/ 7430 w 10000"/>
                  <a:gd name="connsiteY54" fmla="*/ 8158 h 10000"/>
                  <a:gd name="connsiteX55" fmla="*/ 7470 w 10000"/>
                  <a:gd name="connsiteY55" fmla="*/ 8197 h 10000"/>
                  <a:gd name="connsiteX56" fmla="*/ 7590 w 10000"/>
                  <a:gd name="connsiteY56" fmla="*/ 7958 h 10000"/>
                  <a:gd name="connsiteX57" fmla="*/ 7831 w 10000"/>
                  <a:gd name="connsiteY57" fmla="*/ 7837 h 10000"/>
                  <a:gd name="connsiteX58" fmla="*/ 7952 w 10000"/>
                  <a:gd name="connsiteY58" fmla="*/ 7395 h 10000"/>
                  <a:gd name="connsiteX59" fmla="*/ 8313 w 10000"/>
                  <a:gd name="connsiteY59" fmla="*/ 6873 h 10000"/>
                  <a:gd name="connsiteX60" fmla="*/ 8594 w 10000"/>
                  <a:gd name="connsiteY60" fmla="*/ 6631 h 10000"/>
                  <a:gd name="connsiteX61" fmla="*/ 8795 w 10000"/>
                  <a:gd name="connsiteY61" fmla="*/ 5949 h 10000"/>
                  <a:gd name="connsiteX62" fmla="*/ 8795 w 10000"/>
                  <a:gd name="connsiteY62" fmla="*/ 5788 h 10000"/>
                  <a:gd name="connsiteX63" fmla="*/ 8755 w 10000"/>
                  <a:gd name="connsiteY63" fmla="*/ 5386 h 10000"/>
                  <a:gd name="connsiteX64" fmla="*/ 9157 w 10000"/>
                  <a:gd name="connsiteY64" fmla="*/ 3938 h 10000"/>
                  <a:gd name="connsiteX65" fmla="*/ 9277 w 10000"/>
                  <a:gd name="connsiteY65" fmla="*/ 3938 h 10000"/>
                  <a:gd name="connsiteX66" fmla="*/ 9438 w 10000"/>
                  <a:gd name="connsiteY66" fmla="*/ 3818 h 10000"/>
                  <a:gd name="connsiteX67" fmla="*/ 9920 w 10000"/>
                  <a:gd name="connsiteY67" fmla="*/ 3617 h 10000"/>
                  <a:gd name="connsiteX68" fmla="*/ 10000 w 10000"/>
                  <a:gd name="connsiteY68" fmla="*/ 3296 h 10000"/>
                  <a:gd name="connsiteX69" fmla="*/ 9960 w 10000"/>
                  <a:gd name="connsiteY69" fmla="*/ 3214 h 10000"/>
                  <a:gd name="connsiteX70" fmla="*/ 9799 w 10000"/>
                  <a:gd name="connsiteY70" fmla="*/ 3214 h 10000"/>
                  <a:gd name="connsiteX71" fmla="*/ 9679 w 10000"/>
                  <a:gd name="connsiteY71" fmla="*/ 3014 h 10000"/>
                  <a:gd name="connsiteX72" fmla="*/ 9438 w 10000"/>
                  <a:gd name="connsiteY72" fmla="*/ 2935 h 10000"/>
                  <a:gd name="connsiteX73" fmla="*/ 9317 w 10000"/>
                  <a:gd name="connsiteY73" fmla="*/ 2774 h 10000"/>
                  <a:gd name="connsiteX74" fmla="*/ 9237 w 10000"/>
                  <a:gd name="connsiteY74" fmla="*/ 2171 h 10000"/>
                  <a:gd name="connsiteX75" fmla="*/ 9237 w 10000"/>
                  <a:gd name="connsiteY75" fmla="*/ 1326 h 10000"/>
                  <a:gd name="connsiteX76" fmla="*/ 9036 w 10000"/>
                  <a:gd name="connsiteY76" fmla="*/ 1046 h 10000"/>
                  <a:gd name="connsiteX77" fmla="*/ 8996 w 10000"/>
                  <a:gd name="connsiteY77" fmla="*/ 764 h 10000"/>
                  <a:gd name="connsiteX78" fmla="*/ 8675 w 10000"/>
                  <a:gd name="connsiteY78" fmla="*/ 362 h 10000"/>
                  <a:gd name="connsiteX79" fmla="*/ 8394 w 10000"/>
                  <a:gd name="connsiteY79" fmla="*/ 203 h 10000"/>
                  <a:gd name="connsiteX80" fmla="*/ 8233 w 10000"/>
                  <a:gd name="connsiteY80" fmla="*/ 0 h 10000"/>
                  <a:gd name="connsiteX81" fmla="*/ 7992 w 10000"/>
                  <a:gd name="connsiteY81" fmla="*/ 203 h 10000"/>
                  <a:gd name="connsiteX82" fmla="*/ 7831 w 10000"/>
                  <a:gd name="connsiteY82" fmla="*/ 161 h 10000"/>
                  <a:gd name="connsiteX83" fmla="*/ 7711 w 10000"/>
                  <a:gd name="connsiteY83" fmla="*/ 521 h 10000"/>
                  <a:gd name="connsiteX84" fmla="*/ 7390 w 10000"/>
                  <a:gd name="connsiteY84" fmla="*/ 604 h 10000"/>
                  <a:gd name="connsiteX85" fmla="*/ 7309 w 10000"/>
                  <a:gd name="connsiteY85" fmla="*/ 883 h 10000"/>
                  <a:gd name="connsiteX86" fmla="*/ 7028 w 10000"/>
                  <a:gd name="connsiteY86" fmla="*/ 883 h 10000"/>
                  <a:gd name="connsiteX87" fmla="*/ 6787 w 10000"/>
                  <a:gd name="connsiteY87" fmla="*/ 764 h 10000"/>
                  <a:gd name="connsiteX88" fmla="*/ 6265 w 10000"/>
                  <a:gd name="connsiteY88" fmla="*/ 764 h 10000"/>
                  <a:gd name="connsiteX89" fmla="*/ 5743 w 10000"/>
                  <a:gd name="connsiteY89" fmla="*/ 764 h 10000"/>
                  <a:gd name="connsiteX90" fmla="*/ 5783 w 10000"/>
                  <a:gd name="connsiteY90" fmla="*/ 604 h 10000"/>
                  <a:gd name="connsiteX91" fmla="*/ 5703 w 10000"/>
                  <a:gd name="connsiteY91" fmla="*/ 604 h 10000"/>
                  <a:gd name="connsiteX92" fmla="*/ 5663 w 10000"/>
                  <a:gd name="connsiteY92" fmla="*/ 764 h 10000"/>
                  <a:gd name="connsiteX93" fmla="*/ 5181 w 10000"/>
                  <a:gd name="connsiteY93" fmla="*/ 764 h 10000"/>
                  <a:gd name="connsiteX94" fmla="*/ 4699 w 10000"/>
                  <a:gd name="connsiteY94" fmla="*/ 764 h 10000"/>
                  <a:gd name="connsiteX95" fmla="*/ 4217 w 10000"/>
                  <a:gd name="connsiteY95" fmla="*/ 764 h 10000"/>
                  <a:gd name="connsiteX96" fmla="*/ 3735 w 10000"/>
                  <a:gd name="connsiteY96" fmla="*/ 764 h 10000"/>
                  <a:gd name="connsiteX97" fmla="*/ 3293 w 10000"/>
                  <a:gd name="connsiteY97" fmla="*/ 764 h 10000"/>
                  <a:gd name="connsiteX98" fmla="*/ 2811 w 10000"/>
                  <a:gd name="connsiteY98" fmla="*/ 764 h 10000"/>
                  <a:gd name="connsiteX99" fmla="*/ 2369 w 10000"/>
                  <a:gd name="connsiteY99" fmla="*/ 764 h 10000"/>
                  <a:gd name="connsiteX100" fmla="*/ 1888 w 10000"/>
                  <a:gd name="connsiteY100" fmla="*/ 764 h 10000"/>
                  <a:gd name="connsiteX101" fmla="*/ 1888 w 10000"/>
                  <a:gd name="connsiteY101" fmla="*/ 1326 h 10000"/>
                  <a:gd name="connsiteX102" fmla="*/ 1888 w 10000"/>
                  <a:gd name="connsiteY102" fmla="*/ 2050 h 10000"/>
                  <a:gd name="connsiteX103" fmla="*/ 1285 w 10000"/>
                  <a:gd name="connsiteY103" fmla="*/ 2050 h 10000"/>
                  <a:gd name="connsiteX104" fmla="*/ 1285 w 10000"/>
                  <a:gd name="connsiteY104" fmla="*/ 2371 h 10000"/>
                  <a:gd name="connsiteX0" fmla="*/ 1285 w 10000"/>
                  <a:gd name="connsiteY0" fmla="*/ 2371 h 9707"/>
                  <a:gd name="connsiteX1" fmla="*/ 1285 w 10000"/>
                  <a:gd name="connsiteY1" fmla="*/ 3014 h 9707"/>
                  <a:gd name="connsiteX2" fmla="*/ 1285 w 10000"/>
                  <a:gd name="connsiteY2" fmla="*/ 3617 h 9707"/>
                  <a:gd name="connsiteX3" fmla="*/ 1285 w 10000"/>
                  <a:gd name="connsiteY3" fmla="*/ 4221 h 9707"/>
                  <a:gd name="connsiteX4" fmla="*/ 1285 w 10000"/>
                  <a:gd name="connsiteY4" fmla="*/ 4781 h 9707"/>
                  <a:gd name="connsiteX5" fmla="*/ 643 w 10000"/>
                  <a:gd name="connsiteY5" fmla="*/ 4903 h 9707"/>
                  <a:gd name="connsiteX6" fmla="*/ 522 w 10000"/>
                  <a:gd name="connsiteY6" fmla="*/ 5224 h 9707"/>
                  <a:gd name="connsiteX7" fmla="*/ 241 w 10000"/>
                  <a:gd name="connsiteY7" fmla="*/ 5626 h 9707"/>
                  <a:gd name="connsiteX8" fmla="*/ 241 w 10000"/>
                  <a:gd name="connsiteY8" fmla="*/ 5949 h 9707"/>
                  <a:gd name="connsiteX9" fmla="*/ 120 w 10000"/>
                  <a:gd name="connsiteY9" fmla="*/ 6028 h 9707"/>
                  <a:gd name="connsiteX10" fmla="*/ 120 w 10000"/>
                  <a:gd name="connsiteY10" fmla="*/ 6309 h 9707"/>
                  <a:gd name="connsiteX11" fmla="*/ 0 w 10000"/>
                  <a:gd name="connsiteY11" fmla="*/ 6552 h 9707"/>
                  <a:gd name="connsiteX12" fmla="*/ 0 w 10000"/>
                  <a:gd name="connsiteY12" fmla="*/ 6751 h 9707"/>
                  <a:gd name="connsiteX13" fmla="*/ 241 w 10000"/>
                  <a:gd name="connsiteY13" fmla="*/ 6711 h 9707"/>
                  <a:gd name="connsiteX14" fmla="*/ 281 w 10000"/>
                  <a:gd name="connsiteY14" fmla="*/ 7072 h 9707"/>
                  <a:gd name="connsiteX15" fmla="*/ 602 w 10000"/>
                  <a:gd name="connsiteY15" fmla="*/ 7718 h 9707"/>
                  <a:gd name="connsiteX16" fmla="*/ 602 w 10000"/>
                  <a:gd name="connsiteY16" fmla="*/ 7757 h 9707"/>
                  <a:gd name="connsiteX17" fmla="*/ 482 w 10000"/>
                  <a:gd name="connsiteY17" fmla="*/ 7797 h 9707"/>
                  <a:gd name="connsiteX18" fmla="*/ 964 w 10000"/>
                  <a:gd name="connsiteY18" fmla="*/ 8439 h 9707"/>
                  <a:gd name="connsiteX19" fmla="*/ 1004 w 10000"/>
                  <a:gd name="connsiteY19" fmla="*/ 8641 h 9707"/>
                  <a:gd name="connsiteX20" fmla="*/ 964 w 10000"/>
                  <a:gd name="connsiteY20" fmla="*/ 9204 h 9707"/>
                  <a:gd name="connsiteX21" fmla="*/ 1192 w 10000"/>
                  <a:gd name="connsiteY21" fmla="*/ 9317 h 9707"/>
                  <a:gd name="connsiteX22" fmla="*/ 1332 w 10000"/>
                  <a:gd name="connsiteY22" fmla="*/ 8762 h 9707"/>
                  <a:gd name="connsiteX23" fmla="*/ 1439 w 10000"/>
                  <a:gd name="connsiteY23" fmla="*/ 8857 h 9707"/>
                  <a:gd name="connsiteX24" fmla="*/ 1767 w 10000"/>
                  <a:gd name="connsiteY24" fmla="*/ 8782 h 9707"/>
                  <a:gd name="connsiteX25" fmla="*/ 1951 w 10000"/>
                  <a:gd name="connsiteY25" fmla="*/ 8680 h 9707"/>
                  <a:gd name="connsiteX26" fmla="*/ 2025 w 10000"/>
                  <a:gd name="connsiteY26" fmla="*/ 8433 h 9707"/>
                  <a:gd name="connsiteX27" fmla="*/ 2338 w 10000"/>
                  <a:gd name="connsiteY27" fmla="*/ 8354 h 9707"/>
                  <a:gd name="connsiteX28" fmla="*/ 2643 w 10000"/>
                  <a:gd name="connsiteY28" fmla="*/ 8747 h 9707"/>
                  <a:gd name="connsiteX29" fmla="*/ 2911 w 10000"/>
                  <a:gd name="connsiteY29" fmla="*/ 8918 h 9707"/>
                  <a:gd name="connsiteX30" fmla="*/ 3167 w 10000"/>
                  <a:gd name="connsiteY30" fmla="*/ 8888 h 9707"/>
                  <a:gd name="connsiteX31" fmla="*/ 3795 w 10000"/>
                  <a:gd name="connsiteY31" fmla="*/ 9030 h 9707"/>
                  <a:gd name="connsiteX32" fmla="*/ 4153 w 10000"/>
                  <a:gd name="connsiteY32" fmla="*/ 9108 h 9707"/>
                  <a:gd name="connsiteX33" fmla="*/ 4600 w 10000"/>
                  <a:gd name="connsiteY33" fmla="*/ 8903 h 9707"/>
                  <a:gd name="connsiteX34" fmla="*/ 4762 w 10000"/>
                  <a:gd name="connsiteY34" fmla="*/ 8631 h 9707"/>
                  <a:gd name="connsiteX35" fmla="*/ 4901 w 10000"/>
                  <a:gd name="connsiteY35" fmla="*/ 8465 h 9707"/>
                  <a:gd name="connsiteX36" fmla="*/ 5080 w 10000"/>
                  <a:gd name="connsiteY36" fmla="*/ 8583 h 9707"/>
                  <a:gd name="connsiteX37" fmla="*/ 5337 w 10000"/>
                  <a:gd name="connsiteY37" fmla="*/ 8702 h 9707"/>
                  <a:gd name="connsiteX38" fmla="*/ 5564 w 10000"/>
                  <a:gd name="connsiteY38" fmla="*/ 8857 h 9707"/>
                  <a:gd name="connsiteX39" fmla="*/ 5768 w 10000"/>
                  <a:gd name="connsiteY39" fmla="*/ 8757 h 9707"/>
                  <a:gd name="connsiteX40" fmla="*/ 5933 w 10000"/>
                  <a:gd name="connsiteY40" fmla="*/ 8664 h 9707"/>
                  <a:gd name="connsiteX41" fmla="*/ 6089 w 10000"/>
                  <a:gd name="connsiteY41" fmla="*/ 8458 h 9707"/>
                  <a:gd name="connsiteX42" fmla="*/ 6274 w 10000"/>
                  <a:gd name="connsiteY42" fmla="*/ 8178 h 9707"/>
                  <a:gd name="connsiteX43" fmla="*/ 6389 w 10000"/>
                  <a:gd name="connsiteY43" fmla="*/ 8048 h 9707"/>
                  <a:gd name="connsiteX44" fmla="*/ 6524 w 10000"/>
                  <a:gd name="connsiteY44" fmla="*/ 7996 h 9707"/>
                  <a:gd name="connsiteX45" fmla="*/ 6531 w 10000"/>
                  <a:gd name="connsiteY45" fmla="*/ 7831 h 9707"/>
                  <a:gd name="connsiteX46" fmla="*/ 6572 w 10000"/>
                  <a:gd name="connsiteY46" fmla="*/ 7640 h 9707"/>
                  <a:gd name="connsiteX47" fmla="*/ 6602 w 10000"/>
                  <a:gd name="connsiteY47" fmla="*/ 7467 h 9707"/>
                  <a:gd name="connsiteX48" fmla="*/ 6707 w 10000"/>
                  <a:gd name="connsiteY48" fmla="*/ 7325 h 9707"/>
                  <a:gd name="connsiteX49" fmla="*/ 6876 w 10000"/>
                  <a:gd name="connsiteY49" fmla="*/ 7326 h 9707"/>
                  <a:gd name="connsiteX50" fmla="*/ 6827 w 10000"/>
                  <a:gd name="connsiteY50" fmla="*/ 8196 h 9707"/>
                  <a:gd name="connsiteX51" fmla="*/ 6991 w 10000"/>
                  <a:gd name="connsiteY51" fmla="*/ 8296 h 9707"/>
                  <a:gd name="connsiteX52" fmla="*/ 7275 w 10000"/>
                  <a:gd name="connsiteY52" fmla="*/ 8549 h 9707"/>
                  <a:gd name="connsiteX53" fmla="*/ 7430 w 10000"/>
                  <a:gd name="connsiteY53" fmla="*/ 8158 h 9707"/>
                  <a:gd name="connsiteX54" fmla="*/ 7470 w 10000"/>
                  <a:gd name="connsiteY54" fmla="*/ 8197 h 9707"/>
                  <a:gd name="connsiteX55" fmla="*/ 7590 w 10000"/>
                  <a:gd name="connsiteY55" fmla="*/ 7958 h 9707"/>
                  <a:gd name="connsiteX56" fmla="*/ 7831 w 10000"/>
                  <a:gd name="connsiteY56" fmla="*/ 7837 h 9707"/>
                  <a:gd name="connsiteX57" fmla="*/ 7952 w 10000"/>
                  <a:gd name="connsiteY57" fmla="*/ 7395 h 9707"/>
                  <a:gd name="connsiteX58" fmla="*/ 8313 w 10000"/>
                  <a:gd name="connsiteY58" fmla="*/ 6873 h 9707"/>
                  <a:gd name="connsiteX59" fmla="*/ 8594 w 10000"/>
                  <a:gd name="connsiteY59" fmla="*/ 6631 h 9707"/>
                  <a:gd name="connsiteX60" fmla="*/ 8795 w 10000"/>
                  <a:gd name="connsiteY60" fmla="*/ 5949 h 9707"/>
                  <a:gd name="connsiteX61" fmla="*/ 8795 w 10000"/>
                  <a:gd name="connsiteY61" fmla="*/ 5788 h 9707"/>
                  <a:gd name="connsiteX62" fmla="*/ 8755 w 10000"/>
                  <a:gd name="connsiteY62" fmla="*/ 5386 h 9707"/>
                  <a:gd name="connsiteX63" fmla="*/ 9157 w 10000"/>
                  <a:gd name="connsiteY63" fmla="*/ 3938 h 9707"/>
                  <a:gd name="connsiteX64" fmla="*/ 9277 w 10000"/>
                  <a:gd name="connsiteY64" fmla="*/ 3938 h 9707"/>
                  <a:gd name="connsiteX65" fmla="*/ 9438 w 10000"/>
                  <a:gd name="connsiteY65" fmla="*/ 3818 h 9707"/>
                  <a:gd name="connsiteX66" fmla="*/ 9920 w 10000"/>
                  <a:gd name="connsiteY66" fmla="*/ 3617 h 9707"/>
                  <a:gd name="connsiteX67" fmla="*/ 10000 w 10000"/>
                  <a:gd name="connsiteY67" fmla="*/ 3296 h 9707"/>
                  <a:gd name="connsiteX68" fmla="*/ 9960 w 10000"/>
                  <a:gd name="connsiteY68" fmla="*/ 3214 h 9707"/>
                  <a:gd name="connsiteX69" fmla="*/ 9799 w 10000"/>
                  <a:gd name="connsiteY69" fmla="*/ 3214 h 9707"/>
                  <a:gd name="connsiteX70" fmla="*/ 9679 w 10000"/>
                  <a:gd name="connsiteY70" fmla="*/ 3014 h 9707"/>
                  <a:gd name="connsiteX71" fmla="*/ 9438 w 10000"/>
                  <a:gd name="connsiteY71" fmla="*/ 2935 h 9707"/>
                  <a:gd name="connsiteX72" fmla="*/ 9317 w 10000"/>
                  <a:gd name="connsiteY72" fmla="*/ 2774 h 9707"/>
                  <a:gd name="connsiteX73" fmla="*/ 9237 w 10000"/>
                  <a:gd name="connsiteY73" fmla="*/ 2171 h 9707"/>
                  <a:gd name="connsiteX74" fmla="*/ 9237 w 10000"/>
                  <a:gd name="connsiteY74" fmla="*/ 1326 h 9707"/>
                  <a:gd name="connsiteX75" fmla="*/ 9036 w 10000"/>
                  <a:gd name="connsiteY75" fmla="*/ 1046 h 9707"/>
                  <a:gd name="connsiteX76" fmla="*/ 8996 w 10000"/>
                  <a:gd name="connsiteY76" fmla="*/ 764 h 9707"/>
                  <a:gd name="connsiteX77" fmla="*/ 8675 w 10000"/>
                  <a:gd name="connsiteY77" fmla="*/ 362 h 9707"/>
                  <a:gd name="connsiteX78" fmla="*/ 8394 w 10000"/>
                  <a:gd name="connsiteY78" fmla="*/ 203 h 9707"/>
                  <a:gd name="connsiteX79" fmla="*/ 8233 w 10000"/>
                  <a:gd name="connsiteY79" fmla="*/ 0 h 9707"/>
                  <a:gd name="connsiteX80" fmla="*/ 7992 w 10000"/>
                  <a:gd name="connsiteY80" fmla="*/ 203 h 9707"/>
                  <a:gd name="connsiteX81" fmla="*/ 7831 w 10000"/>
                  <a:gd name="connsiteY81" fmla="*/ 161 h 9707"/>
                  <a:gd name="connsiteX82" fmla="*/ 7711 w 10000"/>
                  <a:gd name="connsiteY82" fmla="*/ 521 h 9707"/>
                  <a:gd name="connsiteX83" fmla="*/ 7390 w 10000"/>
                  <a:gd name="connsiteY83" fmla="*/ 604 h 9707"/>
                  <a:gd name="connsiteX84" fmla="*/ 7309 w 10000"/>
                  <a:gd name="connsiteY84" fmla="*/ 883 h 9707"/>
                  <a:gd name="connsiteX85" fmla="*/ 7028 w 10000"/>
                  <a:gd name="connsiteY85" fmla="*/ 883 h 9707"/>
                  <a:gd name="connsiteX86" fmla="*/ 6787 w 10000"/>
                  <a:gd name="connsiteY86" fmla="*/ 764 h 9707"/>
                  <a:gd name="connsiteX87" fmla="*/ 6265 w 10000"/>
                  <a:gd name="connsiteY87" fmla="*/ 764 h 9707"/>
                  <a:gd name="connsiteX88" fmla="*/ 5743 w 10000"/>
                  <a:gd name="connsiteY88" fmla="*/ 764 h 9707"/>
                  <a:gd name="connsiteX89" fmla="*/ 5783 w 10000"/>
                  <a:gd name="connsiteY89" fmla="*/ 604 h 9707"/>
                  <a:gd name="connsiteX90" fmla="*/ 5703 w 10000"/>
                  <a:gd name="connsiteY90" fmla="*/ 604 h 9707"/>
                  <a:gd name="connsiteX91" fmla="*/ 5663 w 10000"/>
                  <a:gd name="connsiteY91" fmla="*/ 764 h 9707"/>
                  <a:gd name="connsiteX92" fmla="*/ 5181 w 10000"/>
                  <a:gd name="connsiteY92" fmla="*/ 764 h 9707"/>
                  <a:gd name="connsiteX93" fmla="*/ 4699 w 10000"/>
                  <a:gd name="connsiteY93" fmla="*/ 764 h 9707"/>
                  <a:gd name="connsiteX94" fmla="*/ 4217 w 10000"/>
                  <a:gd name="connsiteY94" fmla="*/ 764 h 9707"/>
                  <a:gd name="connsiteX95" fmla="*/ 3735 w 10000"/>
                  <a:gd name="connsiteY95" fmla="*/ 764 h 9707"/>
                  <a:gd name="connsiteX96" fmla="*/ 3293 w 10000"/>
                  <a:gd name="connsiteY96" fmla="*/ 764 h 9707"/>
                  <a:gd name="connsiteX97" fmla="*/ 2811 w 10000"/>
                  <a:gd name="connsiteY97" fmla="*/ 764 h 9707"/>
                  <a:gd name="connsiteX98" fmla="*/ 2369 w 10000"/>
                  <a:gd name="connsiteY98" fmla="*/ 764 h 9707"/>
                  <a:gd name="connsiteX99" fmla="*/ 1888 w 10000"/>
                  <a:gd name="connsiteY99" fmla="*/ 764 h 9707"/>
                  <a:gd name="connsiteX100" fmla="*/ 1888 w 10000"/>
                  <a:gd name="connsiteY100" fmla="*/ 1326 h 9707"/>
                  <a:gd name="connsiteX101" fmla="*/ 1888 w 10000"/>
                  <a:gd name="connsiteY101" fmla="*/ 2050 h 9707"/>
                  <a:gd name="connsiteX102" fmla="*/ 1285 w 10000"/>
                  <a:gd name="connsiteY102" fmla="*/ 2050 h 9707"/>
                  <a:gd name="connsiteX103" fmla="*/ 1285 w 10000"/>
                  <a:gd name="connsiteY103" fmla="*/ 2371 h 9707"/>
                  <a:gd name="connsiteX0" fmla="*/ 1285 w 10000"/>
                  <a:gd name="connsiteY0" fmla="*/ 2443 h 9598"/>
                  <a:gd name="connsiteX1" fmla="*/ 1285 w 10000"/>
                  <a:gd name="connsiteY1" fmla="*/ 3105 h 9598"/>
                  <a:gd name="connsiteX2" fmla="*/ 1285 w 10000"/>
                  <a:gd name="connsiteY2" fmla="*/ 3726 h 9598"/>
                  <a:gd name="connsiteX3" fmla="*/ 1285 w 10000"/>
                  <a:gd name="connsiteY3" fmla="*/ 4348 h 9598"/>
                  <a:gd name="connsiteX4" fmla="*/ 1285 w 10000"/>
                  <a:gd name="connsiteY4" fmla="*/ 4925 h 9598"/>
                  <a:gd name="connsiteX5" fmla="*/ 643 w 10000"/>
                  <a:gd name="connsiteY5" fmla="*/ 5051 h 9598"/>
                  <a:gd name="connsiteX6" fmla="*/ 522 w 10000"/>
                  <a:gd name="connsiteY6" fmla="*/ 5382 h 9598"/>
                  <a:gd name="connsiteX7" fmla="*/ 241 w 10000"/>
                  <a:gd name="connsiteY7" fmla="*/ 5796 h 9598"/>
                  <a:gd name="connsiteX8" fmla="*/ 241 w 10000"/>
                  <a:gd name="connsiteY8" fmla="*/ 6129 h 9598"/>
                  <a:gd name="connsiteX9" fmla="*/ 120 w 10000"/>
                  <a:gd name="connsiteY9" fmla="*/ 6210 h 9598"/>
                  <a:gd name="connsiteX10" fmla="*/ 120 w 10000"/>
                  <a:gd name="connsiteY10" fmla="*/ 6499 h 9598"/>
                  <a:gd name="connsiteX11" fmla="*/ 0 w 10000"/>
                  <a:gd name="connsiteY11" fmla="*/ 6750 h 9598"/>
                  <a:gd name="connsiteX12" fmla="*/ 0 w 10000"/>
                  <a:gd name="connsiteY12" fmla="*/ 6955 h 9598"/>
                  <a:gd name="connsiteX13" fmla="*/ 241 w 10000"/>
                  <a:gd name="connsiteY13" fmla="*/ 6914 h 9598"/>
                  <a:gd name="connsiteX14" fmla="*/ 281 w 10000"/>
                  <a:gd name="connsiteY14" fmla="*/ 7285 h 9598"/>
                  <a:gd name="connsiteX15" fmla="*/ 602 w 10000"/>
                  <a:gd name="connsiteY15" fmla="*/ 7951 h 9598"/>
                  <a:gd name="connsiteX16" fmla="*/ 602 w 10000"/>
                  <a:gd name="connsiteY16" fmla="*/ 7991 h 9598"/>
                  <a:gd name="connsiteX17" fmla="*/ 482 w 10000"/>
                  <a:gd name="connsiteY17" fmla="*/ 8032 h 9598"/>
                  <a:gd name="connsiteX18" fmla="*/ 964 w 10000"/>
                  <a:gd name="connsiteY18" fmla="*/ 8694 h 9598"/>
                  <a:gd name="connsiteX19" fmla="*/ 1004 w 10000"/>
                  <a:gd name="connsiteY19" fmla="*/ 8902 h 9598"/>
                  <a:gd name="connsiteX20" fmla="*/ 964 w 10000"/>
                  <a:gd name="connsiteY20" fmla="*/ 9482 h 9598"/>
                  <a:gd name="connsiteX21" fmla="*/ 1192 w 10000"/>
                  <a:gd name="connsiteY21" fmla="*/ 9598 h 9598"/>
                  <a:gd name="connsiteX22" fmla="*/ 1332 w 10000"/>
                  <a:gd name="connsiteY22" fmla="*/ 9026 h 9598"/>
                  <a:gd name="connsiteX23" fmla="*/ 1439 w 10000"/>
                  <a:gd name="connsiteY23" fmla="*/ 9124 h 9598"/>
                  <a:gd name="connsiteX24" fmla="*/ 1767 w 10000"/>
                  <a:gd name="connsiteY24" fmla="*/ 9047 h 9598"/>
                  <a:gd name="connsiteX25" fmla="*/ 1951 w 10000"/>
                  <a:gd name="connsiteY25" fmla="*/ 8942 h 9598"/>
                  <a:gd name="connsiteX26" fmla="*/ 2025 w 10000"/>
                  <a:gd name="connsiteY26" fmla="*/ 8688 h 9598"/>
                  <a:gd name="connsiteX27" fmla="*/ 2338 w 10000"/>
                  <a:gd name="connsiteY27" fmla="*/ 8606 h 9598"/>
                  <a:gd name="connsiteX28" fmla="*/ 2643 w 10000"/>
                  <a:gd name="connsiteY28" fmla="*/ 9011 h 9598"/>
                  <a:gd name="connsiteX29" fmla="*/ 2911 w 10000"/>
                  <a:gd name="connsiteY29" fmla="*/ 9187 h 9598"/>
                  <a:gd name="connsiteX30" fmla="*/ 3167 w 10000"/>
                  <a:gd name="connsiteY30" fmla="*/ 9156 h 9598"/>
                  <a:gd name="connsiteX31" fmla="*/ 3795 w 10000"/>
                  <a:gd name="connsiteY31" fmla="*/ 9303 h 9598"/>
                  <a:gd name="connsiteX32" fmla="*/ 4153 w 10000"/>
                  <a:gd name="connsiteY32" fmla="*/ 9383 h 9598"/>
                  <a:gd name="connsiteX33" fmla="*/ 4600 w 10000"/>
                  <a:gd name="connsiteY33" fmla="*/ 9172 h 9598"/>
                  <a:gd name="connsiteX34" fmla="*/ 4901 w 10000"/>
                  <a:gd name="connsiteY34" fmla="*/ 8721 h 9598"/>
                  <a:gd name="connsiteX35" fmla="*/ 5080 w 10000"/>
                  <a:gd name="connsiteY35" fmla="*/ 8842 h 9598"/>
                  <a:gd name="connsiteX36" fmla="*/ 5337 w 10000"/>
                  <a:gd name="connsiteY36" fmla="*/ 8965 h 9598"/>
                  <a:gd name="connsiteX37" fmla="*/ 5564 w 10000"/>
                  <a:gd name="connsiteY37" fmla="*/ 9124 h 9598"/>
                  <a:gd name="connsiteX38" fmla="*/ 5768 w 10000"/>
                  <a:gd name="connsiteY38" fmla="*/ 9021 h 9598"/>
                  <a:gd name="connsiteX39" fmla="*/ 5933 w 10000"/>
                  <a:gd name="connsiteY39" fmla="*/ 8926 h 9598"/>
                  <a:gd name="connsiteX40" fmla="*/ 6089 w 10000"/>
                  <a:gd name="connsiteY40" fmla="*/ 8713 h 9598"/>
                  <a:gd name="connsiteX41" fmla="*/ 6274 w 10000"/>
                  <a:gd name="connsiteY41" fmla="*/ 8425 h 9598"/>
                  <a:gd name="connsiteX42" fmla="*/ 6389 w 10000"/>
                  <a:gd name="connsiteY42" fmla="*/ 8291 h 9598"/>
                  <a:gd name="connsiteX43" fmla="*/ 6524 w 10000"/>
                  <a:gd name="connsiteY43" fmla="*/ 8237 h 9598"/>
                  <a:gd name="connsiteX44" fmla="*/ 6531 w 10000"/>
                  <a:gd name="connsiteY44" fmla="*/ 8067 h 9598"/>
                  <a:gd name="connsiteX45" fmla="*/ 6572 w 10000"/>
                  <a:gd name="connsiteY45" fmla="*/ 7871 h 9598"/>
                  <a:gd name="connsiteX46" fmla="*/ 6602 w 10000"/>
                  <a:gd name="connsiteY46" fmla="*/ 7692 h 9598"/>
                  <a:gd name="connsiteX47" fmla="*/ 6707 w 10000"/>
                  <a:gd name="connsiteY47" fmla="*/ 7546 h 9598"/>
                  <a:gd name="connsiteX48" fmla="*/ 6876 w 10000"/>
                  <a:gd name="connsiteY48" fmla="*/ 7547 h 9598"/>
                  <a:gd name="connsiteX49" fmla="*/ 6827 w 10000"/>
                  <a:gd name="connsiteY49" fmla="*/ 8443 h 9598"/>
                  <a:gd name="connsiteX50" fmla="*/ 6991 w 10000"/>
                  <a:gd name="connsiteY50" fmla="*/ 8546 h 9598"/>
                  <a:gd name="connsiteX51" fmla="*/ 7275 w 10000"/>
                  <a:gd name="connsiteY51" fmla="*/ 8807 h 9598"/>
                  <a:gd name="connsiteX52" fmla="*/ 7430 w 10000"/>
                  <a:gd name="connsiteY52" fmla="*/ 8404 h 9598"/>
                  <a:gd name="connsiteX53" fmla="*/ 7470 w 10000"/>
                  <a:gd name="connsiteY53" fmla="*/ 8444 h 9598"/>
                  <a:gd name="connsiteX54" fmla="*/ 7590 w 10000"/>
                  <a:gd name="connsiteY54" fmla="*/ 8198 h 9598"/>
                  <a:gd name="connsiteX55" fmla="*/ 7831 w 10000"/>
                  <a:gd name="connsiteY55" fmla="*/ 8074 h 9598"/>
                  <a:gd name="connsiteX56" fmla="*/ 7952 w 10000"/>
                  <a:gd name="connsiteY56" fmla="*/ 7618 h 9598"/>
                  <a:gd name="connsiteX57" fmla="*/ 8313 w 10000"/>
                  <a:gd name="connsiteY57" fmla="*/ 7080 h 9598"/>
                  <a:gd name="connsiteX58" fmla="*/ 8594 w 10000"/>
                  <a:gd name="connsiteY58" fmla="*/ 6831 h 9598"/>
                  <a:gd name="connsiteX59" fmla="*/ 8795 w 10000"/>
                  <a:gd name="connsiteY59" fmla="*/ 6129 h 9598"/>
                  <a:gd name="connsiteX60" fmla="*/ 8795 w 10000"/>
                  <a:gd name="connsiteY60" fmla="*/ 5963 h 9598"/>
                  <a:gd name="connsiteX61" fmla="*/ 8755 w 10000"/>
                  <a:gd name="connsiteY61" fmla="*/ 5549 h 9598"/>
                  <a:gd name="connsiteX62" fmla="*/ 9157 w 10000"/>
                  <a:gd name="connsiteY62" fmla="*/ 4057 h 9598"/>
                  <a:gd name="connsiteX63" fmla="*/ 9277 w 10000"/>
                  <a:gd name="connsiteY63" fmla="*/ 4057 h 9598"/>
                  <a:gd name="connsiteX64" fmla="*/ 9438 w 10000"/>
                  <a:gd name="connsiteY64" fmla="*/ 3933 h 9598"/>
                  <a:gd name="connsiteX65" fmla="*/ 9920 w 10000"/>
                  <a:gd name="connsiteY65" fmla="*/ 3726 h 9598"/>
                  <a:gd name="connsiteX66" fmla="*/ 10000 w 10000"/>
                  <a:gd name="connsiteY66" fmla="*/ 3395 h 9598"/>
                  <a:gd name="connsiteX67" fmla="*/ 9960 w 10000"/>
                  <a:gd name="connsiteY67" fmla="*/ 3311 h 9598"/>
                  <a:gd name="connsiteX68" fmla="*/ 9799 w 10000"/>
                  <a:gd name="connsiteY68" fmla="*/ 3311 h 9598"/>
                  <a:gd name="connsiteX69" fmla="*/ 9679 w 10000"/>
                  <a:gd name="connsiteY69" fmla="*/ 3105 h 9598"/>
                  <a:gd name="connsiteX70" fmla="*/ 9438 w 10000"/>
                  <a:gd name="connsiteY70" fmla="*/ 3024 h 9598"/>
                  <a:gd name="connsiteX71" fmla="*/ 9317 w 10000"/>
                  <a:gd name="connsiteY71" fmla="*/ 2858 h 9598"/>
                  <a:gd name="connsiteX72" fmla="*/ 9237 w 10000"/>
                  <a:gd name="connsiteY72" fmla="*/ 2237 h 9598"/>
                  <a:gd name="connsiteX73" fmla="*/ 9237 w 10000"/>
                  <a:gd name="connsiteY73" fmla="*/ 1366 h 9598"/>
                  <a:gd name="connsiteX74" fmla="*/ 9036 w 10000"/>
                  <a:gd name="connsiteY74" fmla="*/ 1078 h 9598"/>
                  <a:gd name="connsiteX75" fmla="*/ 8996 w 10000"/>
                  <a:gd name="connsiteY75" fmla="*/ 787 h 9598"/>
                  <a:gd name="connsiteX76" fmla="*/ 8675 w 10000"/>
                  <a:gd name="connsiteY76" fmla="*/ 373 h 9598"/>
                  <a:gd name="connsiteX77" fmla="*/ 8394 w 10000"/>
                  <a:gd name="connsiteY77" fmla="*/ 209 h 9598"/>
                  <a:gd name="connsiteX78" fmla="*/ 8233 w 10000"/>
                  <a:gd name="connsiteY78" fmla="*/ 0 h 9598"/>
                  <a:gd name="connsiteX79" fmla="*/ 7992 w 10000"/>
                  <a:gd name="connsiteY79" fmla="*/ 209 h 9598"/>
                  <a:gd name="connsiteX80" fmla="*/ 7831 w 10000"/>
                  <a:gd name="connsiteY80" fmla="*/ 166 h 9598"/>
                  <a:gd name="connsiteX81" fmla="*/ 7711 w 10000"/>
                  <a:gd name="connsiteY81" fmla="*/ 537 h 9598"/>
                  <a:gd name="connsiteX82" fmla="*/ 7390 w 10000"/>
                  <a:gd name="connsiteY82" fmla="*/ 622 h 9598"/>
                  <a:gd name="connsiteX83" fmla="*/ 7309 w 10000"/>
                  <a:gd name="connsiteY83" fmla="*/ 910 h 9598"/>
                  <a:gd name="connsiteX84" fmla="*/ 7028 w 10000"/>
                  <a:gd name="connsiteY84" fmla="*/ 910 h 9598"/>
                  <a:gd name="connsiteX85" fmla="*/ 6787 w 10000"/>
                  <a:gd name="connsiteY85" fmla="*/ 787 h 9598"/>
                  <a:gd name="connsiteX86" fmla="*/ 6265 w 10000"/>
                  <a:gd name="connsiteY86" fmla="*/ 787 h 9598"/>
                  <a:gd name="connsiteX87" fmla="*/ 5743 w 10000"/>
                  <a:gd name="connsiteY87" fmla="*/ 787 h 9598"/>
                  <a:gd name="connsiteX88" fmla="*/ 5783 w 10000"/>
                  <a:gd name="connsiteY88" fmla="*/ 622 h 9598"/>
                  <a:gd name="connsiteX89" fmla="*/ 5703 w 10000"/>
                  <a:gd name="connsiteY89" fmla="*/ 622 h 9598"/>
                  <a:gd name="connsiteX90" fmla="*/ 5663 w 10000"/>
                  <a:gd name="connsiteY90" fmla="*/ 787 h 9598"/>
                  <a:gd name="connsiteX91" fmla="*/ 5181 w 10000"/>
                  <a:gd name="connsiteY91" fmla="*/ 787 h 9598"/>
                  <a:gd name="connsiteX92" fmla="*/ 4699 w 10000"/>
                  <a:gd name="connsiteY92" fmla="*/ 787 h 9598"/>
                  <a:gd name="connsiteX93" fmla="*/ 4217 w 10000"/>
                  <a:gd name="connsiteY93" fmla="*/ 787 h 9598"/>
                  <a:gd name="connsiteX94" fmla="*/ 3735 w 10000"/>
                  <a:gd name="connsiteY94" fmla="*/ 787 h 9598"/>
                  <a:gd name="connsiteX95" fmla="*/ 3293 w 10000"/>
                  <a:gd name="connsiteY95" fmla="*/ 787 h 9598"/>
                  <a:gd name="connsiteX96" fmla="*/ 2811 w 10000"/>
                  <a:gd name="connsiteY96" fmla="*/ 787 h 9598"/>
                  <a:gd name="connsiteX97" fmla="*/ 2369 w 10000"/>
                  <a:gd name="connsiteY97" fmla="*/ 787 h 9598"/>
                  <a:gd name="connsiteX98" fmla="*/ 1888 w 10000"/>
                  <a:gd name="connsiteY98" fmla="*/ 787 h 9598"/>
                  <a:gd name="connsiteX99" fmla="*/ 1888 w 10000"/>
                  <a:gd name="connsiteY99" fmla="*/ 1366 h 9598"/>
                  <a:gd name="connsiteX100" fmla="*/ 1888 w 10000"/>
                  <a:gd name="connsiteY100" fmla="*/ 2112 h 9598"/>
                  <a:gd name="connsiteX101" fmla="*/ 1285 w 10000"/>
                  <a:gd name="connsiteY101" fmla="*/ 2112 h 9598"/>
                  <a:gd name="connsiteX102" fmla="*/ 1285 w 10000"/>
                  <a:gd name="connsiteY102" fmla="*/ 2443 h 9598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964 w 10000"/>
                  <a:gd name="connsiteY20" fmla="*/ 9879 h 10000"/>
                  <a:gd name="connsiteX21" fmla="*/ 1192 w 10000"/>
                  <a:gd name="connsiteY21" fmla="*/ 10000 h 10000"/>
                  <a:gd name="connsiteX22" fmla="*/ 1332 w 10000"/>
                  <a:gd name="connsiteY22" fmla="*/ 9404 h 10000"/>
                  <a:gd name="connsiteX23" fmla="*/ 1439 w 10000"/>
                  <a:gd name="connsiteY23" fmla="*/ 9506 h 10000"/>
                  <a:gd name="connsiteX24" fmla="*/ 1767 w 10000"/>
                  <a:gd name="connsiteY24" fmla="*/ 9426 h 10000"/>
                  <a:gd name="connsiteX25" fmla="*/ 1951 w 10000"/>
                  <a:gd name="connsiteY25" fmla="*/ 9317 h 10000"/>
                  <a:gd name="connsiteX26" fmla="*/ 2025 w 10000"/>
                  <a:gd name="connsiteY26" fmla="*/ 9052 h 10000"/>
                  <a:gd name="connsiteX27" fmla="*/ 2338 w 10000"/>
                  <a:gd name="connsiteY27" fmla="*/ 8966 h 10000"/>
                  <a:gd name="connsiteX28" fmla="*/ 2643 w 10000"/>
                  <a:gd name="connsiteY28" fmla="*/ 9388 h 10000"/>
                  <a:gd name="connsiteX29" fmla="*/ 2911 w 10000"/>
                  <a:gd name="connsiteY29" fmla="*/ 9572 h 10000"/>
                  <a:gd name="connsiteX30" fmla="*/ 3167 w 10000"/>
                  <a:gd name="connsiteY30" fmla="*/ 9539 h 10000"/>
                  <a:gd name="connsiteX31" fmla="*/ 3795 w 10000"/>
                  <a:gd name="connsiteY31" fmla="*/ 9693 h 10000"/>
                  <a:gd name="connsiteX32" fmla="*/ 4153 w 10000"/>
                  <a:gd name="connsiteY32" fmla="*/ 9776 h 10000"/>
                  <a:gd name="connsiteX33" fmla="*/ 4600 w 10000"/>
                  <a:gd name="connsiteY33" fmla="*/ 9556 h 10000"/>
                  <a:gd name="connsiteX34" fmla="*/ 4901 w 10000"/>
                  <a:gd name="connsiteY34" fmla="*/ 9086 h 10000"/>
                  <a:gd name="connsiteX35" fmla="*/ 5337 w 10000"/>
                  <a:gd name="connsiteY35" fmla="*/ 9340 h 10000"/>
                  <a:gd name="connsiteX36" fmla="*/ 5564 w 10000"/>
                  <a:gd name="connsiteY36" fmla="*/ 9506 h 10000"/>
                  <a:gd name="connsiteX37" fmla="*/ 5768 w 10000"/>
                  <a:gd name="connsiteY37" fmla="*/ 9399 h 10000"/>
                  <a:gd name="connsiteX38" fmla="*/ 5933 w 10000"/>
                  <a:gd name="connsiteY38" fmla="*/ 9300 h 10000"/>
                  <a:gd name="connsiteX39" fmla="*/ 6089 w 10000"/>
                  <a:gd name="connsiteY39" fmla="*/ 9078 h 10000"/>
                  <a:gd name="connsiteX40" fmla="*/ 6274 w 10000"/>
                  <a:gd name="connsiteY40" fmla="*/ 8778 h 10000"/>
                  <a:gd name="connsiteX41" fmla="*/ 6389 w 10000"/>
                  <a:gd name="connsiteY41" fmla="*/ 8638 h 10000"/>
                  <a:gd name="connsiteX42" fmla="*/ 6524 w 10000"/>
                  <a:gd name="connsiteY42" fmla="*/ 8582 h 10000"/>
                  <a:gd name="connsiteX43" fmla="*/ 6531 w 10000"/>
                  <a:gd name="connsiteY43" fmla="*/ 8405 h 10000"/>
                  <a:gd name="connsiteX44" fmla="*/ 6572 w 10000"/>
                  <a:gd name="connsiteY44" fmla="*/ 8201 h 10000"/>
                  <a:gd name="connsiteX45" fmla="*/ 6602 w 10000"/>
                  <a:gd name="connsiteY45" fmla="*/ 8014 h 10000"/>
                  <a:gd name="connsiteX46" fmla="*/ 6707 w 10000"/>
                  <a:gd name="connsiteY46" fmla="*/ 7862 h 10000"/>
                  <a:gd name="connsiteX47" fmla="*/ 6876 w 10000"/>
                  <a:gd name="connsiteY47" fmla="*/ 7863 h 10000"/>
                  <a:gd name="connsiteX48" fmla="*/ 6827 w 10000"/>
                  <a:gd name="connsiteY48" fmla="*/ 8797 h 10000"/>
                  <a:gd name="connsiteX49" fmla="*/ 6991 w 10000"/>
                  <a:gd name="connsiteY49" fmla="*/ 8904 h 10000"/>
                  <a:gd name="connsiteX50" fmla="*/ 7275 w 10000"/>
                  <a:gd name="connsiteY50" fmla="*/ 9176 h 10000"/>
                  <a:gd name="connsiteX51" fmla="*/ 7430 w 10000"/>
                  <a:gd name="connsiteY51" fmla="*/ 8756 h 10000"/>
                  <a:gd name="connsiteX52" fmla="*/ 7470 w 10000"/>
                  <a:gd name="connsiteY52" fmla="*/ 8798 h 10000"/>
                  <a:gd name="connsiteX53" fmla="*/ 7590 w 10000"/>
                  <a:gd name="connsiteY53" fmla="*/ 8541 h 10000"/>
                  <a:gd name="connsiteX54" fmla="*/ 7831 w 10000"/>
                  <a:gd name="connsiteY54" fmla="*/ 8412 h 10000"/>
                  <a:gd name="connsiteX55" fmla="*/ 7952 w 10000"/>
                  <a:gd name="connsiteY55" fmla="*/ 7937 h 10000"/>
                  <a:gd name="connsiteX56" fmla="*/ 8313 w 10000"/>
                  <a:gd name="connsiteY56" fmla="*/ 7377 h 10000"/>
                  <a:gd name="connsiteX57" fmla="*/ 8594 w 10000"/>
                  <a:gd name="connsiteY57" fmla="*/ 7117 h 10000"/>
                  <a:gd name="connsiteX58" fmla="*/ 8795 w 10000"/>
                  <a:gd name="connsiteY58" fmla="*/ 6386 h 10000"/>
                  <a:gd name="connsiteX59" fmla="*/ 8795 w 10000"/>
                  <a:gd name="connsiteY59" fmla="*/ 6213 h 10000"/>
                  <a:gd name="connsiteX60" fmla="*/ 8755 w 10000"/>
                  <a:gd name="connsiteY60" fmla="*/ 5781 h 10000"/>
                  <a:gd name="connsiteX61" fmla="*/ 9157 w 10000"/>
                  <a:gd name="connsiteY61" fmla="*/ 4227 h 10000"/>
                  <a:gd name="connsiteX62" fmla="*/ 9277 w 10000"/>
                  <a:gd name="connsiteY62" fmla="*/ 4227 h 10000"/>
                  <a:gd name="connsiteX63" fmla="*/ 9438 w 10000"/>
                  <a:gd name="connsiteY63" fmla="*/ 4098 h 10000"/>
                  <a:gd name="connsiteX64" fmla="*/ 9920 w 10000"/>
                  <a:gd name="connsiteY64" fmla="*/ 3882 h 10000"/>
                  <a:gd name="connsiteX65" fmla="*/ 10000 w 10000"/>
                  <a:gd name="connsiteY65" fmla="*/ 3537 h 10000"/>
                  <a:gd name="connsiteX66" fmla="*/ 9960 w 10000"/>
                  <a:gd name="connsiteY66" fmla="*/ 3450 h 10000"/>
                  <a:gd name="connsiteX67" fmla="*/ 9799 w 10000"/>
                  <a:gd name="connsiteY67" fmla="*/ 3450 h 10000"/>
                  <a:gd name="connsiteX68" fmla="*/ 9679 w 10000"/>
                  <a:gd name="connsiteY68" fmla="*/ 3235 h 10000"/>
                  <a:gd name="connsiteX69" fmla="*/ 9438 w 10000"/>
                  <a:gd name="connsiteY69" fmla="*/ 3151 h 10000"/>
                  <a:gd name="connsiteX70" fmla="*/ 9317 w 10000"/>
                  <a:gd name="connsiteY70" fmla="*/ 2978 h 10000"/>
                  <a:gd name="connsiteX71" fmla="*/ 9237 w 10000"/>
                  <a:gd name="connsiteY71" fmla="*/ 2331 h 10000"/>
                  <a:gd name="connsiteX72" fmla="*/ 9237 w 10000"/>
                  <a:gd name="connsiteY72" fmla="*/ 1423 h 10000"/>
                  <a:gd name="connsiteX73" fmla="*/ 9036 w 10000"/>
                  <a:gd name="connsiteY73" fmla="*/ 1123 h 10000"/>
                  <a:gd name="connsiteX74" fmla="*/ 8996 w 10000"/>
                  <a:gd name="connsiteY74" fmla="*/ 820 h 10000"/>
                  <a:gd name="connsiteX75" fmla="*/ 8675 w 10000"/>
                  <a:gd name="connsiteY75" fmla="*/ 389 h 10000"/>
                  <a:gd name="connsiteX76" fmla="*/ 8394 w 10000"/>
                  <a:gd name="connsiteY76" fmla="*/ 218 h 10000"/>
                  <a:gd name="connsiteX77" fmla="*/ 8233 w 10000"/>
                  <a:gd name="connsiteY77" fmla="*/ 0 h 10000"/>
                  <a:gd name="connsiteX78" fmla="*/ 7992 w 10000"/>
                  <a:gd name="connsiteY78" fmla="*/ 218 h 10000"/>
                  <a:gd name="connsiteX79" fmla="*/ 7831 w 10000"/>
                  <a:gd name="connsiteY79" fmla="*/ 173 h 10000"/>
                  <a:gd name="connsiteX80" fmla="*/ 7711 w 10000"/>
                  <a:gd name="connsiteY80" fmla="*/ 559 h 10000"/>
                  <a:gd name="connsiteX81" fmla="*/ 7390 w 10000"/>
                  <a:gd name="connsiteY81" fmla="*/ 648 h 10000"/>
                  <a:gd name="connsiteX82" fmla="*/ 7309 w 10000"/>
                  <a:gd name="connsiteY82" fmla="*/ 948 h 10000"/>
                  <a:gd name="connsiteX83" fmla="*/ 7028 w 10000"/>
                  <a:gd name="connsiteY83" fmla="*/ 948 h 10000"/>
                  <a:gd name="connsiteX84" fmla="*/ 6787 w 10000"/>
                  <a:gd name="connsiteY84" fmla="*/ 820 h 10000"/>
                  <a:gd name="connsiteX85" fmla="*/ 6265 w 10000"/>
                  <a:gd name="connsiteY85" fmla="*/ 820 h 10000"/>
                  <a:gd name="connsiteX86" fmla="*/ 5743 w 10000"/>
                  <a:gd name="connsiteY86" fmla="*/ 820 h 10000"/>
                  <a:gd name="connsiteX87" fmla="*/ 5783 w 10000"/>
                  <a:gd name="connsiteY87" fmla="*/ 648 h 10000"/>
                  <a:gd name="connsiteX88" fmla="*/ 5703 w 10000"/>
                  <a:gd name="connsiteY88" fmla="*/ 648 h 10000"/>
                  <a:gd name="connsiteX89" fmla="*/ 5663 w 10000"/>
                  <a:gd name="connsiteY89" fmla="*/ 820 h 10000"/>
                  <a:gd name="connsiteX90" fmla="*/ 5181 w 10000"/>
                  <a:gd name="connsiteY90" fmla="*/ 820 h 10000"/>
                  <a:gd name="connsiteX91" fmla="*/ 4699 w 10000"/>
                  <a:gd name="connsiteY91" fmla="*/ 820 h 10000"/>
                  <a:gd name="connsiteX92" fmla="*/ 4217 w 10000"/>
                  <a:gd name="connsiteY92" fmla="*/ 820 h 10000"/>
                  <a:gd name="connsiteX93" fmla="*/ 3735 w 10000"/>
                  <a:gd name="connsiteY93" fmla="*/ 820 h 10000"/>
                  <a:gd name="connsiteX94" fmla="*/ 3293 w 10000"/>
                  <a:gd name="connsiteY94" fmla="*/ 820 h 10000"/>
                  <a:gd name="connsiteX95" fmla="*/ 2811 w 10000"/>
                  <a:gd name="connsiteY95" fmla="*/ 820 h 10000"/>
                  <a:gd name="connsiteX96" fmla="*/ 2369 w 10000"/>
                  <a:gd name="connsiteY96" fmla="*/ 820 h 10000"/>
                  <a:gd name="connsiteX97" fmla="*/ 1888 w 10000"/>
                  <a:gd name="connsiteY97" fmla="*/ 820 h 10000"/>
                  <a:gd name="connsiteX98" fmla="*/ 1888 w 10000"/>
                  <a:gd name="connsiteY98" fmla="*/ 1423 h 10000"/>
                  <a:gd name="connsiteX99" fmla="*/ 1888 w 10000"/>
                  <a:gd name="connsiteY99" fmla="*/ 2200 h 10000"/>
                  <a:gd name="connsiteX100" fmla="*/ 1285 w 10000"/>
                  <a:gd name="connsiteY100" fmla="*/ 2200 h 10000"/>
                  <a:gd name="connsiteX101" fmla="*/ 1285 w 10000"/>
                  <a:gd name="connsiteY101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964 w 10000"/>
                  <a:gd name="connsiteY20" fmla="*/ 9879 h 10000"/>
                  <a:gd name="connsiteX21" fmla="*/ 1192 w 10000"/>
                  <a:gd name="connsiteY21" fmla="*/ 10000 h 10000"/>
                  <a:gd name="connsiteX22" fmla="*/ 1332 w 10000"/>
                  <a:gd name="connsiteY22" fmla="*/ 9404 h 10000"/>
                  <a:gd name="connsiteX23" fmla="*/ 1439 w 10000"/>
                  <a:gd name="connsiteY23" fmla="*/ 9506 h 10000"/>
                  <a:gd name="connsiteX24" fmla="*/ 1767 w 10000"/>
                  <a:gd name="connsiteY24" fmla="*/ 9426 h 10000"/>
                  <a:gd name="connsiteX25" fmla="*/ 1951 w 10000"/>
                  <a:gd name="connsiteY25" fmla="*/ 9317 h 10000"/>
                  <a:gd name="connsiteX26" fmla="*/ 2025 w 10000"/>
                  <a:gd name="connsiteY26" fmla="*/ 9052 h 10000"/>
                  <a:gd name="connsiteX27" fmla="*/ 2338 w 10000"/>
                  <a:gd name="connsiteY27" fmla="*/ 8966 h 10000"/>
                  <a:gd name="connsiteX28" fmla="*/ 2643 w 10000"/>
                  <a:gd name="connsiteY28" fmla="*/ 9388 h 10000"/>
                  <a:gd name="connsiteX29" fmla="*/ 2911 w 10000"/>
                  <a:gd name="connsiteY29" fmla="*/ 9572 h 10000"/>
                  <a:gd name="connsiteX30" fmla="*/ 3167 w 10000"/>
                  <a:gd name="connsiteY30" fmla="*/ 9539 h 10000"/>
                  <a:gd name="connsiteX31" fmla="*/ 3795 w 10000"/>
                  <a:gd name="connsiteY31" fmla="*/ 9693 h 10000"/>
                  <a:gd name="connsiteX32" fmla="*/ 4153 w 10000"/>
                  <a:gd name="connsiteY32" fmla="*/ 9776 h 10000"/>
                  <a:gd name="connsiteX33" fmla="*/ 4600 w 10000"/>
                  <a:gd name="connsiteY33" fmla="*/ 9556 h 10000"/>
                  <a:gd name="connsiteX34" fmla="*/ 4901 w 10000"/>
                  <a:gd name="connsiteY34" fmla="*/ 9086 h 10000"/>
                  <a:gd name="connsiteX35" fmla="*/ 5337 w 10000"/>
                  <a:gd name="connsiteY35" fmla="*/ 9340 h 10000"/>
                  <a:gd name="connsiteX36" fmla="*/ 5564 w 10000"/>
                  <a:gd name="connsiteY36" fmla="*/ 9506 h 10000"/>
                  <a:gd name="connsiteX37" fmla="*/ 5768 w 10000"/>
                  <a:gd name="connsiteY37" fmla="*/ 9399 h 10000"/>
                  <a:gd name="connsiteX38" fmla="*/ 5933 w 10000"/>
                  <a:gd name="connsiteY38" fmla="*/ 9300 h 10000"/>
                  <a:gd name="connsiteX39" fmla="*/ 6089 w 10000"/>
                  <a:gd name="connsiteY39" fmla="*/ 9078 h 10000"/>
                  <a:gd name="connsiteX40" fmla="*/ 6274 w 10000"/>
                  <a:gd name="connsiteY40" fmla="*/ 8778 h 10000"/>
                  <a:gd name="connsiteX41" fmla="*/ 6389 w 10000"/>
                  <a:gd name="connsiteY41" fmla="*/ 8638 h 10000"/>
                  <a:gd name="connsiteX42" fmla="*/ 6524 w 10000"/>
                  <a:gd name="connsiteY42" fmla="*/ 8582 h 10000"/>
                  <a:gd name="connsiteX43" fmla="*/ 6531 w 10000"/>
                  <a:gd name="connsiteY43" fmla="*/ 8405 h 10000"/>
                  <a:gd name="connsiteX44" fmla="*/ 6572 w 10000"/>
                  <a:gd name="connsiteY44" fmla="*/ 8201 h 10000"/>
                  <a:gd name="connsiteX45" fmla="*/ 6602 w 10000"/>
                  <a:gd name="connsiteY45" fmla="*/ 8014 h 10000"/>
                  <a:gd name="connsiteX46" fmla="*/ 6707 w 10000"/>
                  <a:gd name="connsiteY46" fmla="*/ 7862 h 10000"/>
                  <a:gd name="connsiteX47" fmla="*/ 6827 w 10000"/>
                  <a:gd name="connsiteY47" fmla="*/ 8797 h 10000"/>
                  <a:gd name="connsiteX48" fmla="*/ 6991 w 10000"/>
                  <a:gd name="connsiteY48" fmla="*/ 8904 h 10000"/>
                  <a:gd name="connsiteX49" fmla="*/ 7275 w 10000"/>
                  <a:gd name="connsiteY49" fmla="*/ 9176 h 10000"/>
                  <a:gd name="connsiteX50" fmla="*/ 7430 w 10000"/>
                  <a:gd name="connsiteY50" fmla="*/ 8756 h 10000"/>
                  <a:gd name="connsiteX51" fmla="*/ 7470 w 10000"/>
                  <a:gd name="connsiteY51" fmla="*/ 8798 h 10000"/>
                  <a:gd name="connsiteX52" fmla="*/ 7590 w 10000"/>
                  <a:gd name="connsiteY52" fmla="*/ 8541 h 10000"/>
                  <a:gd name="connsiteX53" fmla="*/ 7831 w 10000"/>
                  <a:gd name="connsiteY53" fmla="*/ 8412 h 10000"/>
                  <a:gd name="connsiteX54" fmla="*/ 7952 w 10000"/>
                  <a:gd name="connsiteY54" fmla="*/ 7937 h 10000"/>
                  <a:gd name="connsiteX55" fmla="*/ 8313 w 10000"/>
                  <a:gd name="connsiteY55" fmla="*/ 7377 h 10000"/>
                  <a:gd name="connsiteX56" fmla="*/ 8594 w 10000"/>
                  <a:gd name="connsiteY56" fmla="*/ 7117 h 10000"/>
                  <a:gd name="connsiteX57" fmla="*/ 8795 w 10000"/>
                  <a:gd name="connsiteY57" fmla="*/ 6386 h 10000"/>
                  <a:gd name="connsiteX58" fmla="*/ 8795 w 10000"/>
                  <a:gd name="connsiteY58" fmla="*/ 6213 h 10000"/>
                  <a:gd name="connsiteX59" fmla="*/ 8755 w 10000"/>
                  <a:gd name="connsiteY59" fmla="*/ 5781 h 10000"/>
                  <a:gd name="connsiteX60" fmla="*/ 9157 w 10000"/>
                  <a:gd name="connsiteY60" fmla="*/ 4227 h 10000"/>
                  <a:gd name="connsiteX61" fmla="*/ 9277 w 10000"/>
                  <a:gd name="connsiteY61" fmla="*/ 4227 h 10000"/>
                  <a:gd name="connsiteX62" fmla="*/ 9438 w 10000"/>
                  <a:gd name="connsiteY62" fmla="*/ 4098 h 10000"/>
                  <a:gd name="connsiteX63" fmla="*/ 9920 w 10000"/>
                  <a:gd name="connsiteY63" fmla="*/ 3882 h 10000"/>
                  <a:gd name="connsiteX64" fmla="*/ 10000 w 10000"/>
                  <a:gd name="connsiteY64" fmla="*/ 3537 h 10000"/>
                  <a:gd name="connsiteX65" fmla="*/ 9960 w 10000"/>
                  <a:gd name="connsiteY65" fmla="*/ 3450 h 10000"/>
                  <a:gd name="connsiteX66" fmla="*/ 9799 w 10000"/>
                  <a:gd name="connsiteY66" fmla="*/ 3450 h 10000"/>
                  <a:gd name="connsiteX67" fmla="*/ 9679 w 10000"/>
                  <a:gd name="connsiteY67" fmla="*/ 3235 h 10000"/>
                  <a:gd name="connsiteX68" fmla="*/ 9438 w 10000"/>
                  <a:gd name="connsiteY68" fmla="*/ 3151 h 10000"/>
                  <a:gd name="connsiteX69" fmla="*/ 9317 w 10000"/>
                  <a:gd name="connsiteY69" fmla="*/ 2978 h 10000"/>
                  <a:gd name="connsiteX70" fmla="*/ 9237 w 10000"/>
                  <a:gd name="connsiteY70" fmla="*/ 2331 h 10000"/>
                  <a:gd name="connsiteX71" fmla="*/ 9237 w 10000"/>
                  <a:gd name="connsiteY71" fmla="*/ 1423 h 10000"/>
                  <a:gd name="connsiteX72" fmla="*/ 9036 w 10000"/>
                  <a:gd name="connsiteY72" fmla="*/ 1123 h 10000"/>
                  <a:gd name="connsiteX73" fmla="*/ 8996 w 10000"/>
                  <a:gd name="connsiteY73" fmla="*/ 820 h 10000"/>
                  <a:gd name="connsiteX74" fmla="*/ 8675 w 10000"/>
                  <a:gd name="connsiteY74" fmla="*/ 389 h 10000"/>
                  <a:gd name="connsiteX75" fmla="*/ 8394 w 10000"/>
                  <a:gd name="connsiteY75" fmla="*/ 218 h 10000"/>
                  <a:gd name="connsiteX76" fmla="*/ 8233 w 10000"/>
                  <a:gd name="connsiteY76" fmla="*/ 0 h 10000"/>
                  <a:gd name="connsiteX77" fmla="*/ 7992 w 10000"/>
                  <a:gd name="connsiteY77" fmla="*/ 218 h 10000"/>
                  <a:gd name="connsiteX78" fmla="*/ 7831 w 10000"/>
                  <a:gd name="connsiteY78" fmla="*/ 173 h 10000"/>
                  <a:gd name="connsiteX79" fmla="*/ 7711 w 10000"/>
                  <a:gd name="connsiteY79" fmla="*/ 559 h 10000"/>
                  <a:gd name="connsiteX80" fmla="*/ 7390 w 10000"/>
                  <a:gd name="connsiteY80" fmla="*/ 648 h 10000"/>
                  <a:gd name="connsiteX81" fmla="*/ 7309 w 10000"/>
                  <a:gd name="connsiteY81" fmla="*/ 948 h 10000"/>
                  <a:gd name="connsiteX82" fmla="*/ 7028 w 10000"/>
                  <a:gd name="connsiteY82" fmla="*/ 948 h 10000"/>
                  <a:gd name="connsiteX83" fmla="*/ 6787 w 10000"/>
                  <a:gd name="connsiteY83" fmla="*/ 820 h 10000"/>
                  <a:gd name="connsiteX84" fmla="*/ 6265 w 10000"/>
                  <a:gd name="connsiteY84" fmla="*/ 820 h 10000"/>
                  <a:gd name="connsiteX85" fmla="*/ 5743 w 10000"/>
                  <a:gd name="connsiteY85" fmla="*/ 820 h 10000"/>
                  <a:gd name="connsiteX86" fmla="*/ 5783 w 10000"/>
                  <a:gd name="connsiteY86" fmla="*/ 648 h 10000"/>
                  <a:gd name="connsiteX87" fmla="*/ 5703 w 10000"/>
                  <a:gd name="connsiteY87" fmla="*/ 648 h 10000"/>
                  <a:gd name="connsiteX88" fmla="*/ 5663 w 10000"/>
                  <a:gd name="connsiteY88" fmla="*/ 820 h 10000"/>
                  <a:gd name="connsiteX89" fmla="*/ 5181 w 10000"/>
                  <a:gd name="connsiteY89" fmla="*/ 820 h 10000"/>
                  <a:gd name="connsiteX90" fmla="*/ 4699 w 10000"/>
                  <a:gd name="connsiteY90" fmla="*/ 820 h 10000"/>
                  <a:gd name="connsiteX91" fmla="*/ 4217 w 10000"/>
                  <a:gd name="connsiteY91" fmla="*/ 820 h 10000"/>
                  <a:gd name="connsiteX92" fmla="*/ 3735 w 10000"/>
                  <a:gd name="connsiteY92" fmla="*/ 820 h 10000"/>
                  <a:gd name="connsiteX93" fmla="*/ 3293 w 10000"/>
                  <a:gd name="connsiteY93" fmla="*/ 820 h 10000"/>
                  <a:gd name="connsiteX94" fmla="*/ 2811 w 10000"/>
                  <a:gd name="connsiteY94" fmla="*/ 820 h 10000"/>
                  <a:gd name="connsiteX95" fmla="*/ 2369 w 10000"/>
                  <a:gd name="connsiteY95" fmla="*/ 820 h 10000"/>
                  <a:gd name="connsiteX96" fmla="*/ 1888 w 10000"/>
                  <a:gd name="connsiteY96" fmla="*/ 820 h 10000"/>
                  <a:gd name="connsiteX97" fmla="*/ 1888 w 10000"/>
                  <a:gd name="connsiteY97" fmla="*/ 1423 h 10000"/>
                  <a:gd name="connsiteX98" fmla="*/ 1888 w 10000"/>
                  <a:gd name="connsiteY98" fmla="*/ 2200 h 10000"/>
                  <a:gd name="connsiteX99" fmla="*/ 1285 w 10000"/>
                  <a:gd name="connsiteY99" fmla="*/ 2200 h 10000"/>
                  <a:gd name="connsiteX100" fmla="*/ 1285 w 10000"/>
                  <a:gd name="connsiteY100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964 w 10000"/>
                  <a:gd name="connsiteY20" fmla="*/ 9879 h 10000"/>
                  <a:gd name="connsiteX21" fmla="*/ 1192 w 10000"/>
                  <a:gd name="connsiteY21" fmla="*/ 10000 h 10000"/>
                  <a:gd name="connsiteX22" fmla="*/ 1332 w 10000"/>
                  <a:gd name="connsiteY22" fmla="*/ 9404 h 10000"/>
                  <a:gd name="connsiteX23" fmla="*/ 1439 w 10000"/>
                  <a:gd name="connsiteY23" fmla="*/ 9506 h 10000"/>
                  <a:gd name="connsiteX24" fmla="*/ 1767 w 10000"/>
                  <a:gd name="connsiteY24" fmla="*/ 9426 h 10000"/>
                  <a:gd name="connsiteX25" fmla="*/ 1951 w 10000"/>
                  <a:gd name="connsiteY25" fmla="*/ 9317 h 10000"/>
                  <a:gd name="connsiteX26" fmla="*/ 2025 w 10000"/>
                  <a:gd name="connsiteY26" fmla="*/ 9052 h 10000"/>
                  <a:gd name="connsiteX27" fmla="*/ 2338 w 10000"/>
                  <a:gd name="connsiteY27" fmla="*/ 8966 h 10000"/>
                  <a:gd name="connsiteX28" fmla="*/ 2643 w 10000"/>
                  <a:gd name="connsiteY28" fmla="*/ 9388 h 10000"/>
                  <a:gd name="connsiteX29" fmla="*/ 2911 w 10000"/>
                  <a:gd name="connsiteY29" fmla="*/ 9572 h 10000"/>
                  <a:gd name="connsiteX30" fmla="*/ 3167 w 10000"/>
                  <a:gd name="connsiteY30" fmla="*/ 9539 h 10000"/>
                  <a:gd name="connsiteX31" fmla="*/ 3795 w 10000"/>
                  <a:gd name="connsiteY31" fmla="*/ 9693 h 10000"/>
                  <a:gd name="connsiteX32" fmla="*/ 4153 w 10000"/>
                  <a:gd name="connsiteY32" fmla="*/ 9776 h 10000"/>
                  <a:gd name="connsiteX33" fmla="*/ 4600 w 10000"/>
                  <a:gd name="connsiteY33" fmla="*/ 9556 h 10000"/>
                  <a:gd name="connsiteX34" fmla="*/ 4901 w 10000"/>
                  <a:gd name="connsiteY34" fmla="*/ 9086 h 10000"/>
                  <a:gd name="connsiteX35" fmla="*/ 5337 w 10000"/>
                  <a:gd name="connsiteY35" fmla="*/ 9340 h 10000"/>
                  <a:gd name="connsiteX36" fmla="*/ 5564 w 10000"/>
                  <a:gd name="connsiteY36" fmla="*/ 9506 h 10000"/>
                  <a:gd name="connsiteX37" fmla="*/ 5768 w 10000"/>
                  <a:gd name="connsiteY37" fmla="*/ 9399 h 10000"/>
                  <a:gd name="connsiteX38" fmla="*/ 5933 w 10000"/>
                  <a:gd name="connsiteY38" fmla="*/ 9300 h 10000"/>
                  <a:gd name="connsiteX39" fmla="*/ 6089 w 10000"/>
                  <a:gd name="connsiteY39" fmla="*/ 9078 h 10000"/>
                  <a:gd name="connsiteX40" fmla="*/ 6274 w 10000"/>
                  <a:gd name="connsiteY40" fmla="*/ 8778 h 10000"/>
                  <a:gd name="connsiteX41" fmla="*/ 6389 w 10000"/>
                  <a:gd name="connsiteY41" fmla="*/ 8638 h 10000"/>
                  <a:gd name="connsiteX42" fmla="*/ 6524 w 10000"/>
                  <a:gd name="connsiteY42" fmla="*/ 8582 h 10000"/>
                  <a:gd name="connsiteX43" fmla="*/ 6531 w 10000"/>
                  <a:gd name="connsiteY43" fmla="*/ 8405 h 10000"/>
                  <a:gd name="connsiteX44" fmla="*/ 6572 w 10000"/>
                  <a:gd name="connsiteY44" fmla="*/ 8201 h 10000"/>
                  <a:gd name="connsiteX45" fmla="*/ 6602 w 10000"/>
                  <a:gd name="connsiteY45" fmla="*/ 8014 h 10000"/>
                  <a:gd name="connsiteX46" fmla="*/ 6707 w 10000"/>
                  <a:gd name="connsiteY46" fmla="*/ 7862 h 10000"/>
                  <a:gd name="connsiteX47" fmla="*/ 6827 w 10000"/>
                  <a:gd name="connsiteY47" fmla="*/ 8797 h 10000"/>
                  <a:gd name="connsiteX48" fmla="*/ 7275 w 10000"/>
                  <a:gd name="connsiteY48" fmla="*/ 9176 h 10000"/>
                  <a:gd name="connsiteX49" fmla="*/ 7430 w 10000"/>
                  <a:gd name="connsiteY49" fmla="*/ 8756 h 10000"/>
                  <a:gd name="connsiteX50" fmla="*/ 7470 w 10000"/>
                  <a:gd name="connsiteY50" fmla="*/ 8798 h 10000"/>
                  <a:gd name="connsiteX51" fmla="*/ 7590 w 10000"/>
                  <a:gd name="connsiteY51" fmla="*/ 8541 h 10000"/>
                  <a:gd name="connsiteX52" fmla="*/ 7831 w 10000"/>
                  <a:gd name="connsiteY52" fmla="*/ 8412 h 10000"/>
                  <a:gd name="connsiteX53" fmla="*/ 7952 w 10000"/>
                  <a:gd name="connsiteY53" fmla="*/ 7937 h 10000"/>
                  <a:gd name="connsiteX54" fmla="*/ 8313 w 10000"/>
                  <a:gd name="connsiteY54" fmla="*/ 7377 h 10000"/>
                  <a:gd name="connsiteX55" fmla="*/ 8594 w 10000"/>
                  <a:gd name="connsiteY55" fmla="*/ 7117 h 10000"/>
                  <a:gd name="connsiteX56" fmla="*/ 8795 w 10000"/>
                  <a:gd name="connsiteY56" fmla="*/ 6386 h 10000"/>
                  <a:gd name="connsiteX57" fmla="*/ 8795 w 10000"/>
                  <a:gd name="connsiteY57" fmla="*/ 6213 h 10000"/>
                  <a:gd name="connsiteX58" fmla="*/ 8755 w 10000"/>
                  <a:gd name="connsiteY58" fmla="*/ 5781 h 10000"/>
                  <a:gd name="connsiteX59" fmla="*/ 9157 w 10000"/>
                  <a:gd name="connsiteY59" fmla="*/ 4227 h 10000"/>
                  <a:gd name="connsiteX60" fmla="*/ 9277 w 10000"/>
                  <a:gd name="connsiteY60" fmla="*/ 4227 h 10000"/>
                  <a:gd name="connsiteX61" fmla="*/ 9438 w 10000"/>
                  <a:gd name="connsiteY61" fmla="*/ 4098 h 10000"/>
                  <a:gd name="connsiteX62" fmla="*/ 9920 w 10000"/>
                  <a:gd name="connsiteY62" fmla="*/ 3882 h 10000"/>
                  <a:gd name="connsiteX63" fmla="*/ 10000 w 10000"/>
                  <a:gd name="connsiteY63" fmla="*/ 3537 h 10000"/>
                  <a:gd name="connsiteX64" fmla="*/ 9960 w 10000"/>
                  <a:gd name="connsiteY64" fmla="*/ 3450 h 10000"/>
                  <a:gd name="connsiteX65" fmla="*/ 9799 w 10000"/>
                  <a:gd name="connsiteY65" fmla="*/ 3450 h 10000"/>
                  <a:gd name="connsiteX66" fmla="*/ 9679 w 10000"/>
                  <a:gd name="connsiteY66" fmla="*/ 3235 h 10000"/>
                  <a:gd name="connsiteX67" fmla="*/ 9438 w 10000"/>
                  <a:gd name="connsiteY67" fmla="*/ 3151 h 10000"/>
                  <a:gd name="connsiteX68" fmla="*/ 9317 w 10000"/>
                  <a:gd name="connsiteY68" fmla="*/ 2978 h 10000"/>
                  <a:gd name="connsiteX69" fmla="*/ 9237 w 10000"/>
                  <a:gd name="connsiteY69" fmla="*/ 2331 h 10000"/>
                  <a:gd name="connsiteX70" fmla="*/ 9237 w 10000"/>
                  <a:gd name="connsiteY70" fmla="*/ 1423 h 10000"/>
                  <a:gd name="connsiteX71" fmla="*/ 9036 w 10000"/>
                  <a:gd name="connsiteY71" fmla="*/ 1123 h 10000"/>
                  <a:gd name="connsiteX72" fmla="*/ 8996 w 10000"/>
                  <a:gd name="connsiteY72" fmla="*/ 820 h 10000"/>
                  <a:gd name="connsiteX73" fmla="*/ 8675 w 10000"/>
                  <a:gd name="connsiteY73" fmla="*/ 389 h 10000"/>
                  <a:gd name="connsiteX74" fmla="*/ 8394 w 10000"/>
                  <a:gd name="connsiteY74" fmla="*/ 218 h 10000"/>
                  <a:gd name="connsiteX75" fmla="*/ 8233 w 10000"/>
                  <a:gd name="connsiteY75" fmla="*/ 0 h 10000"/>
                  <a:gd name="connsiteX76" fmla="*/ 7992 w 10000"/>
                  <a:gd name="connsiteY76" fmla="*/ 218 h 10000"/>
                  <a:gd name="connsiteX77" fmla="*/ 7831 w 10000"/>
                  <a:gd name="connsiteY77" fmla="*/ 173 h 10000"/>
                  <a:gd name="connsiteX78" fmla="*/ 7711 w 10000"/>
                  <a:gd name="connsiteY78" fmla="*/ 559 h 10000"/>
                  <a:gd name="connsiteX79" fmla="*/ 7390 w 10000"/>
                  <a:gd name="connsiteY79" fmla="*/ 648 h 10000"/>
                  <a:gd name="connsiteX80" fmla="*/ 7309 w 10000"/>
                  <a:gd name="connsiteY80" fmla="*/ 948 h 10000"/>
                  <a:gd name="connsiteX81" fmla="*/ 7028 w 10000"/>
                  <a:gd name="connsiteY81" fmla="*/ 948 h 10000"/>
                  <a:gd name="connsiteX82" fmla="*/ 6787 w 10000"/>
                  <a:gd name="connsiteY82" fmla="*/ 820 h 10000"/>
                  <a:gd name="connsiteX83" fmla="*/ 6265 w 10000"/>
                  <a:gd name="connsiteY83" fmla="*/ 820 h 10000"/>
                  <a:gd name="connsiteX84" fmla="*/ 5743 w 10000"/>
                  <a:gd name="connsiteY84" fmla="*/ 820 h 10000"/>
                  <a:gd name="connsiteX85" fmla="*/ 5783 w 10000"/>
                  <a:gd name="connsiteY85" fmla="*/ 648 h 10000"/>
                  <a:gd name="connsiteX86" fmla="*/ 5703 w 10000"/>
                  <a:gd name="connsiteY86" fmla="*/ 648 h 10000"/>
                  <a:gd name="connsiteX87" fmla="*/ 5663 w 10000"/>
                  <a:gd name="connsiteY87" fmla="*/ 820 h 10000"/>
                  <a:gd name="connsiteX88" fmla="*/ 5181 w 10000"/>
                  <a:gd name="connsiteY88" fmla="*/ 820 h 10000"/>
                  <a:gd name="connsiteX89" fmla="*/ 4699 w 10000"/>
                  <a:gd name="connsiteY89" fmla="*/ 820 h 10000"/>
                  <a:gd name="connsiteX90" fmla="*/ 4217 w 10000"/>
                  <a:gd name="connsiteY90" fmla="*/ 820 h 10000"/>
                  <a:gd name="connsiteX91" fmla="*/ 3735 w 10000"/>
                  <a:gd name="connsiteY91" fmla="*/ 820 h 10000"/>
                  <a:gd name="connsiteX92" fmla="*/ 3293 w 10000"/>
                  <a:gd name="connsiteY92" fmla="*/ 820 h 10000"/>
                  <a:gd name="connsiteX93" fmla="*/ 2811 w 10000"/>
                  <a:gd name="connsiteY93" fmla="*/ 820 h 10000"/>
                  <a:gd name="connsiteX94" fmla="*/ 2369 w 10000"/>
                  <a:gd name="connsiteY94" fmla="*/ 820 h 10000"/>
                  <a:gd name="connsiteX95" fmla="*/ 1888 w 10000"/>
                  <a:gd name="connsiteY95" fmla="*/ 820 h 10000"/>
                  <a:gd name="connsiteX96" fmla="*/ 1888 w 10000"/>
                  <a:gd name="connsiteY96" fmla="*/ 1423 h 10000"/>
                  <a:gd name="connsiteX97" fmla="*/ 1888 w 10000"/>
                  <a:gd name="connsiteY97" fmla="*/ 2200 h 10000"/>
                  <a:gd name="connsiteX98" fmla="*/ 1285 w 10000"/>
                  <a:gd name="connsiteY98" fmla="*/ 2200 h 10000"/>
                  <a:gd name="connsiteX99" fmla="*/ 1285 w 10000"/>
                  <a:gd name="connsiteY99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964 w 10000"/>
                  <a:gd name="connsiteY20" fmla="*/ 9879 h 10000"/>
                  <a:gd name="connsiteX21" fmla="*/ 1192 w 10000"/>
                  <a:gd name="connsiteY21" fmla="*/ 10000 h 10000"/>
                  <a:gd name="connsiteX22" fmla="*/ 1332 w 10000"/>
                  <a:gd name="connsiteY22" fmla="*/ 9404 h 10000"/>
                  <a:gd name="connsiteX23" fmla="*/ 1439 w 10000"/>
                  <a:gd name="connsiteY23" fmla="*/ 9506 h 10000"/>
                  <a:gd name="connsiteX24" fmla="*/ 1767 w 10000"/>
                  <a:gd name="connsiteY24" fmla="*/ 9426 h 10000"/>
                  <a:gd name="connsiteX25" fmla="*/ 1951 w 10000"/>
                  <a:gd name="connsiteY25" fmla="*/ 9317 h 10000"/>
                  <a:gd name="connsiteX26" fmla="*/ 2025 w 10000"/>
                  <a:gd name="connsiteY26" fmla="*/ 9052 h 10000"/>
                  <a:gd name="connsiteX27" fmla="*/ 2338 w 10000"/>
                  <a:gd name="connsiteY27" fmla="*/ 8966 h 10000"/>
                  <a:gd name="connsiteX28" fmla="*/ 2643 w 10000"/>
                  <a:gd name="connsiteY28" fmla="*/ 9388 h 10000"/>
                  <a:gd name="connsiteX29" fmla="*/ 2911 w 10000"/>
                  <a:gd name="connsiteY29" fmla="*/ 9572 h 10000"/>
                  <a:gd name="connsiteX30" fmla="*/ 3167 w 10000"/>
                  <a:gd name="connsiteY30" fmla="*/ 9539 h 10000"/>
                  <a:gd name="connsiteX31" fmla="*/ 3795 w 10000"/>
                  <a:gd name="connsiteY31" fmla="*/ 9693 h 10000"/>
                  <a:gd name="connsiteX32" fmla="*/ 4153 w 10000"/>
                  <a:gd name="connsiteY32" fmla="*/ 9776 h 10000"/>
                  <a:gd name="connsiteX33" fmla="*/ 4600 w 10000"/>
                  <a:gd name="connsiteY33" fmla="*/ 9556 h 10000"/>
                  <a:gd name="connsiteX34" fmla="*/ 4901 w 10000"/>
                  <a:gd name="connsiteY34" fmla="*/ 9086 h 10000"/>
                  <a:gd name="connsiteX35" fmla="*/ 5337 w 10000"/>
                  <a:gd name="connsiteY35" fmla="*/ 9340 h 10000"/>
                  <a:gd name="connsiteX36" fmla="*/ 5564 w 10000"/>
                  <a:gd name="connsiteY36" fmla="*/ 9506 h 10000"/>
                  <a:gd name="connsiteX37" fmla="*/ 5768 w 10000"/>
                  <a:gd name="connsiteY37" fmla="*/ 9399 h 10000"/>
                  <a:gd name="connsiteX38" fmla="*/ 5933 w 10000"/>
                  <a:gd name="connsiteY38" fmla="*/ 9300 h 10000"/>
                  <a:gd name="connsiteX39" fmla="*/ 6089 w 10000"/>
                  <a:gd name="connsiteY39" fmla="*/ 9078 h 10000"/>
                  <a:gd name="connsiteX40" fmla="*/ 6274 w 10000"/>
                  <a:gd name="connsiteY40" fmla="*/ 8778 h 10000"/>
                  <a:gd name="connsiteX41" fmla="*/ 6389 w 10000"/>
                  <a:gd name="connsiteY41" fmla="*/ 8638 h 10000"/>
                  <a:gd name="connsiteX42" fmla="*/ 6524 w 10000"/>
                  <a:gd name="connsiteY42" fmla="*/ 8582 h 10000"/>
                  <a:gd name="connsiteX43" fmla="*/ 6531 w 10000"/>
                  <a:gd name="connsiteY43" fmla="*/ 8405 h 10000"/>
                  <a:gd name="connsiteX44" fmla="*/ 6572 w 10000"/>
                  <a:gd name="connsiteY44" fmla="*/ 8201 h 10000"/>
                  <a:gd name="connsiteX45" fmla="*/ 6602 w 10000"/>
                  <a:gd name="connsiteY45" fmla="*/ 8014 h 10000"/>
                  <a:gd name="connsiteX46" fmla="*/ 6707 w 10000"/>
                  <a:gd name="connsiteY46" fmla="*/ 7862 h 10000"/>
                  <a:gd name="connsiteX47" fmla="*/ 6893 w 10000"/>
                  <a:gd name="connsiteY47" fmla="*/ 8708 h 10000"/>
                  <a:gd name="connsiteX48" fmla="*/ 7275 w 10000"/>
                  <a:gd name="connsiteY48" fmla="*/ 9176 h 10000"/>
                  <a:gd name="connsiteX49" fmla="*/ 7430 w 10000"/>
                  <a:gd name="connsiteY49" fmla="*/ 8756 h 10000"/>
                  <a:gd name="connsiteX50" fmla="*/ 7470 w 10000"/>
                  <a:gd name="connsiteY50" fmla="*/ 8798 h 10000"/>
                  <a:gd name="connsiteX51" fmla="*/ 7590 w 10000"/>
                  <a:gd name="connsiteY51" fmla="*/ 8541 h 10000"/>
                  <a:gd name="connsiteX52" fmla="*/ 7831 w 10000"/>
                  <a:gd name="connsiteY52" fmla="*/ 8412 h 10000"/>
                  <a:gd name="connsiteX53" fmla="*/ 7952 w 10000"/>
                  <a:gd name="connsiteY53" fmla="*/ 7937 h 10000"/>
                  <a:gd name="connsiteX54" fmla="*/ 8313 w 10000"/>
                  <a:gd name="connsiteY54" fmla="*/ 7377 h 10000"/>
                  <a:gd name="connsiteX55" fmla="*/ 8594 w 10000"/>
                  <a:gd name="connsiteY55" fmla="*/ 7117 h 10000"/>
                  <a:gd name="connsiteX56" fmla="*/ 8795 w 10000"/>
                  <a:gd name="connsiteY56" fmla="*/ 6386 h 10000"/>
                  <a:gd name="connsiteX57" fmla="*/ 8795 w 10000"/>
                  <a:gd name="connsiteY57" fmla="*/ 6213 h 10000"/>
                  <a:gd name="connsiteX58" fmla="*/ 8755 w 10000"/>
                  <a:gd name="connsiteY58" fmla="*/ 5781 h 10000"/>
                  <a:gd name="connsiteX59" fmla="*/ 9157 w 10000"/>
                  <a:gd name="connsiteY59" fmla="*/ 4227 h 10000"/>
                  <a:gd name="connsiteX60" fmla="*/ 9277 w 10000"/>
                  <a:gd name="connsiteY60" fmla="*/ 4227 h 10000"/>
                  <a:gd name="connsiteX61" fmla="*/ 9438 w 10000"/>
                  <a:gd name="connsiteY61" fmla="*/ 4098 h 10000"/>
                  <a:gd name="connsiteX62" fmla="*/ 9920 w 10000"/>
                  <a:gd name="connsiteY62" fmla="*/ 3882 h 10000"/>
                  <a:gd name="connsiteX63" fmla="*/ 10000 w 10000"/>
                  <a:gd name="connsiteY63" fmla="*/ 3537 h 10000"/>
                  <a:gd name="connsiteX64" fmla="*/ 9960 w 10000"/>
                  <a:gd name="connsiteY64" fmla="*/ 3450 h 10000"/>
                  <a:gd name="connsiteX65" fmla="*/ 9799 w 10000"/>
                  <a:gd name="connsiteY65" fmla="*/ 3450 h 10000"/>
                  <a:gd name="connsiteX66" fmla="*/ 9679 w 10000"/>
                  <a:gd name="connsiteY66" fmla="*/ 3235 h 10000"/>
                  <a:gd name="connsiteX67" fmla="*/ 9438 w 10000"/>
                  <a:gd name="connsiteY67" fmla="*/ 3151 h 10000"/>
                  <a:gd name="connsiteX68" fmla="*/ 9317 w 10000"/>
                  <a:gd name="connsiteY68" fmla="*/ 2978 h 10000"/>
                  <a:gd name="connsiteX69" fmla="*/ 9237 w 10000"/>
                  <a:gd name="connsiteY69" fmla="*/ 2331 h 10000"/>
                  <a:gd name="connsiteX70" fmla="*/ 9237 w 10000"/>
                  <a:gd name="connsiteY70" fmla="*/ 1423 h 10000"/>
                  <a:gd name="connsiteX71" fmla="*/ 9036 w 10000"/>
                  <a:gd name="connsiteY71" fmla="*/ 1123 h 10000"/>
                  <a:gd name="connsiteX72" fmla="*/ 8996 w 10000"/>
                  <a:gd name="connsiteY72" fmla="*/ 820 h 10000"/>
                  <a:gd name="connsiteX73" fmla="*/ 8675 w 10000"/>
                  <a:gd name="connsiteY73" fmla="*/ 389 h 10000"/>
                  <a:gd name="connsiteX74" fmla="*/ 8394 w 10000"/>
                  <a:gd name="connsiteY74" fmla="*/ 218 h 10000"/>
                  <a:gd name="connsiteX75" fmla="*/ 8233 w 10000"/>
                  <a:gd name="connsiteY75" fmla="*/ 0 h 10000"/>
                  <a:gd name="connsiteX76" fmla="*/ 7992 w 10000"/>
                  <a:gd name="connsiteY76" fmla="*/ 218 h 10000"/>
                  <a:gd name="connsiteX77" fmla="*/ 7831 w 10000"/>
                  <a:gd name="connsiteY77" fmla="*/ 173 h 10000"/>
                  <a:gd name="connsiteX78" fmla="*/ 7711 w 10000"/>
                  <a:gd name="connsiteY78" fmla="*/ 559 h 10000"/>
                  <a:gd name="connsiteX79" fmla="*/ 7390 w 10000"/>
                  <a:gd name="connsiteY79" fmla="*/ 648 h 10000"/>
                  <a:gd name="connsiteX80" fmla="*/ 7309 w 10000"/>
                  <a:gd name="connsiteY80" fmla="*/ 948 h 10000"/>
                  <a:gd name="connsiteX81" fmla="*/ 7028 w 10000"/>
                  <a:gd name="connsiteY81" fmla="*/ 948 h 10000"/>
                  <a:gd name="connsiteX82" fmla="*/ 6787 w 10000"/>
                  <a:gd name="connsiteY82" fmla="*/ 820 h 10000"/>
                  <a:gd name="connsiteX83" fmla="*/ 6265 w 10000"/>
                  <a:gd name="connsiteY83" fmla="*/ 820 h 10000"/>
                  <a:gd name="connsiteX84" fmla="*/ 5743 w 10000"/>
                  <a:gd name="connsiteY84" fmla="*/ 820 h 10000"/>
                  <a:gd name="connsiteX85" fmla="*/ 5783 w 10000"/>
                  <a:gd name="connsiteY85" fmla="*/ 648 h 10000"/>
                  <a:gd name="connsiteX86" fmla="*/ 5703 w 10000"/>
                  <a:gd name="connsiteY86" fmla="*/ 648 h 10000"/>
                  <a:gd name="connsiteX87" fmla="*/ 5663 w 10000"/>
                  <a:gd name="connsiteY87" fmla="*/ 820 h 10000"/>
                  <a:gd name="connsiteX88" fmla="*/ 5181 w 10000"/>
                  <a:gd name="connsiteY88" fmla="*/ 820 h 10000"/>
                  <a:gd name="connsiteX89" fmla="*/ 4699 w 10000"/>
                  <a:gd name="connsiteY89" fmla="*/ 820 h 10000"/>
                  <a:gd name="connsiteX90" fmla="*/ 4217 w 10000"/>
                  <a:gd name="connsiteY90" fmla="*/ 820 h 10000"/>
                  <a:gd name="connsiteX91" fmla="*/ 3735 w 10000"/>
                  <a:gd name="connsiteY91" fmla="*/ 820 h 10000"/>
                  <a:gd name="connsiteX92" fmla="*/ 3293 w 10000"/>
                  <a:gd name="connsiteY92" fmla="*/ 820 h 10000"/>
                  <a:gd name="connsiteX93" fmla="*/ 2811 w 10000"/>
                  <a:gd name="connsiteY93" fmla="*/ 820 h 10000"/>
                  <a:gd name="connsiteX94" fmla="*/ 2369 w 10000"/>
                  <a:gd name="connsiteY94" fmla="*/ 820 h 10000"/>
                  <a:gd name="connsiteX95" fmla="*/ 1888 w 10000"/>
                  <a:gd name="connsiteY95" fmla="*/ 820 h 10000"/>
                  <a:gd name="connsiteX96" fmla="*/ 1888 w 10000"/>
                  <a:gd name="connsiteY96" fmla="*/ 1423 h 10000"/>
                  <a:gd name="connsiteX97" fmla="*/ 1888 w 10000"/>
                  <a:gd name="connsiteY97" fmla="*/ 2200 h 10000"/>
                  <a:gd name="connsiteX98" fmla="*/ 1285 w 10000"/>
                  <a:gd name="connsiteY98" fmla="*/ 2200 h 10000"/>
                  <a:gd name="connsiteX99" fmla="*/ 1285 w 10000"/>
                  <a:gd name="connsiteY99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964 w 10000"/>
                  <a:gd name="connsiteY20" fmla="*/ 9879 h 10000"/>
                  <a:gd name="connsiteX21" fmla="*/ 1192 w 10000"/>
                  <a:gd name="connsiteY21" fmla="*/ 10000 h 10000"/>
                  <a:gd name="connsiteX22" fmla="*/ 1332 w 10000"/>
                  <a:gd name="connsiteY22" fmla="*/ 9404 h 10000"/>
                  <a:gd name="connsiteX23" fmla="*/ 1439 w 10000"/>
                  <a:gd name="connsiteY23" fmla="*/ 9506 h 10000"/>
                  <a:gd name="connsiteX24" fmla="*/ 1767 w 10000"/>
                  <a:gd name="connsiteY24" fmla="*/ 9426 h 10000"/>
                  <a:gd name="connsiteX25" fmla="*/ 1951 w 10000"/>
                  <a:gd name="connsiteY25" fmla="*/ 9317 h 10000"/>
                  <a:gd name="connsiteX26" fmla="*/ 2025 w 10000"/>
                  <a:gd name="connsiteY26" fmla="*/ 9052 h 10000"/>
                  <a:gd name="connsiteX27" fmla="*/ 2338 w 10000"/>
                  <a:gd name="connsiteY27" fmla="*/ 8966 h 10000"/>
                  <a:gd name="connsiteX28" fmla="*/ 2643 w 10000"/>
                  <a:gd name="connsiteY28" fmla="*/ 9388 h 10000"/>
                  <a:gd name="connsiteX29" fmla="*/ 2911 w 10000"/>
                  <a:gd name="connsiteY29" fmla="*/ 9572 h 10000"/>
                  <a:gd name="connsiteX30" fmla="*/ 3167 w 10000"/>
                  <a:gd name="connsiteY30" fmla="*/ 9539 h 10000"/>
                  <a:gd name="connsiteX31" fmla="*/ 3795 w 10000"/>
                  <a:gd name="connsiteY31" fmla="*/ 9693 h 10000"/>
                  <a:gd name="connsiteX32" fmla="*/ 4153 w 10000"/>
                  <a:gd name="connsiteY32" fmla="*/ 9776 h 10000"/>
                  <a:gd name="connsiteX33" fmla="*/ 4600 w 10000"/>
                  <a:gd name="connsiteY33" fmla="*/ 9556 h 10000"/>
                  <a:gd name="connsiteX34" fmla="*/ 4901 w 10000"/>
                  <a:gd name="connsiteY34" fmla="*/ 9086 h 10000"/>
                  <a:gd name="connsiteX35" fmla="*/ 5337 w 10000"/>
                  <a:gd name="connsiteY35" fmla="*/ 9340 h 10000"/>
                  <a:gd name="connsiteX36" fmla="*/ 5564 w 10000"/>
                  <a:gd name="connsiteY36" fmla="*/ 9506 h 10000"/>
                  <a:gd name="connsiteX37" fmla="*/ 5768 w 10000"/>
                  <a:gd name="connsiteY37" fmla="*/ 9399 h 10000"/>
                  <a:gd name="connsiteX38" fmla="*/ 5933 w 10000"/>
                  <a:gd name="connsiteY38" fmla="*/ 9300 h 10000"/>
                  <a:gd name="connsiteX39" fmla="*/ 6089 w 10000"/>
                  <a:gd name="connsiteY39" fmla="*/ 9078 h 10000"/>
                  <a:gd name="connsiteX40" fmla="*/ 6274 w 10000"/>
                  <a:gd name="connsiteY40" fmla="*/ 8778 h 10000"/>
                  <a:gd name="connsiteX41" fmla="*/ 6389 w 10000"/>
                  <a:gd name="connsiteY41" fmla="*/ 8638 h 10000"/>
                  <a:gd name="connsiteX42" fmla="*/ 6524 w 10000"/>
                  <a:gd name="connsiteY42" fmla="*/ 8582 h 10000"/>
                  <a:gd name="connsiteX43" fmla="*/ 6531 w 10000"/>
                  <a:gd name="connsiteY43" fmla="*/ 8405 h 10000"/>
                  <a:gd name="connsiteX44" fmla="*/ 6572 w 10000"/>
                  <a:gd name="connsiteY44" fmla="*/ 8201 h 10000"/>
                  <a:gd name="connsiteX45" fmla="*/ 6602 w 10000"/>
                  <a:gd name="connsiteY45" fmla="*/ 8014 h 10000"/>
                  <a:gd name="connsiteX46" fmla="*/ 6707 w 10000"/>
                  <a:gd name="connsiteY46" fmla="*/ 7862 h 10000"/>
                  <a:gd name="connsiteX47" fmla="*/ 6893 w 10000"/>
                  <a:gd name="connsiteY47" fmla="*/ 8708 h 10000"/>
                  <a:gd name="connsiteX48" fmla="*/ 7308 w 10000"/>
                  <a:gd name="connsiteY48" fmla="*/ 9034 h 10000"/>
                  <a:gd name="connsiteX49" fmla="*/ 7430 w 10000"/>
                  <a:gd name="connsiteY49" fmla="*/ 8756 h 10000"/>
                  <a:gd name="connsiteX50" fmla="*/ 7470 w 10000"/>
                  <a:gd name="connsiteY50" fmla="*/ 8798 h 10000"/>
                  <a:gd name="connsiteX51" fmla="*/ 7590 w 10000"/>
                  <a:gd name="connsiteY51" fmla="*/ 8541 h 10000"/>
                  <a:gd name="connsiteX52" fmla="*/ 7831 w 10000"/>
                  <a:gd name="connsiteY52" fmla="*/ 8412 h 10000"/>
                  <a:gd name="connsiteX53" fmla="*/ 7952 w 10000"/>
                  <a:gd name="connsiteY53" fmla="*/ 7937 h 10000"/>
                  <a:gd name="connsiteX54" fmla="*/ 8313 w 10000"/>
                  <a:gd name="connsiteY54" fmla="*/ 7377 h 10000"/>
                  <a:gd name="connsiteX55" fmla="*/ 8594 w 10000"/>
                  <a:gd name="connsiteY55" fmla="*/ 7117 h 10000"/>
                  <a:gd name="connsiteX56" fmla="*/ 8795 w 10000"/>
                  <a:gd name="connsiteY56" fmla="*/ 6386 h 10000"/>
                  <a:gd name="connsiteX57" fmla="*/ 8795 w 10000"/>
                  <a:gd name="connsiteY57" fmla="*/ 6213 h 10000"/>
                  <a:gd name="connsiteX58" fmla="*/ 8755 w 10000"/>
                  <a:gd name="connsiteY58" fmla="*/ 5781 h 10000"/>
                  <a:gd name="connsiteX59" fmla="*/ 9157 w 10000"/>
                  <a:gd name="connsiteY59" fmla="*/ 4227 h 10000"/>
                  <a:gd name="connsiteX60" fmla="*/ 9277 w 10000"/>
                  <a:gd name="connsiteY60" fmla="*/ 4227 h 10000"/>
                  <a:gd name="connsiteX61" fmla="*/ 9438 w 10000"/>
                  <a:gd name="connsiteY61" fmla="*/ 4098 h 10000"/>
                  <a:gd name="connsiteX62" fmla="*/ 9920 w 10000"/>
                  <a:gd name="connsiteY62" fmla="*/ 3882 h 10000"/>
                  <a:gd name="connsiteX63" fmla="*/ 10000 w 10000"/>
                  <a:gd name="connsiteY63" fmla="*/ 3537 h 10000"/>
                  <a:gd name="connsiteX64" fmla="*/ 9960 w 10000"/>
                  <a:gd name="connsiteY64" fmla="*/ 3450 h 10000"/>
                  <a:gd name="connsiteX65" fmla="*/ 9799 w 10000"/>
                  <a:gd name="connsiteY65" fmla="*/ 3450 h 10000"/>
                  <a:gd name="connsiteX66" fmla="*/ 9679 w 10000"/>
                  <a:gd name="connsiteY66" fmla="*/ 3235 h 10000"/>
                  <a:gd name="connsiteX67" fmla="*/ 9438 w 10000"/>
                  <a:gd name="connsiteY67" fmla="*/ 3151 h 10000"/>
                  <a:gd name="connsiteX68" fmla="*/ 9317 w 10000"/>
                  <a:gd name="connsiteY68" fmla="*/ 2978 h 10000"/>
                  <a:gd name="connsiteX69" fmla="*/ 9237 w 10000"/>
                  <a:gd name="connsiteY69" fmla="*/ 2331 h 10000"/>
                  <a:gd name="connsiteX70" fmla="*/ 9237 w 10000"/>
                  <a:gd name="connsiteY70" fmla="*/ 1423 h 10000"/>
                  <a:gd name="connsiteX71" fmla="*/ 9036 w 10000"/>
                  <a:gd name="connsiteY71" fmla="*/ 1123 h 10000"/>
                  <a:gd name="connsiteX72" fmla="*/ 8996 w 10000"/>
                  <a:gd name="connsiteY72" fmla="*/ 820 h 10000"/>
                  <a:gd name="connsiteX73" fmla="*/ 8675 w 10000"/>
                  <a:gd name="connsiteY73" fmla="*/ 389 h 10000"/>
                  <a:gd name="connsiteX74" fmla="*/ 8394 w 10000"/>
                  <a:gd name="connsiteY74" fmla="*/ 218 h 10000"/>
                  <a:gd name="connsiteX75" fmla="*/ 8233 w 10000"/>
                  <a:gd name="connsiteY75" fmla="*/ 0 h 10000"/>
                  <a:gd name="connsiteX76" fmla="*/ 7992 w 10000"/>
                  <a:gd name="connsiteY76" fmla="*/ 218 h 10000"/>
                  <a:gd name="connsiteX77" fmla="*/ 7831 w 10000"/>
                  <a:gd name="connsiteY77" fmla="*/ 173 h 10000"/>
                  <a:gd name="connsiteX78" fmla="*/ 7711 w 10000"/>
                  <a:gd name="connsiteY78" fmla="*/ 559 h 10000"/>
                  <a:gd name="connsiteX79" fmla="*/ 7390 w 10000"/>
                  <a:gd name="connsiteY79" fmla="*/ 648 h 10000"/>
                  <a:gd name="connsiteX80" fmla="*/ 7309 w 10000"/>
                  <a:gd name="connsiteY80" fmla="*/ 948 h 10000"/>
                  <a:gd name="connsiteX81" fmla="*/ 7028 w 10000"/>
                  <a:gd name="connsiteY81" fmla="*/ 948 h 10000"/>
                  <a:gd name="connsiteX82" fmla="*/ 6787 w 10000"/>
                  <a:gd name="connsiteY82" fmla="*/ 820 h 10000"/>
                  <a:gd name="connsiteX83" fmla="*/ 6265 w 10000"/>
                  <a:gd name="connsiteY83" fmla="*/ 820 h 10000"/>
                  <a:gd name="connsiteX84" fmla="*/ 5743 w 10000"/>
                  <a:gd name="connsiteY84" fmla="*/ 820 h 10000"/>
                  <a:gd name="connsiteX85" fmla="*/ 5783 w 10000"/>
                  <a:gd name="connsiteY85" fmla="*/ 648 h 10000"/>
                  <a:gd name="connsiteX86" fmla="*/ 5703 w 10000"/>
                  <a:gd name="connsiteY86" fmla="*/ 648 h 10000"/>
                  <a:gd name="connsiteX87" fmla="*/ 5663 w 10000"/>
                  <a:gd name="connsiteY87" fmla="*/ 820 h 10000"/>
                  <a:gd name="connsiteX88" fmla="*/ 5181 w 10000"/>
                  <a:gd name="connsiteY88" fmla="*/ 820 h 10000"/>
                  <a:gd name="connsiteX89" fmla="*/ 4699 w 10000"/>
                  <a:gd name="connsiteY89" fmla="*/ 820 h 10000"/>
                  <a:gd name="connsiteX90" fmla="*/ 4217 w 10000"/>
                  <a:gd name="connsiteY90" fmla="*/ 820 h 10000"/>
                  <a:gd name="connsiteX91" fmla="*/ 3735 w 10000"/>
                  <a:gd name="connsiteY91" fmla="*/ 820 h 10000"/>
                  <a:gd name="connsiteX92" fmla="*/ 3293 w 10000"/>
                  <a:gd name="connsiteY92" fmla="*/ 820 h 10000"/>
                  <a:gd name="connsiteX93" fmla="*/ 2811 w 10000"/>
                  <a:gd name="connsiteY93" fmla="*/ 820 h 10000"/>
                  <a:gd name="connsiteX94" fmla="*/ 2369 w 10000"/>
                  <a:gd name="connsiteY94" fmla="*/ 820 h 10000"/>
                  <a:gd name="connsiteX95" fmla="*/ 1888 w 10000"/>
                  <a:gd name="connsiteY95" fmla="*/ 820 h 10000"/>
                  <a:gd name="connsiteX96" fmla="*/ 1888 w 10000"/>
                  <a:gd name="connsiteY96" fmla="*/ 1423 h 10000"/>
                  <a:gd name="connsiteX97" fmla="*/ 1888 w 10000"/>
                  <a:gd name="connsiteY97" fmla="*/ 2200 h 10000"/>
                  <a:gd name="connsiteX98" fmla="*/ 1285 w 10000"/>
                  <a:gd name="connsiteY98" fmla="*/ 2200 h 10000"/>
                  <a:gd name="connsiteX99" fmla="*/ 1285 w 10000"/>
                  <a:gd name="connsiteY99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964 w 10000"/>
                  <a:gd name="connsiteY20" fmla="*/ 9879 h 10000"/>
                  <a:gd name="connsiteX21" fmla="*/ 1192 w 10000"/>
                  <a:gd name="connsiteY21" fmla="*/ 10000 h 10000"/>
                  <a:gd name="connsiteX22" fmla="*/ 1332 w 10000"/>
                  <a:gd name="connsiteY22" fmla="*/ 9404 h 10000"/>
                  <a:gd name="connsiteX23" fmla="*/ 1439 w 10000"/>
                  <a:gd name="connsiteY23" fmla="*/ 9506 h 10000"/>
                  <a:gd name="connsiteX24" fmla="*/ 1767 w 10000"/>
                  <a:gd name="connsiteY24" fmla="*/ 9426 h 10000"/>
                  <a:gd name="connsiteX25" fmla="*/ 1951 w 10000"/>
                  <a:gd name="connsiteY25" fmla="*/ 9317 h 10000"/>
                  <a:gd name="connsiteX26" fmla="*/ 2025 w 10000"/>
                  <a:gd name="connsiteY26" fmla="*/ 9052 h 10000"/>
                  <a:gd name="connsiteX27" fmla="*/ 2338 w 10000"/>
                  <a:gd name="connsiteY27" fmla="*/ 8966 h 10000"/>
                  <a:gd name="connsiteX28" fmla="*/ 2643 w 10000"/>
                  <a:gd name="connsiteY28" fmla="*/ 9388 h 10000"/>
                  <a:gd name="connsiteX29" fmla="*/ 2911 w 10000"/>
                  <a:gd name="connsiteY29" fmla="*/ 9572 h 10000"/>
                  <a:gd name="connsiteX30" fmla="*/ 3167 w 10000"/>
                  <a:gd name="connsiteY30" fmla="*/ 9539 h 10000"/>
                  <a:gd name="connsiteX31" fmla="*/ 3795 w 10000"/>
                  <a:gd name="connsiteY31" fmla="*/ 9693 h 10000"/>
                  <a:gd name="connsiteX32" fmla="*/ 4153 w 10000"/>
                  <a:gd name="connsiteY32" fmla="*/ 9776 h 10000"/>
                  <a:gd name="connsiteX33" fmla="*/ 4600 w 10000"/>
                  <a:gd name="connsiteY33" fmla="*/ 9556 h 10000"/>
                  <a:gd name="connsiteX34" fmla="*/ 4901 w 10000"/>
                  <a:gd name="connsiteY34" fmla="*/ 9086 h 10000"/>
                  <a:gd name="connsiteX35" fmla="*/ 5337 w 10000"/>
                  <a:gd name="connsiteY35" fmla="*/ 9340 h 10000"/>
                  <a:gd name="connsiteX36" fmla="*/ 5564 w 10000"/>
                  <a:gd name="connsiteY36" fmla="*/ 9506 h 10000"/>
                  <a:gd name="connsiteX37" fmla="*/ 5768 w 10000"/>
                  <a:gd name="connsiteY37" fmla="*/ 9399 h 10000"/>
                  <a:gd name="connsiteX38" fmla="*/ 5933 w 10000"/>
                  <a:gd name="connsiteY38" fmla="*/ 9300 h 10000"/>
                  <a:gd name="connsiteX39" fmla="*/ 6089 w 10000"/>
                  <a:gd name="connsiteY39" fmla="*/ 9078 h 10000"/>
                  <a:gd name="connsiteX40" fmla="*/ 6274 w 10000"/>
                  <a:gd name="connsiteY40" fmla="*/ 8778 h 10000"/>
                  <a:gd name="connsiteX41" fmla="*/ 6389 w 10000"/>
                  <a:gd name="connsiteY41" fmla="*/ 8638 h 10000"/>
                  <a:gd name="connsiteX42" fmla="*/ 6524 w 10000"/>
                  <a:gd name="connsiteY42" fmla="*/ 8582 h 10000"/>
                  <a:gd name="connsiteX43" fmla="*/ 6531 w 10000"/>
                  <a:gd name="connsiteY43" fmla="*/ 8405 h 10000"/>
                  <a:gd name="connsiteX44" fmla="*/ 6572 w 10000"/>
                  <a:gd name="connsiteY44" fmla="*/ 8201 h 10000"/>
                  <a:gd name="connsiteX45" fmla="*/ 6602 w 10000"/>
                  <a:gd name="connsiteY45" fmla="*/ 8014 h 10000"/>
                  <a:gd name="connsiteX46" fmla="*/ 6855 w 10000"/>
                  <a:gd name="connsiteY46" fmla="*/ 7773 h 10000"/>
                  <a:gd name="connsiteX47" fmla="*/ 6893 w 10000"/>
                  <a:gd name="connsiteY47" fmla="*/ 8708 h 10000"/>
                  <a:gd name="connsiteX48" fmla="*/ 7308 w 10000"/>
                  <a:gd name="connsiteY48" fmla="*/ 9034 h 10000"/>
                  <a:gd name="connsiteX49" fmla="*/ 7430 w 10000"/>
                  <a:gd name="connsiteY49" fmla="*/ 8756 h 10000"/>
                  <a:gd name="connsiteX50" fmla="*/ 7470 w 10000"/>
                  <a:gd name="connsiteY50" fmla="*/ 8798 h 10000"/>
                  <a:gd name="connsiteX51" fmla="*/ 7590 w 10000"/>
                  <a:gd name="connsiteY51" fmla="*/ 8541 h 10000"/>
                  <a:gd name="connsiteX52" fmla="*/ 7831 w 10000"/>
                  <a:gd name="connsiteY52" fmla="*/ 8412 h 10000"/>
                  <a:gd name="connsiteX53" fmla="*/ 7952 w 10000"/>
                  <a:gd name="connsiteY53" fmla="*/ 7937 h 10000"/>
                  <a:gd name="connsiteX54" fmla="*/ 8313 w 10000"/>
                  <a:gd name="connsiteY54" fmla="*/ 7377 h 10000"/>
                  <a:gd name="connsiteX55" fmla="*/ 8594 w 10000"/>
                  <a:gd name="connsiteY55" fmla="*/ 7117 h 10000"/>
                  <a:gd name="connsiteX56" fmla="*/ 8795 w 10000"/>
                  <a:gd name="connsiteY56" fmla="*/ 6386 h 10000"/>
                  <a:gd name="connsiteX57" fmla="*/ 8795 w 10000"/>
                  <a:gd name="connsiteY57" fmla="*/ 6213 h 10000"/>
                  <a:gd name="connsiteX58" fmla="*/ 8755 w 10000"/>
                  <a:gd name="connsiteY58" fmla="*/ 5781 h 10000"/>
                  <a:gd name="connsiteX59" fmla="*/ 9157 w 10000"/>
                  <a:gd name="connsiteY59" fmla="*/ 4227 h 10000"/>
                  <a:gd name="connsiteX60" fmla="*/ 9277 w 10000"/>
                  <a:gd name="connsiteY60" fmla="*/ 4227 h 10000"/>
                  <a:gd name="connsiteX61" fmla="*/ 9438 w 10000"/>
                  <a:gd name="connsiteY61" fmla="*/ 4098 h 10000"/>
                  <a:gd name="connsiteX62" fmla="*/ 9920 w 10000"/>
                  <a:gd name="connsiteY62" fmla="*/ 3882 h 10000"/>
                  <a:gd name="connsiteX63" fmla="*/ 10000 w 10000"/>
                  <a:gd name="connsiteY63" fmla="*/ 3537 h 10000"/>
                  <a:gd name="connsiteX64" fmla="*/ 9960 w 10000"/>
                  <a:gd name="connsiteY64" fmla="*/ 3450 h 10000"/>
                  <a:gd name="connsiteX65" fmla="*/ 9799 w 10000"/>
                  <a:gd name="connsiteY65" fmla="*/ 3450 h 10000"/>
                  <a:gd name="connsiteX66" fmla="*/ 9679 w 10000"/>
                  <a:gd name="connsiteY66" fmla="*/ 3235 h 10000"/>
                  <a:gd name="connsiteX67" fmla="*/ 9438 w 10000"/>
                  <a:gd name="connsiteY67" fmla="*/ 3151 h 10000"/>
                  <a:gd name="connsiteX68" fmla="*/ 9317 w 10000"/>
                  <a:gd name="connsiteY68" fmla="*/ 2978 h 10000"/>
                  <a:gd name="connsiteX69" fmla="*/ 9237 w 10000"/>
                  <a:gd name="connsiteY69" fmla="*/ 2331 h 10000"/>
                  <a:gd name="connsiteX70" fmla="*/ 9237 w 10000"/>
                  <a:gd name="connsiteY70" fmla="*/ 1423 h 10000"/>
                  <a:gd name="connsiteX71" fmla="*/ 9036 w 10000"/>
                  <a:gd name="connsiteY71" fmla="*/ 1123 h 10000"/>
                  <a:gd name="connsiteX72" fmla="*/ 8996 w 10000"/>
                  <a:gd name="connsiteY72" fmla="*/ 820 h 10000"/>
                  <a:gd name="connsiteX73" fmla="*/ 8675 w 10000"/>
                  <a:gd name="connsiteY73" fmla="*/ 389 h 10000"/>
                  <a:gd name="connsiteX74" fmla="*/ 8394 w 10000"/>
                  <a:gd name="connsiteY74" fmla="*/ 218 h 10000"/>
                  <a:gd name="connsiteX75" fmla="*/ 8233 w 10000"/>
                  <a:gd name="connsiteY75" fmla="*/ 0 h 10000"/>
                  <a:gd name="connsiteX76" fmla="*/ 7992 w 10000"/>
                  <a:gd name="connsiteY76" fmla="*/ 218 h 10000"/>
                  <a:gd name="connsiteX77" fmla="*/ 7831 w 10000"/>
                  <a:gd name="connsiteY77" fmla="*/ 173 h 10000"/>
                  <a:gd name="connsiteX78" fmla="*/ 7711 w 10000"/>
                  <a:gd name="connsiteY78" fmla="*/ 559 h 10000"/>
                  <a:gd name="connsiteX79" fmla="*/ 7390 w 10000"/>
                  <a:gd name="connsiteY79" fmla="*/ 648 h 10000"/>
                  <a:gd name="connsiteX80" fmla="*/ 7309 w 10000"/>
                  <a:gd name="connsiteY80" fmla="*/ 948 h 10000"/>
                  <a:gd name="connsiteX81" fmla="*/ 7028 w 10000"/>
                  <a:gd name="connsiteY81" fmla="*/ 948 h 10000"/>
                  <a:gd name="connsiteX82" fmla="*/ 6787 w 10000"/>
                  <a:gd name="connsiteY82" fmla="*/ 820 h 10000"/>
                  <a:gd name="connsiteX83" fmla="*/ 6265 w 10000"/>
                  <a:gd name="connsiteY83" fmla="*/ 820 h 10000"/>
                  <a:gd name="connsiteX84" fmla="*/ 5743 w 10000"/>
                  <a:gd name="connsiteY84" fmla="*/ 820 h 10000"/>
                  <a:gd name="connsiteX85" fmla="*/ 5783 w 10000"/>
                  <a:gd name="connsiteY85" fmla="*/ 648 h 10000"/>
                  <a:gd name="connsiteX86" fmla="*/ 5703 w 10000"/>
                  <a:gd name="connsiteY86" fmla="*/ 648 h 10000"/>
                  <a:gd name="connsiteX87" fmla="*/ 5663 w 10000"/>
                  <a:gd name="connsiteY87" fmla="*/ 820 h 10000"/>
                  <a:gd name="connsiteX88" fmla="*/ 5181 w 10000"/>
                  <a:gd name="connsiteY88" fmla="*/ 820 h 10000"/>
                  <a:gd name="connsiteX89" fmla="*/ 4699 w 10000"/>
                  <a:gd name="connsiteY89" fmla="*/ 820 h 10000"/>
                  <a:gd name="connsiteX90" fmla="*/ 4217 w 10000"/>
                  <a:gd name="connsiteY90" fmla="*/ 820 h 10000"/>
                  <a:gd name="connsiteX91" fmla="*/ 3735 w 10000"/>
                  <a:gd name="connsiteY91" fmla="*/ 820 h 10000"/>
                  <a:gd name="connsiteX92" fmla="*/ 3293 w 10000"/>
                  <a:gd name="connsiteY92" fmla="*/ 820 h 10000"/>
                  <a:gd name="connsiteX93" fmla="*/ 2811 w 10000"/>
                  <a:gd name="connsiteY93" fmla="*/ 820 h 10000"/>
                  <a:gd name="connsiteX94" fmla="*/ 2369 w 10000"/>
                  <a:gd name="connsiteY94" fmla="*/ 820 h 10000"/>
                  <a:gd name="connsiteX95" fmla="*/ 1888 w 10000"/>
                  <a:gd name="connsiteY95" fmla="*/ 820 h 10000"/>
                  <a:gd name="connsiteX96" fmla="*/ 1888 w 10000"/>
                  <a:gd name="connsiteY96" fmla="*/ 1423 h 10000"/>
                  <a:gd name="connsiteX97" fmla="*/ 1888 w 10000"/>
                  <a:gd name="connsiteY97" fmla="*/ 2200 h 10000"/>
                  <a:gd name="connsiteX98" fmla="*/ 1285 w 10000"/>
                  <a:gd name="connsiteY98" fmla="*/ 2200 h 10000"/>
                  <a:gd name="connsiteX99" fmla="*/ 1285 w 10000"/>
                  <a:gd name="connsiteY99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964 w 10000"/>
                  <a:gd name="connsiteY20" fmla="*/ 9879 h 10000"/>
                  <a:gd name="connsiteX21" fmla="*/ 1192 w 10000"/>
                  <a:gd name="connsiteY21" fmla="*/ 10000 h 10000"/>
                  <a:gd name="connsiteX22" fmla="*/ 1439 w 10000"/>
                  <a:gd name="connsiteY22" fmla="*/ 9506 h 10000"/>
                  <a:gd name="connsiteX23" fmla="*/ 1767 w 10000"/>
                  <a:gd name="connsiteY23" fmla="*/ 9426 h 10000"/>
                  <a:gd name="connsiteX24" fmla="*/ 1951 w 10000"/>
                  <a:gd name="connsiteY24" fmla="*/ 9317 h 10000"/>
                  <a:gd name="connsiteX25" fmla="*/ 2025 w 10000"/>
                  <a:gd name="connsiteY25" fmla="*/ 9052 h 10000"/>
                  <a:gd name="connsiteX26" fmla="*/ 2338 w 10000"/>
                  <a:gd name="connsiteY26" fmla="*/ 8966 h 10000"/>
                  <a:gd name="connsiteX27" fmla="*/ 2643 w 10000"/>
                  <a:gd name="connsiteY27" fmla="*/ 9388 h 10000"/>
                  <a:gd name="connsiteX28" fmla="*/ 2911 w 10000"/>
                  <a:gd name="connsiteY28" fmla="*/ 9572 h 10000"/>
                  <a:gd name="connsiteX29" fmla="*/ 3167 w 10000"/>
                  <a:gd name="connsiteY29" fmla="*/ 9539 h 10000"/>
                  <a:gd name="connsiteX30" fmla="*/ 3795 w 10000"/>
                  <a:gd name="connsiteY30" fmla="*/ 9693 h 10000"/>
                  <a:gd name="connsiteX31" fmla="*/ 4153 w 10000"/>
                  <a:gd name="connsiteY31" fmla="*/ 9776 h 10000"/>
                  <a:gd name="connsiteX32" fmla="*/ 4600 w 10000"/>
                  <a:gd name="connsiteY32" fmla="*/ 9556 h 10000"/>
                  <a:gd name="connsiteX33" fmla="*/ 4901 w 10000"/>
                  <a:gd name="connsiteY33" fmla="*/ 9086 h 10000"/>
                  <a:gd name="connsiteX34" fmla="*/ 5337 w 10000"/>
                  <a:gd name="connsiteY34" fmla="*/ 9340 h 10000"/>
                  <a:gd name="connsiteX35" fmla="*/ 5564 w 10000"/>
                  <a:gd name="connsiteY35" fmla="*/ 9506 h 10000"/>
                  <a:gd name="connsiteX36" fmla="*/ 5768 w 10000"/>
                  <a:gd name="connsiteY36" fmla="*/ 9399 h 10000"/>
                  <a:gd name="connsiteX37" fmla="*/ 5933 w 10000"/>
                  <a:gd name="connsiteY37" fmla="*/ 9300 h 10000"/>
                  <a:gd name="connsiteX38" fmla="*/ 6089 w 10000"/>
                  <a:gd name="connsiteY38" fmla="*/ 9078 h 10000"/>
                  <a:gd name="connsiteX39" fmla="*/ 6274 w 10000"/>
                  <a:gd name="connsiteY39" fmla="*/ 8778 h 10000"/>
                  <a:gd name="connsiteX40" fmla="*/ 6389 w 10000"/>
                  <a:gd name="connsiteY40" fmla="*/ 8638 h 10000"/>
                  <a:gd name="connsiteX41" fmla="*/ 6524 w 10000"/>
                  <a:gd name="connsiteY41" fmla="*/ 8582 h 10000"/>
                  <a:gd name="connsiteX42" fmla="*/ 6531 w 10000"/>
                  <a:gd name="connsiteY42" fmla="*/ 8405 h 10000"/>
                  <a:gd name="connsiteX43" fmla="*/ 6572 w 10000"/>
                  <a:gd name="connsiteY43" fmla="*/ 8201 h 10000"/>
                  <a:gd name="connsiteX44" fmla="*/ 6602 w 10000"/>
                  <a:gd name="connsiteY44" fmla="*/ 8014 h 10000"/>
                  <a:gd name="connsiteX45" fmla="*/ 6855 w 10000"/>
                  <a:gd name="connsiteY45" fmla="*/ 7773 h 10000"/>
                  <a:gd name="connsiteX46" fmla="*/ 6893 w 10000"/>
                  <a:gd name="connsiteY46" fmla="*/ 8708 h 10000"/>
                  <a:gd name="connsiteX47" fmla="*/ 7308 w 10000"/>
                  <a:gd name="connsiteY47" fmla="*/ 9034 h 10000"/>
                  <a:gd name="connsiteX48" fmla="*/ 7430 w 10000"/>
                  <a:gd name="connsiteY48" fmla="*/ 8756 h 10000"/>
                  <a:gd name="connsiteX49" fmla="*/ 7470 w 10000"/>
                  <a:gd name="connsiteY49" fmla="*/ 8798 h 10000"/>
                  <a:gd name="connsiteX50" fmla="*/ 7590 w 10000"/>
                  <a:gd name="connsiteY50" fmla="*/ 8541 h 10000"/>
                  <a:gd name="connsiteX51" fmla="*/ 7831 w 10000"/>
                  <a:gd name="connsiteY51" fmla="*/ 8412 h 10000"/>
                  <a:gd name="connsiteX52" fmla="*/ 7952 w 10000"/>
                  <a:gd name="connsiteY52" fmla="*/ 7937 h 10000"/>
                  <a:gd name="connsiteX53" fmla="*/ 8313 w 10000"/>
                  <a:gd name="connsiteY53" fmla="*/ 7377 h 10000"/>
                  <a:gd name="connsiteX54" fmla="*/ 8594 w 10000"/>
                  <a:gd name="connsiteY54" fmla="*/ 7117 h 10000"/>
                  <a:gd name="connsiteX55" fmla="*/ 8795 w 10000"/>
                  <a:gd name="connsiteY55" fmla="*/ 6386 h 10000"/>
                  <a:gd name="connsiteX56" fmla="*/ 8795 w 10000"/>
                  <a:gd name="connsiteY56" fmla="*/ 6213 h 10000"/>
                  <a:gd name="connsiteX57" fmla="*/ 8755 w 10000"/>
                  <a:gd name="connsiteY57" fmla="*/ 5781 h 10000"/>
                  <a:gd name="connsiteX58" fmla="*/ 9157 w 10000"/>
                  <a:gd name="connsiteY58" fmla="*/ 4227 h 10000"/>
                  <a:gd name="connsiteX59" fmla="*/ 9277 w 10000"/>
                  <a:gd name="connsiteY59" fmla="*/ 4227 h 10000"/>
                  <a:gd name="connsiteX60" fmla="*/ 9438 w 10000"/>
                  <a:gd name="connsiteY60" fmla="*/ 4098 h 10000"/>
                  <a:gd name="connsiteX61" fmla="*/ 9920 w 10000"/>
                  <a:gd name="connsiteY61" fmla="*/ 3882 h 10000"/>
                  <a:gd name="connsiteX62" fmla="*/ 10000 w 10000"/>
                  <a:gd name="connsiteY62" fmla="*/ 3537 h 10000"/>
                  <a:gd name="connsiteX63" fmla="*/ 9960 w 10000"/>
                  <a:gd name="connsiteY63" fmla="*/ 3450 h 10000"/>
                  <a:gd name="connsiteX64" fmla="*/ 9799 w 10000"/>
                  <a:gd name="connsiteY64" fmla="*/ 3450 h 10000"/>
                  <a:gd name="connsiteX65" fmla="*/ 9679 w 10000"/>
                  <a:gd name="connsiteY65" fmla="*/ 3235 h 10000"/>
                  <a:gd name="connsiteX66" fmla="*/ 9438 w 10000"/>
                  <a:gd name="connsiteY66" fmla="*/ 3151 h 10000"/>
                  <a:gd name="connsiteX67" fmla="*/ 9317 w 10000"/>
                  <a:gd name="connsiteY67" fmla="*/ 2978 h 10000"/>
                  <a:gd name="connsiteX68" fmla="*/ 9237 w 10000"/>
                  <a:gd name="connsiteY68" fmla="*/ 2331 h 10000"/>
                  <a:gd name="connsiteX69" fmla="*/ 9237 w 10000"/>
                  <a:gd name="connsiteY69" fmla="*/ 1423 h 10000"/>
                  <a:gd name="connsiteX70" fmla="*/ 9036 w 10000"/>
                  <a:gd name="connsiteY70" fmla="*/ 1123 h 10000"/>
                  <a:gd name="connsiteX71" fmla="*/ 8996 w 10000"/>
                  <a:gd name="connsiteY71" fmla="*/ 820 h 10000"/>
                  <a:gd name="connsiteX72" fmla="*/ 8675 w 10000"/>
                  <a:gd name="connsiteY72" fmla="*/ 389 h 10000"/>
                  <a:gd name="connsiteX73" fmla="*/ 8394 w 10000"/>
                  <a:gd name="connsiteY73" fmla="*/ 218 h 10000"/>
                  <a:gd name="connsiteX74" fmla="*/ 8233 w 10000"/>
                  <a:gd name="connsiteY74" fmla="*/ 0 h 10000"/>
                  <a:gd name="connsiteX75" fmla="*/ 7992 w 10000"/>
                  <a:gd name="connsiteY75" fmla="*/ 218 h 10000"/>
                  <a:gd name="connsiteX76" fmla="*/ 7831 w 10000"/>
                  <a:gd name="connsiteY76" fmla="*/ 173 h 10000"/>
                  <a:gd name="connsiteX77" fmla="*/ 7711 w 10000"/>
                  <a:gd name="connsiteY77" fmla="*/ 559 h 10000"/>
                  <a:gd name="connsiteX78" fmla="*/ 7390 w 10000"/>
                  <a:gd name="connsiteY78" fmla="*/ 648 h 10000"/>
                  <a:gd name="connsiteX79" fmla="*/ 7309 w 10000"/>
                  <a:gd name="connsiteY79" fmla="*/ 948 h 10000"/>
                  <a:gd name="connsiteX80" fmla="*/ 7028 w 10000"/>
                  <a:gd name="connsiteY80" fmla="*/ 948 h 10000"/>
                  <a:gd name="connsiteX81" fmla="*/ 6787 w 10000"/>
                  <a:gd name="connsiteY81" fmla="*/ 820 h 10000"/>
                  <a:gd name="connsiteX82" fmla="*/ 6265 w 10000"/>
                  <a:gd name="connsiteY82" fmla="*/ 820 h 10000"/>
                  <a:gd name="connsiteX83" fmla="*/ 5743 w 10000"/>
                  <a:gd name="connsiteY83" fmla="*/ 820 h 10000"/>
                  <a:gd name="connsiteX84" fmla="*/ 5783 w 10000"/>
                  <a:gd name="connsiteY84" fmla="*/ 648 h 10000"/>
                  <a:gd name="connsiteX85" fmla="*/ 5703 w 10000"/>
                  <a:gd name="connsiteY85" fmla="*/ 648 h 10000"/>
                  <a:gd name="connsiteX86" fmla="*/ 5663 w 10000"/>
                  <a:gd name="connsiteY86" fmla="*/ 820 h 10000"/>
                  <a:gd name="connsiteX87" fmla="*/ 5181 w 10000"/>
                  <a:gd name="connsiteY87" fmla="*/ 820 h 10000"/>
                  <a:gd name="connsiteX88" fmla="*/ 4699 w 10000"/>
                  <a:gd name="connsiteY88" fmla="*/ 820 h 10000"/>
                  <a:gd name="connsiteX89" fmla="*/ 4217 w 10000"/>
                  <a:gd name="connsiteY89" fmla="*/ 820 h 10000"/>
                  <a:gd name="connsiteX90" fmla="*/ 3735 w 10000"/>
                  <a:gd name="connsiteY90" fmla="*/ 820 h 10000"/>
                  <a:gd name="connsiteX91" fmla="*/ 3293 w 10000"/>
                  <a:gd name="connsiteY91" fmla="*/ 820 h 10000"/>
                  <a:gd name="connsiteX92" fmla="*/ 2811 w 10000"/>
                  <a:gd name="connsiteY92" fmla="*/ 820 h 10000"/>
                  <a:gd name="connsiteX93" fmla="*/ 2369 w 10000"/>
                  <a:gd name="connsiteY93" fmla="*/ 820 h 10000"/>
                  <a:gd name="connsiteX94" fmla="*/ 1888 w 10000"/>
                  <a:gd name="connsiteY94" fmla="*/ 820 h 10000"/>
                  <a:gd name="connsiteX95" fmla="*/ 1888 w 10000"/>
                  <a:gd name="connsiteY95" fmla="*/ 1423 h 10000"/>
                  <a:gd name="connsiteX96" fmla="*/ 1888 w 10000"/>
                  <a:gd name="connsiteY96" fmla="*/ 2200 h 10000"/>
                  <a:gd name="connsiteX97" fmla="*/ 1285 w 10000"/>
                  <a:gd name="connsiteY97" fmla="*/ 2200 h 10000"/>
                  <a:gd name="connsiteX98" fmla="*/ 1285 w 10000"/>
                  <a:gd name="connsiteY98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964 w 10000"/>
                  <a:gd name="connsiteY20" fmla="*/ 9879 h 10000"/>
                  <a:gd name="connsiteX21" fmla="*/ 1192 w 10000"/>
                  <a:gd name="connsiteY21" fmla="*/ 10000 h 10000"/>
                  <a:gd name="connsiteX22" fmla="*/ 1767 w 10000"/>
                  <a:gd name="connsiteY22" fmla="*/ 9426 h 10000"/>
                  <a:gd name="connsiteX23" fmla="*/ 1951 w 10000"/>
                  <a:gd name="connsiteY23" fmla="*/ 9317 h 10000"/>
                  <a:gd name="connsiteX24" fmla="*/ 2025 w 10000"/>
                  <a:gd name="connsiteY24" fmla="*/ 9052 h 10000"/>
                  <a:gd name="connsiteX25" fmla="*/ 2338 w 10000"/>
                  <a:gd name="connsiteY25" fmla="*/ 8966 h 10000"/>
                  <a:gd name="connsiteX26" fmla="*/ 2643 w 10000"/>
                  <a:gd name="connsiteY26" fmla="*/ 9388 h 10000"/>
                  <a:gd name="connsiteX27" fmla="*/ 2911 w 10000"/>
                  <a:gd name="connsiteY27" fmla="*/ 9572 h 10000"/>
                  <a:gd name="connsiteX28" fmla="*/ 3167 w 10000"/>
                  <a:gd name="connsiteY28" fmla="*/ 9539 h 10000"/>
                  <a:gd name="connsiteX29" fmla="*/ 3795 w 10000"/>
                  <a:gd name="connsiteY29" fmla="*/ 9693 h 10000"/>
                  <a:gd name="connsiteX30" fmla="*/ 4153 w 10000"/>
                  <a:gd name="connsiteY30" fmla="*/ 9776 h 10000"/>
                  <a:gd name="connsiteX31" fmla="*/ 4600 w 10000"/>
                  <a:gd name="connsiteY31" fmla="*/ 9556 h 10000"/>
                  <a:gd name="connsiteX32" fmla="*/ 4901 w 10000"/>
                  <a:gd name="connsiteY32" fmla="*/ 9086 h 10000"/>
                  <a:gd name="connsiteX33" fmla="*/ 5337 w 10000"/>
                  <a:gd name="connsiteY33" fmla="*/ 9340 h 10000"/>
                  <a:gd name="connsiteX34" fmla="*/ 5564 w 10000"/>
                  <a:gd name="connsiteY34" fmla="*/ 9506 h 10000"/>
                  <a:gd name="connsiteX35" fmla="*/ 5768 w 10000"/>
                  <a:gd name="connsiteY35" fmla="*/ 9399 h 10000"/>
                  <a:gd name="connsiteX36" fmla="*/ 5933 w 10000"/>
                  <a:gd name="connsiteY36" fmla="*/ 9300 h 10000"/>
                  <a:gd name="connsiteX37" fmla="*/ 6089 w 10000"/>
                  <a:gd name="connsiteY37" fmla="*/ 9078 h 10000"/>
                  <a:gd name="connsiteX38" fmla="*/ 6274 w 10000"/>
                  <a:gd name="connsiteY38" fmla="*/ 8778 h 10000"/>
                  <a:gd name="connsiteX39" fmla="*/ 6389 w 10000"/>
                  <a:gd name="connsiteY39" fmla="*/ 8638 h 10000"/>
                  <a:gd name="connsiteX40" fmla="*/ 6524 w 10000"/>
                  <a:gd name="connsiteY40" fmla="*/ 8582 h 10000"/>
                  <a:gd name="connsiteX41" fmla="*/ 6531 w 10000"/>
                  <a:gd name="connsiteY41" fmla="*/ 8405 h 10000"/>
                  <a:gd name="connsiteX42" fmla="*/ 6572 w 10000"/>
                  <a:gd name="connsiteY42" fmla="*/ 8201 h 10000"/>
                  <a:gd name="connsiteX43" fmla="*/ 6602 w 10000"/>
                  <a:gd name="connsiteY43" fmla="*/ 8014 h 10000"/>
                  <a:gd name="connsiteX44" fmla="*/ 6855 w 10000"/>
                  <a:gd name="connsiteY44" fmla="*/ 7773 h 10000"/>
                  <a:gd name="connsiteX45" fmla="*/ 6893 w 10000"/>
                  <a:gd name="connsiteY45" fmla="*/ 8708 h 10000"/>
                  <a:gd name="connsiteX46" fmla="*/ 7308 w 10000"/>
                  <a:gd name="connsiteY46" fmla="*/ 9034 h 10000"/>
                  <a:gd name="connsiteX47" fmla="*/ 7430 w 10000"/>
                  <a:gd name="connsiteY47" fmla="*/ 8756 h 10000"/>
                  <a:gd name="connsiteX48" fmla="*/ 7470 w 10000"/>
                  <a:gd name="connsiteY48" fmla="*/ 8798 h 10000"/>
                  <a:gd name="connsiteX49" fmla="*/ 7590 w 10000"/>
                  <a:gd name="connsiteY49" fmla="*/ 8541 h 10000"/>
                  <a:gd name="connsiteX50" fmla="*/ 7831 w 10000"/>
                  <a:gd name="connsiteY50" fmla="*/ 8412 h 10000"/>
                  <a:gd name="connsiteX51" fmla="*/ 7952 w 10000"/>
                  <a:gd name="connsiteY51" fmla="*/ 7937 h 10000"/>
                  <a:gd name="connsiteX52" fmla="*/ 8313 w 10000"/>
                  <a:gd name="connsiteY52" fmla="*/ 7377 h 10000"/>
                  <a:gd name="connsiteX53" fmla="*/ 8594 w 10000"/>
                  <a:gd name="connsiteY53" fmla="*/ 7117 h 10000"/>
                  <a:gd name="connsiteX54" fmla="*/ 8795 w 10000"/>
                  <a:gd name="connsiteY54" fmla="*/ 6386 h 10000"/>
                  <a:gd name="connsiteX55" fmla="*/ 8795 w 10000"/>
                  <a:gd name="connsiteY55" fmla="*/ 6213 h 10000"/>
                  <a:gd name="connsiteX56" fmla="*/ 8755 w 10000"/>
                  <a:gd name="connsiteY56" fmla="*/ 5781 h 10000"/>
                  <a:gd name="connsiteX57" fmla="*/ 9157 w 10000"/>
                  <a:gd name="connsiteY57" fmla="*/ 4227 h 10000"/>
                  <a:gd name="connsiteX58" fmla="*/ 9277 w 10000"/>
                  <a:gd name="connsiteY58" fmla="*/ 4227 h 10000"/>
                  <a:gd name="connsiteX59" fmla="*/ 9438 w 10000"/>
                  <a:gd name="connsiteY59" fmla="*/ 4098 h 10000"/>
                  <a:gd name="connsiteX60" fmla="*/ 9920 w 10000"/>
                  <a:gd name="connsiteY60" fmla="*/ 3882 h 10000"/>
                  <a:gd name="connsiteX61" fmla="*/ 10000 w 10000"/>
                  <a:gd name="connsiteY61" fmla="*/ 3537 h 10000"/>
                  <a:gd name="connsiteX62" fmla="*/ 9960 w 10000"/>
                  <a:gd name="connsiteY62" fmla="*/ 3450 h 10000"/>
                  <a:gd name="connsiteX63" fmla="*/ 9799 w 10000"/>
                  <a:gd name="connsiteY63" fmla="*/ 3450 h 10000"/>
                  <a:gd name="connsiteX64" fmla="*/ 9679 w 10000"/>
                  <a:gd name="connsiteY64" fmla="*/ 3235 h 10000"/>
                  <a:gd name="connsiteX65" fmla="*/ 9438 w 10000"/>
                  <a:gd name="connsiteY65" fmla="*/ 3151 h 10000"/>
                  <a:gd name="connsiteX66" fmla="*/ 9317 w 10000"/>
                  <a:gd name="connsiteY66" fmla="*/ 2978 h 10000"/>
                  <a:gd name="connsiteX67" fmla="*/ 9237 w 10000"/>
                  <a:gd name="connsiteY67" fmla="*/ 2331 h 10000"/>
                  <a:gd name="connsiteX68" fmla="*/ 9237 w 10000"/>
                  <a:gd name="connsiteY68" fmla="*/ 1423 h 10000"/>
                  <a:gd name="connsiteX69" fmla="*/ 9036 w 10000"/>
                  <a:gd name="connsiteY69" fmla="*/ 1123 h 10000"/>
                  <a:gd name="connsiteX70" fmla="*/ 8996 w 10000"/>
                  <a:gd name="connsiteY70" fmla="*/ 820 h 10000"/>
                  <a:gd name="connsiteX71" fmla="*/ 8675 w 10000"/>
                  <a:gd name="connsiteY71" fmla="*/ 389 h 10000"/>
                  <a:gd name="connsiteX72" fmla="*/ 8394 w 10000"/>
                  <a:gd name="connsiteY72" fmla="*/ 218 h 10000"/>
                  <a:gd name="connsiteX73" fmla="*/ 8233 w 10000"/>
                  <a:gd name="connsiteY73" fmla="*/ 0 h 10000"/>
                  <a:gd name="connsiteX74" fmla="*/ 7992 w 10000"/>
                  <a:gd name="connsiteY74" fmla="*/ 218 h 10000"/>
                  <a:gd name="connsiteX75" fmla="*/ 7831 w 10000"/>
                  <a:gd name="connsiteY75" fmla="*/ 173 h 10000"/>
                  <a:gd name="connsiteX76" fmla="*/ 7711 w 10000"/>
                  <a:gd name="connsiteY76" fmla="*/ 559 h 10000"/>
                  <a:gd name="connsiteX77" fmla="*/ 7390 w 10000"/>
                  <a:gd name="connsiteY77" fmla="*/ 648 h 10000"/>
                  <a:gd name="connsiteX78" fmla="*/ 7309 w 10000"/>
                  <a:gd name="connsiteY78" fmla="*/ 948 h 10000"/>
                  <a:gd name="connsiteX79" fmla="*/ 7028 w 10000"/>
                  <a:gd name="connsiteY79" fmla="*/ 948 h 10000"/>
                  <a:gd name="connsiteX80" fmla="*/ 6787 w 10000"/>
                  <a:gd name="connsiteY80" fmla="*/ 820 h 10000"/>
                  <a:gd name="connsiteX81" fmla="*/ 6265 w 10000"/>
                  <a:gd name="connsiteY81" fmla="*/ 820 h 10000"/>
                  <a:gd name="connsiteX82" fmla="*/ 5743 w 10000"/>
                  <a:gd name="connsiteY82" fmla="*/ 820 h 10000"/>
                  <a:gd name="connsiteX83" fmla="*/ 5783 w 10000"/>
                  <a:gd name="connsiteY83" fmla="*/ 648 h 10000"/>
                  <a:gd name="connsiteX84" fmla="*/ 5703 w 10000"/>
                  <a:gd name="connsiteY84" fmla="*/ 648 h 10000"/>
                  <a:gd name="connsiteX85" fmla="*/ 5663 w 10000"/>
                  <a:gd name="connsiteY85" fmla="*/ 820 h 10000"/>
                  <a:gd name="connsiteX86" fmla="*/ 5181 w 10000"/>
                  <a:gd name="connsiteY86" fmla="*/ 820 h 10000"/>
                  <a:gd name="connsiteX87" fmla="*/ 4699 w 10000"/>
                  <a:gd name="connsiteY87" fmla="*/ 820 h 10000"/>
                  <a:gd name="connsiteX88" fmla="*/ 4217 w 10000"/>
                  <a:gd name="connsiteY88" fmla="*/ 820 h 10000"/>
                  <a:gd name="connsiteX89" fmla="*/ 3735 w 10000"/>
                  <a:gd name="connsiteY89" fmla="*/ 820 h 10000"/>
                  <a:gd name="connsiteX90" fmla="*/ 3293 w 10000"/>
                  <a:gd name="connsiteY90" fmla="*/ 820 h 10000"/>
                  <a:gd name="connsiteX91" fmla="*/ 2811 w 10000"/>
                  <a:gd name="connsiteY91" fmla="*/ 820 h 10000"/>
                  <a:gd name="connsiteX92" fmla="*/ 2369 w 10000"/>
                  <a:gd name="connsiteY92" fmla="*/ 820 h 10000"/>
                  <a:gd name="connsiteX93" fmla="*/ 1888 w 10000"/>
                  <a:gd name="connsiteY93" fmla="*/ 820 h 10000"/>
                  <a:gd name="connsiteX94" fmla="*/ 1888 w 10000"/>
                  <a:gd name="connsiteY94" fmla="*/ 1423 h 10000"/>
                  <a:gd name="connsiteX95" fmla="*/ 1888 w 10000"/>
                  <a:gd name="connsiteY95" fmla="*/ 2200 h 10000"/>
                  <a:gd name="connsiteX96" fmla="*/ 1285 w 10000"/>
                  <a:gd name="connsiteY96" fmla="*/ 2200 h 10000"/>
                  <a:gd name="connsiteX97" fmla="*/ 1285 w 10000"/>
                  <a:gd name="connsiteY97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964 w 10000"/>
                  <a:gd name="connsiteY20" fmla="*/ 9879 h 10000"/>
                  <a:gd name="connsiteX21" fmla="*/ 1192 w 10000"/>
                  <a:gd name="connsiteY21" fmla="*/ 10000 h 10000"/>
                  <a:gd name="connsiteX22" fmla="*/ 1454 w 10000"/>
                  <a:gd name="connsiteY22" fmla="*/ 9337 h 10000"/>
                  <a:gd name="connsiteX23" fmla="*/ 1951 w 10000"/>
                  <a:gd name="connsiteY23" fmla="*/ 9317 h 10000"/>
                  <a:gd name="connsiteX24" fmla="*/ 2025 w 10000"/>
                  <a:gd name="connsiteY24" fmla="*/ 9052 h 10000"/>
                  <a:gd name="connsiteX25" fmla="*/ 2338 w 10000"/>
                  <a:gd name="connsiteY25" fmla="*/ 8966 h 10000"/>
                  <a:gd name="connsiteX26" fmla="*/ 2643 w 10000"/>
                  <a:gd name="connsiteY26" fmla="*/ 9388 h 10000"/>
                  <a:gd name="connsiteX27" fmla="*/ 2911 w 10000"/>
                  <a:gd name="connsiteY27" fmla="*/ 9572 h 10000"/>
                  <a:gd name="connsiteX28" fmla="*/ 3167 w 10000"/>
                  <a:gd name="connsiteY28" fmla="*/ 9539 h 10000"/>
                  <a:gd name="connsiteX29" fmla="*/ 3795 w 10000"/>
                  <a:gd name="connsiteY29" fmla="*/ 9693 h 10000"/>
                  <a:gd name="connsiteX30" fmla="*/ 4153 w 10000"/>
                  <a:gd name="connsiteY30" fmla="*/ 9776 h 10000"/>
                  <a:gd name="connsiteX31" fmla="*/ 4600 w 10000"/>
                  <a:gd name="connsiteY31" fmla="*/ 9556 h 10000"/>
                  <a:gd name="connsiteX32" fmla="*/ 4901 w 10000"/>
                  <a:gd name="connsiteY32" fmla="*/ 9086 h 10000"/>
                  <a:gd name="connsiteX33" fmla="*/ 5337 w 10000"/>
                  <a:gd name="connsiteY33" fmla="*/ 9340 h 10000"/>
                  <a:gd name="connsiteX34" fmla="*/ 5564 w 10000"/>
                  <a:gd name="connsiteY34" fmla="*/ 9506 h 10000"/>
                  <a:gd name="connsiteX35" fmla="*/ 5768 w 10000"/>
                  <a:gd name="connsiteY35" fmla="*/ 9399 h 10000"/>
                  <a:gd name="connsiteX36" fmla="*/ 5933 w 10000"/>
                  <a:gd name="connsiteY36" fmla="*/ 9300 h 10000"/>
                  <a:gd name="connsiteX37" fmla="*/ 6089 w 10000"/>
                  <a:gd name="connsiteY37" fmla="*/ 9078 h 10000"/>
                  <a:gd name="connsiteX38" fmla="*/ 6274 w 10000"/>
                  <a:gd name="connsiteY38" fmla="*/ 8778 h 10000"/>
                  <a:gd name="connsiteX39" fmla="*/ 6389 w 10000"/>
                  <a:gd name="connsiteY39" fmla="*/ 8638 h 10000"/>
                  <a:gd name="connsiteX40" fmla="*/ 6524 w 10000"/>
                  <a:gd name="connsiteY40" fmla="*/ 8582 h 10000"/>
                  <a:gd name="connsiteX41" fmla="*/ 6531 w 10000"/>
                  <a:gd name="connsiteY41" fmla="*/ 8405 h 10000"/>
                  <a:gd name="connsiteX42" fmla="*/ 6572 w 10000"/>
                  <a:gd name="connsiteY42" fmla="*/ 8201 h 10000"/>
                  <a:gd name="connsiteX43" fmla="*/ 6602 w 10000"/>
                  <a:gd name="connsiteY43" fmla="*/ 8014 h 10000"/>
                  <a:gd name="connsiteX44" fmla="*/ 6855 w 10000"/>
                  <a:gd name="connsiteY44" fmla="*/ 7773 h 10000"/>
                  <a:gd name="connsiteX45" fmla="*/ 6893 w 10000"/>
                  <a:gd name="connsiteY45" fmla="*/ 8708 h 10000"/>
                  <a:gd name="connsiteX46" fmla="*/ 7308 w 10000"/>
                  <a:gd name="connsiteY46" fmla="*/ 9034 h 10000"/>
                  <a:gd name="connsiteX47" fmla="*/ 7430 w 10000"/>
                  <a:gd name="connsiteY47" fmla="*/ 8756 h 10000"/>
                  <a:gd name="connsiteX48" fmla="*/ 7470 w 10000"/>
                  <a:gd name="connsiteY48" fmla="*/ 8798 h 10000"/>
                  <a:gd name="connsiteX49" fmla="*/ 7590 w 10000"/>
                  <a:gd name="connsiteY49" fmla="*/ 8541 h 10000"/>
                  <a:gd name="connsiteX50" fmla="*/ 7831 w 10000"/>
                  <a:gd name="connsiteY50" fmla="*/ 8412 h 10000"/>
                  <a:gd name="connsiteX51" fmla="*/ 7952 w 10000"/>
                  <a:gd name="connsiteY51" fmla="*/ 7937 h 10000"/>
                  <a:gd name="connsiteX52" fmla="*/ 8313 w 10000"/>
                  <a:gd name="connsiteY52" fmla="*/ 7377 h 10000"/>
                  <a:gd name="connsiteX53" fmla="*/ 8594 w 10000"/>
                  <a:gd name="connsiteY53" fmla="*/ 7117 h 10000"/>
                  <a:gd name="connsiteX54" fmla="*/ 8795 w 10000"/>
                  <a:gd name="connsiteY54" fmla="*/ 6386 h 10000"/>
                  <a:gd name="connsiteX55" fmla="*/ 8795 w 10000"/>
                  <a:gd name="connsiteY55" fmla="*/ 6213 h 10000"/>
                  <a:gd name="connsiteX56" fmla="*/ 8755 w 10000"/>
                  <a:gd name="connsiteY56" fmla="*/ 5781 h 10000"/>
                  <a:gd name="connsiteX57" fmla="*/ 9157 w 10000"/>
                  <a:gd name="connsiteY57" fmla="*/ 4227 h 10000"/>
                  <a:gd name="connsiteX58" fmla="*/ 9277 w 10000"/>
                  <a:gd name="connsiteY58" fmla="*/ 4227 h 10000"/>
                  <a:gd name="connsiteX59" fmla="*/ 9438 w 10000"/>
                  <a:gd name="connsiteY59" fmla="*/ 4098 h 10000"/>
                  <a:gd name="connsiteX60" fmla="*/ 9920 w 10000"/>
                  <a:gd name="connsiteY60" fmla="*/ 3882 h 10000"/>
                  <a:gd name="connsiteX61" fmla="*/ 10000 w 10000"/>
                  <a:gd name="connsiteY61" fmla="*/ 3537 h 10000"/>
                  <a:gd name="connsiteX62" fmla="*/ 9960 w 10000"/>
                  <a:gd name="connsiteY62" fmla="*/ 3450 h 10000"/>
                  <a:gd name="connsiteX63" fmla="*/ 9799 w 10000"/>
                  <a:gd name="connsiteY63" fmla="*/ 3450 h 10000"/>
                  <a:gd name="connsiteX64" fmla="*/ 9679 w 10000"/>
                  <a:gd name="connsiteY64" fmla="*/ 3235 h 10000"/>
                  <a:gd name="connsiteX65" fmla="*/ 9438 w 10000"/>
                  <a:gd name="connsiteY65" fmla="*/ 3151 h 10000"/>
                  <a:gd name="connsiteX66" fmla="*/ 9317 w 10000"/>
                  <a:gd name="connsiteY66" fmla="*/ 2978 h 10000"/>
                  <a:gd name="connsiteX67" fmla="*/ 9237 w 10000"/>
                  <a:gd name="connsiteY67" fmla="*/ 2331 h 10000"/>
                  <a:gd name="connsiteX68" fmla="*/ 9237 w 10000"/>
                  <a:gd name="connsiteY68" fmla="*/ 1423 h 10000"/>
                  <a:gd name="connsiteX69" fmla="*/ 9036 w 10000"/>
                  <a:gd name="connsiteY69" fmla="*/ 1123 h 10000"/>
                  <a:gd name="connsiteX70" fmla="*/ 8996 w 10000"/>
                  <a:gd name="connsiteY70" fmla="*/ 820 h 10000"/>
                  <a:gd name="connsiteX71" fmla="*/ 8675 w 10000"/>
                  <a:gd name="connsiteY71" fmla="*/ 389 h 10000"/>
                  <a:gd name="connsiteX72" fmla="*/ 8394 w 10000"/>
                  <a:gd name="connsiteY72" fmla="*/ 218 h 10000"/>
                  <a:gd name="connsiteX73" fmla="*/ 8233 w 10000"/>
                  <a:gd name="connsiteY73" fmla="*/ 0 h 10000"/>
                  <a:gd name="connsiteX74" fmla="*/ 7992 w 10000"/>
                  <a:gd name="connsiteY74" fmla="*/ 218 h 10000"/>
                  <a:gd name="connsiteX75" fmla="*/ 7831 w 10000"/>
                  <a:gd name="connsiteY75" fmla="*/ 173 h 10000"/>
                  <a:gd name="connsiteX76" fmla="*/ 7711 w 10000"/>
                  <a:gd name="connsiteY76" fmla="*/ 559 h 10000"/>
                  <a:gd name="connsiteX77" fmla="*/ 7390 w 10000"/>
                  <a:gd name="connsiteY77" fmla="*/ 648 h 10000"/>
                  <a:gd name="connsiteX78" fmla="*/ 7309 w 10000"/>
                  <a:gd name="connsiteY78" fmla="*/ 948 h 10000"/>
                  <a:gd name="connsiteX79" fmla="*/ 7028 w 10000"/>
                  <a:gd name="connsiteY79" fmla="*/ 948 h 10000"/>
                  <a:gd name="connsiteX80" fmla="*/ 6787 w 10000"/>
                  <a:gd name="connsiteY80" fmla="*/ 820 h 10000"/>
                  <a:gd name="connsiteX81" fmla="*/ 6265 w 10000"/>
                  <a:gd name="connsiteY81" fmla="*/ 820 h 10000"/>
                  <a:gd name="connsiteX82" fmla="*/ 5743 w 10000"/>
                  <a:gd name="connsiteY82" fmla="*/ 820 h 10000"/>
                  <a:gd name="connsiteX83" fmla="*/ 5783 w 10000"/>
                  <a:gd name="connsiteY83" fmla="*/ 648 h 10000"/>
                  <a:gd name="connsiteX84" fmla="*/ 5703 w 10000"/>
                  <a:gd name="connsiteY84" fmla="*/ 648 h 10000"/>
                  <a:gd name="connsiteX85" fmla="*/ 5663 w 10000"/>
                  <a:gd name="connsiteY85" fmla="*/ 820 h 10000"/>
                  <a:gd name="connsiteX86" fmla="*/ 5181 w 10000"/>
                  <a:gd name="connsiteY86" fmla="*/ 820 h 10000"/>
                  <a:gd name="connsiteX87" fmla="*/ 4699 w 10000"/>
                  <a:gd name="connsiteY87" fmla="*/ 820 h 10000"/>
                  <a:gd name="connsiteX88" fmla="*/ 4217 w 10000"/>
                  <a:gd name="connsiteY88" fmla="*/ 820 h 10000"/>
                  <a:gd name="connsiteX89" fmla="*/ 3735 w 10000"/>
                  <a:gd name="connsiteY89" fmla="*/ 820 h 10000"/>
                  <a:gd name="connsiteX90" fmla="*/ 3293 w 10000"/>
                  <a:gd name="connsiteY90" fmla="*/ 820 h 10000"/>
                  <a:gd name="connsiteX91" fmla="*/ 2811 w 10000"/>
                  <a:gd name="connsiteY91" fmla="*/ 820 h 10000"/>
                  <a:gd name="connsiteX92" fmla="*/ 2369 w 10000"/>
                  <a:gd name="connsiteY92" fmla="*/ 820 h 10000"/>
                  <a:gd name="connsiteX93" fmla="*/ 1888 w 10000"/>
                  <a:gd name="connsiteY93" fmla="*/ 820 h 10000"/>
                  <a:gd name="connsiteX94" fmla="*/ 1888 w 10000"/>
                  <a:gd name="connsiteY94" fmla="*/ 1423 h 10000"/>
                  <a:gd name="connsiteX95" fmla="*/ 1888 w 10000"/>
                  <a:gd name="connsiteY95" fmla="*/ 2200 h 10000"/>
                  <a:gd name="connsiteX96" fmla="*/ 1285 w 10000"/>
                  <a:gd name="connsiteY96" fmla="*/ 2200 h 10000"/>
                  <a:gd name="connsiteX97" fmla="*/ 1285 w 10000"/>
                  <a:gd name="connsiteY97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1178 w 10000"/>
                  <a:gd name="connsiteY20" fmla="*/ 9631 h 10000"/>
                  <a:gd name="connsiteX21" fmla="*/ 1192 w 10000"/>
                  <a:gd name="connsiteY21" fmla="*/ 10000 h 10000"/>
                  <a:gd name="connsiteX22" fmla="*/ 1454 w 10000"/>
                  <a:gd name="connsiteY22" fmla="*/ 9337 h 10000"/>
                  <a:gd name="connsiteX23" fmla="*/ 1951 w 10000"/>
                  <a:gd name="connsiteY23" fmla="*/ 9317 h 10000"/>
                  <a:gd name="connsiteX24" fmla="*/ 2025 w 10000"/>
                  <a:gd name="connsiteY24" fmla="*/ 9052 h 10000"/>
                  <a:gd name="connsiteX25" fmla="*/ 2338 w 10000"/>
                  <a:gd name="connsiteY25" fmla="*/ 8966 h 10000"/>
                  <a:gd name="connsiteX26" fmla="*/ 2643 w 10000"/>
                  <a:gd name="connsiteY26" fmla="*/ 9388 h 10000"/>
                  <a:gd name="connsiteX27" fmla="*/ 2911 w 10000"/>
                  <a:gd name="connsiteY27" fmla="*/ 9572 h 10000"/>
                  <a:gd name="connsiteX28" fmla="*/ 3167 w 10000"/>
                  <a:gd name="connsiteY28" fmla="*/ 9539 h 10000"/>
                  <a:gd name="connsiteX29" fmla="*/ 3795 w 10000"/>
                  <a:gd name="connsiteY29" fmla="*/ 9693 h 10000"/>
                  <a:gd name="connsiteX30" fmla="*/ 4153 w 10000"/>
                  <a:gd name="connsiteY30" fmla="*/ 9776 h 10000"/>
                  <a:gd name="connsiteX31" fmla="*/ 4600 w 10000"/>
                  <a:gd name="connsiteY31" fmla="*/ 9556 h 10000"/>
                  <a:gd name="connsiteX32" fmla="*/ 4901 w 10000"/>
                  <a:gd name="connsiteY32" fmla="*/ 9086 h 10000"/>
                  <a:gd name="connsiteX33" fmla="*/ 5337 w 10000"/>
                  <a:gd name="connsiteY33" fmla="*/ 9340 h 10000"/>
                  <a:gd name="connsiteX34" fmla="*/ 5564 w 10000"/>
                  <a:gd name="connsiteY34" fmla="*/ 9506 h 10000"/>
                  <a:gd name="connsiteX35" fmla="*/ 5768 w 10000"/>
                  <a:gd name="connsiteY35" fmla="*/ 9399 h 10000"/>
                  <a:gd name="connsiteX36" fmla="*/ 5933 w 10000"/>
                  <a:gd name="connsiteY36" fmla="*/ 9300 h 10000"/>
                  <a:gd name="connsiteX37" fmla="*/ 6089 w 10000"/>
                  <a:gd name="connsiteY37" fmla="*/ 9078 h 10000"/>
                  <a:gd name="connsiteX38" fmla="*/ 6274 w 10000"/>
                  <a:gd name="connsiteY38" fmla="*/ 8778 h 10000"/>
                  <a:gd name="connsiteX39" fmla="*/ 6389 w 10000"/>
                  <a:gd name="connsiteY39" fmla="*/ 8638 h 10000"/>
                  <a:gd name="connsiteX40" fmla="*/ 6524 w 10000"/>
                  <a:gd name="connsiteY40" fmla="*/ 8582 h 10000"/>
                  <a:gd name="connsiteX41" fmla="*/ 6531 w 10000"/>
                  <a:gd name="connsiteY41" fmla="*/ 8405 h 10000"/>
                  <a:gd name="connsiteX42" fmla="*/ 6572 w 10000"/>
                  <a:gd name="connsiteY42" fmla="*/ 8201 h 10000"/>
                  <a:gd name="connsiteX43" fmla="*/ 6602 w 10000"/>
                  <a:gd name="connsiteY43" fmla="*/ 8014 h 10000"/>
                  <a:gd name="connsiteX44" fmla="*/ 6855 w 10000"/>
                  <a:gd name="connsiteY44" fmla="*/ 7773 h 10000"/>
                  <a:gd name="connsiteX45" fmla="*/ 6893 w 10000"/>
                  <a:gd name="connsiteY45" fmla="*/ 8708 h 10000"/>
                  <a:gd name="connsiteX46" fmla="*/ 7308 w 10000"/>
                  <a:gd name="connsiteY46" fmla="*/ 9034 h 10000"/>
                  <a:gd name="connsiteX47" fmla="*/ 7430 w 10000"/>
                  <a:gd name="connsiteY47" fmla="*/ 8756 h 10000"/>
                  <a:gd name="connsiteX48" fmla="*/ 7470 w 10000"/>
                  <a:gd name="connsiteY48" fmla="*/ 8798 h 10000"/>
                  <a:gd name="connsiteX49" fmla="*/ 7590 w 10000"/>
                  <a:gd name="connsiteY49" fmla="*/ 8541 h 10000"/>
                  <a:gd name="connsiteX50" fmla="*/ 7831 w 10000"/>
                  <a:gd name="connsiteY50" fmla="*/ 8412 h 10000"/>
                  <a:gd name="connsiteX51" fmla="*/ 7952 w 10000"/>
                  <a:gd name="connsiteY51" fmla="*/ 7937 h 10000"/>
                  <a:gd name="connsiteX52" fmla="*/ 8313 w 10000"/>
                  <a:gd name="connsiteY52" fmla="*/ 7377 h 10000"/>
                  <a:gd name="connsiteX53" fmla="*/ 8594 w 10000"/>
                  <a:gd name="connsiteY53" fmla="*/ 7117 h 10000"/>
                  <a:gd name="connsiteX54" fmla="*/ 8795 w 10000"/>
                  <a:gd name="connsiteY54" fmla="*/ 6386 h 10000"/>
                  <a:gd name="connsiteX55" fmla="*/ 8795 w 10000"/>
                  <a:gd name="connsiteY55" fmla="*/ 6213 h 10000"/>
                  <a:gd name="connsiteX56" fmla="*/ 8755 w 10000"/>
                  <a:gd name="connsiteY56" fmla="*/ 5781 h 10000"/>
                  <a:gd name="connsiteX57" fmla="*/ 9157 w 10000"/>
                  <a:gd name="connsiteY57" fmla="*/ 4227 h 10000"/>
                  <a:gd name="connsiteX58" fmla="*/ 9277 w 10000"/>
                  <a:gd name="connsiteY58" fmla="*/ 4227 h 10000"/>
                  <a:gd name="connsiteX59" fmla="*/ 9438 w 10000"/>
                  <a:gd name="connsiteY59" fmla="*/ 4098 h 10000"/>
                  <a:gd name="connsiteX60" fmla="*/ 9920 w 10000"/>
                  <a:gd name="connsiteY60" fmla="*/ 3882 h 10000"/>
                  <a:gd name="connsiteX61" fmla="*/ 10000 w 10000"/>
                  <a:gd name="connsiteY61" fmla="*/ 3537 h 10000"/>
                  <a:gd name="connsiteX62" fmla="*/ 9960 w 10000"/>
                  <a:gd name="connsiteY62" fmla="*/ 3450 h 10000"/>
                  <a:gd name="connsiteX63" fmla="*/ 9799 w 10000"/>
                  <a:gd name="connsiteY63" fmla="*/ 3450 h 10000"/>
                  <a:gd name="connsiteX64" fmla="*/ 9679 w 10000"/>
                  <a:gd name="connsiteY64" fmla="*/ 3235 h 10000"/>
                  <a:gd name="connsiteX65" fmla="*/ 9438 w 10000"/>
                  <a:gd name="connsiteY65" fmla="*/ 3151 h 10000"/>
                  <a:gd name="connsiteX66" fmla="*/ 9317 w 10000"/>
                  <a:gd name="connsiteY66" fmla="*/ 2978 h 10000"/>
                  <a:gd name="connsiteX67" fmla="*/ 9237 w 10000"/>
                  <a:gd name="connsiteY67" fmla="*/ 2331 h 10000"/>
                  <a:gd name="connsiteX68" fmla="*/ 9237 w 10000"/>
                  <a:gd name="connsiteY68" fmla="*/ 1423 h 10000"/>
                  <a:gd name="connsiteX69" fmla="*/ 9036 w 10000"/>
                  <a:gd name="connsiteY69" fmla="*/ 1123 h 10000"/>
                  <a:gd name="connsiteX70" fmla="*/ 8996 w 10000"/>
                  <a:gd name="connsiteY70" fmla="*/ 820 h 10000"/>
                  <a:gd name="connsiteX71" fmla="*/ 8675 w 10000"/>
                  <a:gd name="connsiteY71" fmla="*/ 389 h 10000"/>
                  <a:gd name="connsiteX72" fmla="*/ 8394 w 10000"/>
                  <a:gd name="connsiteY72" fmla="*/ 218 h 10000"/>
                  <a:gd name="connsiteX73" fmla="*/ 8233 w 10000"/>
                  <a:gd name="connsiteY73" fmla="*/ 0 h 10000"/>
                  <a:gd name="connsiteX74" fmla="*/ 7992 w 10000"/>
                  <a:gd name="connsiteY74" fmla="*/ 218 h 10000"/>
                  <a:gd name="connsiteX75" fmla="*/ 7831 w 10000"/>
                  <a:gd name="connsiteY75" fmla="*/ 173 h 10000"/>
                  <a:gd name="connsiteX76" fmla="*/ 7711 w 10000"/>
                  <a:gd name="connsiteY76" fmla="*/ 559 h 10000"/>
                  <a:gd name="connsiteX77" fmla="*/ 7390 w 10000"/>
                  <a:gd name="connsiteY77" fmla="*/ 648 h 10000"/>
                  <a:gd name="connsiteX78" fmla="*/ 7309 w 10000"/>
                  <a:gd name="connsiteY78" fmla="*/ 948 h 10000"/>
                  <a:gd name="connsiteX79" fmla="*/ 7028 w 10000"/>
                  <a:gd name="connsiteY79" fmla="*/ 948 h 10000"/>
                  <a:gd name="connsiteX80" fmla="*/ 6787 w 10000"/>
                  <a:gd name="connsiteY80" fmla="*/ 820 h 10000"/>
                  <a:gd name="connsiteX81" fmla="*/ 6265 w 10000"/>
                  <a:gd name="connsiteY81" fmla="*/ 820 h 10000"/>
                  <a:gd name="connsiteX82" fmla="*/ 5743 w 10000"/>
                  <a:gd name="connsiteY82" fmla="*/ 820 h 10000"/>
                  <a:gd name="connsiteX83" fmla="*/ 5783 w 10000"/>
                  <a:gd name="connsiteY83" fmla="*/ 648 h 10000"/>
                  <a:gd name="connsiteX84" fmla="*/ 5703 w 10000"/>
                  <a:gd name="connsiteY84" fmla="*/ 648 h 10000"/>
                  <a:gd name="connsiteX85" fmla="*/ 5663 w 10000"/>
                  <a:gd name="connsiteY85" fmla="*/ 820 h 10000"/>
                  <a:gd name="connsiteX86" fmla="*/ 5181 w 10000"/>
                  <a:gd name="connsiteY86" fmla="*/ 820 h 10000"/>
                  <a:gd name="connsiteX87" fmla="*/ 4699 w 10000"/>
                  <a:gd name="connsiteY87" fmla="*/ 820 h 10000"/>
                  <a:gd name="connsiteX88" fmla="*/ 4217 w 10000"/>
                  <a:gd name="connsiteY88" fmla="*/ 820 h 10000"/>
                  <a:gd name="connsiteX89" fmla="*/ 3735 w 10000"/>
                  <a:gd name="connsiteY89" fmla="*/ 820 h 10000"/>
                  <a:gd name="connsiteX90" fmla="*/ 3293 w 10000"/>
                  <a:gd name="connsiteY90" fmla="*/ 820 h 10000"/>
                  <a:gd name="connsiteX91" fmla="*/ 2811 w 10000"/>
                  <a:gd name="connsiteY91" fmla="*/ 820 h 10000"/>
                  <a:gd name="connsiteX92" fmla="*/ 2369 w 10000"/>
                  <a:gd name="connsiteY92" fmla="*/ 820 h 10000"/>
                  <a:gd name="connsiteX93" fmla="*/ 1888 w 10000"/>
                  <a:gd name="connsiteY93" fmla="*/ 820 h 10000"/>
                  <a:gd name="connsiteX94" fmla="*/ 1888 w 10000"/>
                  <a:gd name="connsiteY94" fmla="*/ 1423 h 10000"/>
                  <a:gd name="connsiteX95" fmla="*/ 1888 w 10000"/>
                  <a:gd name="connsiteY95" fmla="*/ 2200 h 10000"/>
                  <a:gd name="connsiteX96" fmla="*/ 1285 w 10000"/>
                  <a:gd name="connsiteY96" fmla="*/ 2200 h 10000"/>
                  <a:gd name="connsiteX97" fmla="*/ 1285 w 10000"/>
                  <a:gd name="connsiteY97" fmla="*/ 2545 h 10000"/>
                  <a:gd name="connsiteX0" fmla="*/ 1285 w 10000"/>
                  <a:gd name="connsiteY0" fmla="*/ 2545 h 10000"/>
                  <a:gd name="connsiteX1" fmla="*/ 1285 w 10000"/>
                  <a:gd name="connsiteY1" fmla="*/ 3235 h 10000"/>
                  <a:gd name="connsiteX2" fmla="*/ 1285 w 10000"/>
                  <a:gd name="connsiteY2" fmla="*/ 3882 h 10000"/>
                  <a:gd name="connsiteX3" fmla="*/ 1285 w 10000"/>
                  <a:gd name="connsiteY3" fmla="*/ 4530 h 10000"/>
                  <a:gd name="connsiteX4" fmla="*/ 1285 w 10000"/>
                  <a:gd name="connsiteY4" fmla="*/ 5131 h 10000"/>
                  <a:gd name="connsiteX5" fmla="*/ 643 w 10000"/>
                  <a:gd name="connsiteY5" fmla="*/ 5263 h 10000"/>
                  <a:gd name="connsiteX6" fmla="*/ 522 w 10000"/>
                  <a:gd name="connsiteY6" fmla="*/ 5607 h 10000"/>
                  <a:gd name="connsiteX7" fmla="*/ 241 w 10000"/>
                  <a:gd name="connsiteY7" fmla="*/ 6039 h 10000"/>
                  <a:gd name="connsiteX8" fmla="*/ 241 w 10000"/>
                  <a:gd name="connsiteY8" fmla="*/ 6386 h 10000"/>
                  <a:gd name="connsiteX9" fmla="*/ 120 w 10000"/>
                  <a:gd name="connsiteY9" fmla="*/ 6470 h 10000"/>
                  <a:gd name="connsiteX10" fmla="*/ 120 w 10000"/>
                  <a:gd name="connsiteY10" fmla="*/ 6771 h 10000"/>
                  <a:gd name="connsiteX11" fmla="*/ 0 w 10000"/>
                  <a:gd name="connsiteY11" fmla="*/ 7033 h 10000"/>
                  <a:gd name="connsiteX12" fmla="*/ 0 w 10000"/>
                  <a:gd name="connsiteY12" fmla="*/ 7246 h 10000"/>
                  <a:gd name="connsiteX13" fmla="*/ 241 w 10000"/>
                  <a:gd name="connsiteY13" fmla="*/ 7204 h 10000"/>
                  <a:gd name="connsiteX14" fmla="*/ 281 w 10000"/>
                  <a:gd name="connsiteY14" fmla="*/ 7590 h 10000"/>
                  <a:gd name="connsiteX15" fmla="*/ 602 w 10000"/>
                  <a:gd name="connsiteY15" fmla="*/ 8284 h 10000"/>
                  <a:gd name="connsiteX16" fmla="*/ 602 w 10000"/>
                  <a:gd name="connsiteY16" fmla="*/ 8326 h 10000"/>
                  <a:gd name="connsiteX17" fmla="*/ 482 w 10000"/>
                  <a:gd name="connsiteY17" fmla="*/ 8368 h 10000"/>
                  <a:gd name="connsiteX18" fmla="*/ 964 w 10000"/>
                  <a:gd name="connsiteY18" fmla="*/ 9058 h 10000"/>
                  <a:gd name="connsiteX19" fmla="*/ 1004 w 10000"/>
                  <a:gd name="connsiteY19" fmla="*/ 9275 h 10000"/>
                  <a:gd name="connsiteX20" fmla="*/ 1178 w 10000"/>
                  <a:gd name="connsiteY20" fmla="*/ 9631 h 10000"/>
                  <a:gd name="connsiteX21" fmla="*/ 1192 w 10000"/>
                  <a:gd name="connsiteY21" fmla="*/ 10000 h 10000"/>
                  <a:gd name="connsiteX22" fmla="*/ 1652 w 10000"/>
                  <a:gd name="connsiteY22" fmla="*/ 9372 h 10000"/>
                  <a:gd name="connsiteX23" fmla="*/ 1951 w 10000"/>
                  <a:gd name="connsiteY23" fmla="*/ 9317 h 10000"/>
                  <a:gd name="connsiteX24" fmla="*/ 2025 w 10000"/>
                  <a:gd name="connsiteY24" fmla="*/ 9052 h 10000"/>
                  <a:gd name="connsiteX25" fmla="*/ 2338 w 10000"/>
                  <a:gd name="connsiteY25" fmla="*/ 8966 h 10000"/>
                  <a:gd name="connsiteX26" fmla="*/ 2643 w 10000"/>
                  <a:gd name="connsiteY26" fmla="*/ 9388 h 10000"/>
                  <a:gd name="connsiteX27" fmla="*/ 2911 w 10000"/>
                  <a:gd name="connsiteY27" fmla="*/ 9572 h 10000"/>
                  <a:gd name="connsiteX28" fmla="*/ 3167 w 10000"/>
                  <a:gd name="connsiteY28" fmla="*/ 9539 h 10000"/>
                  <a:gd name="connsiteX29" fmla="*/ 3795 w 10000"/>
                  <a:gd name="connsiteY29" fmla="*/ 9693 h 10000"/>
                  <a:gd name="connsiteX30" fmla="*/ 4153 w 10000"/>
                  <a:gd name="connsiteY30" fmla="*/ 9776 h 10000"/>
                  <a:gd name="connsiteX31" fmla="*/ 4600 w 10000"/>
                  <a:gd name="connsiteY31" fmla="*/ 9556 h 10000"/>
                  <a:gd name="connsiteX32" fmla="*/ 4901 w 10000"/>
                  <a:gd name="connsiteY32" fmla="*/ 9086 h 10000"/>
                  <a:gd name="connsiteX33" fmla="*/ 5337 w 10000"/>
                  <a:gd name="connsiteY33" fmla="*/ 9340 h 10000"/>
                  <a:gd name="connsiteX34" fmla="*/ 5564 w 10000"/>
                  <a:gd name="connsiteY34" fmla="*/ 9506 h 10000"/>
                  <a:gd name="connsiteX35" fmla="*/ 5768 w 10000"/>
                  <a:gd name="connsiteY35" fmla="*/ 9399 h 10000"/>
                  <a:gd name="connsiteX36" fmla="*/ 5933 w 10000"/>
                  <a:gd name="connsiteY36" fmla="*/ 9300 h 10000"/>
                  <a:gd name="connsiteX37" fmla="*/ 6089 w 10000"/>
                  <a:gd name="connsiteY37" fmla="*/ 9078 h 10000"/>
                  <a:gd name="connsiteX38" fmla="*/ 6274 w 10000"/>
                  <a:gd name="connsiteY38" fmla="*/ 8778 h 10000"/>
                  <a:gd name="connsiteX39" fmla="*/ 6389 w 10000"/>
                  <a:gd name="connsiteY39" fmla="*/ 8638 h 10000"/>
                  <a:gd name="connsiteX40" fmla="*/ 6524 w 10000"/>
                  <a:gd name="connsiteY40" fmla="*/ 8582 h 10000"/>
                  <a:gd name="connsiteX41" fmla="*/ 6531 w 10000"/>
                  <a:gd name="connsiteY41" fmla="*/ 8405 h 10000"/>
                  <a:gd name="connsiteX42" fmla="*/ 6572 w 10000"/>
                  <a:gd name="connsiteY42" fmla="*/ 8201 h 10000"/>
                  <a:gd name="connsiteX43" fmla="*/ 6602 w 10000"/>
                  <a:gd name="connsiteY43" fmla="*/ 8014 h 10000"/>
                  <a:gd name="connsiteX44" fmla="*/ 6855 w 10000"/>
                  <a:gd name="connsiteY44" fmla="*/ 7773 h 10000"/>
                  <a:gd name="connsiteX45" fmla="*/ 6893 w 10000"/>
                  <a:gd name="connsiteY45" fmla="*/ 8708 h 10000"/>
                  <a:gd name="connsiteX46" fmla="*/ 7308 w 10000"/>
                  <a:gd name="connsiteY46" fmla="*/ 9034 h 10000"/>
                  <a:gd name="connsiteX47" fmla="*/ 7430 w 10000"/>
                  <a:gd name="connsiteY47" fmla="*/ 8756 h 10000"/>
                  <a:gd name="connsiteX48" fmla="*/ 7470 w 10000"/>
                  <a:gd name="connsiteY48" fmla="*/ 8798 h 10000"/>
                  <a:gd name="connsiteX49" fmla="*/ 7590 w 10000"/>
                  <a:gd name="connsiteY49" fmla="*/ 8541 h 10000"/>
                  <a:gd name="connsiteX50" fmla="*/ 7831 w 10000"/>
                  <a:gd name="connsiteY50" fmla="*/ 8412 h 10000"/>
                  <a:gd name="connsiteX51" fmla="*/ 7952 w 10000"/>
                  <a:gd name="connsiteY51" fmla="*/ 7937 h 10000"/>
                  <a:gd name="connsiteX52" fmla="*/ 8313 w 10000"/>
                  <a:gd name="connsiteY52" fmla="*/ 7377 h 10000"/>
                  <a:gd name="connsiteX53" fmla="*/ 8594 w 10000"/>
                  <a:gd name="connsiteY53" fmla="*/ 7117 h 10000"/>
                  <a:gd name="connsiteX54" fmla="*/ 8795 w 10000"/>
                  <a:gd name="connsiteY54" fmla="*/ 6386 h 10000"/>
                  <a:gd name="connsiteX55" fmla="*/ 8795 w 10000"/>
                  <a:gd name="connsiteY55" fmla="*/ 6213 h 10000"/>
                  <a:gd name="connsiteX56" fmla="*/ 8755 w 10000"/>
                  <a:gd name="connsiteY56" fmla="*/ 5781 h 10000"/>
                  <a:gd name="connsiteX57" fmla="*/ 9157 w 10000"/>
                  <a:gd name="connsiteY57" fmla="*/ 4227 h 10000"/>
                  <a:gd name="connsiteX58" fmla="*/ 9277 w 10000"/>
                  <a:gd name="connsiteY58" fmla="*/ 4227 h 10000"/>
                  <a:gd name="connsiteX59" fmla="*/ 9438 w 10000"/>
                  <a:gd name="connsiteY59" fmla="*/ 4098 h 10000"/>
                  <a:gd name="connsiteX60" fmla="*/ 9920 w 10000"/>
                  <a:gd name="connsiteY60" fmla="*/ 3882 h 10000"/>
                  <a:gd name="connsiteX61" fmla="*/ 10000 w 10000"/>
                  <a:gd name="connsiteY61" fmla="*/ 3537 h 10000"/>
                  <a:gd name="connsiteX62" fmla="*/ 9960 w 10000"/>
                  <a:gd name="connsiteY62" fmla="*/ 3450 h 10000"/>
                  <a:gd name="connsiteX63" fmla="*/ 9799 w 10000"/>
                  <a:gd name="connsiteY63" fmla="*/ 3450 h 10000"/>
                  <a:gd name="connsiteX64" fmla="*/ 9679 w 10000"/>
                  <a:gd name="connsiteY64" fmla="*/ 3235 h 10000"/>
                  <a:gd name="connsiteX65" fmla="*/ 9438 w 10000"/>
                  <a:gd name="connsiteY65" fmla="*/ 3151 h 10000"/>
                  <a:gd name="connsiteX66" fmla="*/ 9317 w 10000"/>
                  <a:gd name="connsiteY66" fmla="*/ 2978 h 10000"/>
                  <a:gd name="connsiteX67" fmla="*/ 9237 w 10000"/>
                  <a:gd name="connsiteY67" fmla="*/ 2331 h 10000"/>
                  <a:gd name="connsiteX68" fmla="*/ 9237 w 10000"/>
                  <a:gd name="connsiteY68" fmla="*/ 1423 h 10000"/>
                  <a:gd name="connsiteX69" fmla="*/ 9036 w 10000"/>
                  <a:gd name="connsiteY69" fmla="*/ 1123 h 10000"/>
                  <a:gd name="connsiteX70" fmla="*/ 8996 w 10000"/>
                  <a:gd name="connsiteY70" fmla="*/ 820 h 10000"/>
                  <a:gd name="connsiteX71" fmla="*/ 8675 w 10000"/>
                  <a:gd name="connsiteY71" fmla="*/ 389 h 10000"/>
                  <a:gd name="connsiteX72" fmla="*/ 8394 w 10000"/>
                  <a:gd name="connsiteY72" fmla="*/ 218 h 10000"/>
                  <a:gd name="connsiteX73" fmla="*/ 8233 w 10000"/>
                  <a:gd name="connsiteY73" fmla="*/ 0 h 10000"/>
                  <a:gd name="connsiteX74" fmla="*/ 7992 w 10000"/>
                  <a:gd name="connsiteY74" fmla="*/ 218 h 10000"/>
                  <a:gd name="connsiteX75" fmla="*/ 7831 w 10000"/>
                  <a:gd name="connsiteY75" fmla="*/ 173 h 10000"/>
                  <a:gd name="connsiteX76" fmla="*/ 7711 w 10000"/>
                  <a:gd name="connsiteY76" fmla="*/ 559 h 10000"/>
                  <a:gd name="connsiteX77" fmla="*/ 7390 w 10000"/>
                  <a:gd name="connsiteY77" fmla="*/ 648 h 10000"/>
                  <a:gd name="connsiteX78" fmla="*/ 7309 w 10000"/>
                  <a:gd name="connsiteY78" fmla="*/ 948 h 10000"/>
                  <a:gd name="connsiteX79" fmla="*/ 7028 w 10000"/>
                  <a:gd name="connsiteY79" fmla="*/ 948 h 10000"/>
                  <a:gd name="connsiteX80" fmla="*/ 6787 w 10000"/>
                  <a:gd name="connsiteY80" fmla="*/ 820 h 10000"/>
                  <a:gd name="connsiteX81" fmla="*/ 6265 w 10000"/>
                  <a:gd name="connsiteY81" fmla="*/ 820 h 10000"/>
                  <a:gd name="connsiteX82" fmla="*/ 5743 w 10000"/>
                  <a:gd name="connsiteY82" fmla="*/ 820 h 10000"/>
                  <a:gd name="connsiteX83" fmla="*/ 5783 w 10000"/>
                  <a:gd name="connsiteY83" fmla="*/ 648 h 10000"/>
                  <a:gd name="connsiteX84" fmla="*/ 5703 w 10000"/>
                  <a:gd name="connsiteY84" fmla="*/ 648 h 10000"/>
                  <a:gd name="connsiteX85" fmla="*/ 5663 w 10000"/>
                  <a:gd name="connsiteY85" fmla="*/ 820 h 10000"/>
                  <a:gd name="connsiteX86" fmla="*/ 5181 w 10000"/>
                  <a:gd name="connsiteY86" fmla="*/ 820 h 10000"/>
                  <a:gd name="connsiteX87" fmla="*/ 4699 w 10000"/>
                  <a:gd name="connsiteY87" fmla="*/ 820 h 10000"/>
                  <a:gd name="connsiteX88" fmla="*/ 4217 w 10000"/>
                  <a:gd name="connsiteY88" fmla="*/ 820 h 10000"/>
                  <a:gd name="connsiteX89" fmla="*/ 3735 w 10000"/>
                  <a:gd name="connsiteY89" fmla="*/ 820 h 10000"/>
                  <a:gd name="connsiteX90" fmla="*/ 3293 w 10000"/>
                  <a:gd name="connsiteY90" fmla="*/ 820 h 10000"/>
                  <a:gd name="connsiteX91" fmla="*/ 2811 w 10000"/>
                  <a:gd name="connsiteY91" fmla="*/ 820 h 10000"/>
                  <a:gd name="connsiteX92" fmla="*/ 2369 w 10000"/>
                  <a:gd name="connsiteY92" fmla="*/ 820 h 10000"/>
                  <a:gd name="connsiteX93" fmla="*/ 1888 w 10000"/>
                  <a:gd name="connsiteY93" fmla="*/ 820 h 10000"/>
                  <a:gd name="connsiteX94" fmla="*/ 1888 w 10000"/>
                  <a:gd name="connsiteY94" fmla="*/ 1423 h 10000"/>
                  <a:gd name="connsiteX95" fmla="*/ 1888 w 10000"/>
                  <a:gd name="connsiteY95" fmla="*/ 2200 h 10000"/>
                  <a:gd name="connsiteX96" fmla="*/ 1285 w 10000"/>
                  <a:gd name="connsiteY96" fmla="*/ 2200 h 10000"/>
                  <a:gd name="connsiteX97" fmla="*/ 1285 w 10000"/>
                  <a:gd name="connsiteY97" fmla="*/ 2545 h 10000"/>
                  <a:gd name="connsiteX0" fmla="*/ 1285 w 10000"/>
                  <a:gd name="connsiteY0" fmla="*/ 2545 h 9819"/>
                  <a:gd name="connsiteX1" fmla="*/ 1285 w 10000"/>
                  <a:gd name="connsiteY1" fmla="*/ 3235 h 9819"/>
                  <a:gd name="connsiteX2" fmla="*/ 1285 w 10000"/>
                  <a:gd name="connsiteY2" fmla="*/ 3882 h 9819"/>
                  <a:gd name="connsiteX3" fmla="*/ 1285 w 10000"/>
                  <a:gd name="connsiteY3" fmla="*/ 4530 h 9819"/>
                  <a:gd name="connsiteX4" fmla="*/ 1285 w 10000"/>
                  <a:gd name="connsiteY4" fmla="*/ 5131 h 9819"/>
                  <a:gd name="connsiteX5" fmla="*/ 643 w 10000"/>
                  <a:gd name="connsiteY5" fmla="*/ 5263 h 9819"/>
                  <a:gd name="connsiteX6" fmla="*/ 522 w 10000"/>
                  <a:gd name="connsiteY6" fmla="*/ 5607 h 9819"/>
                  <a:gd name="connsiteX7" fmla="*/ 241 w 10000"/>
                  <a:gd name="connsiteY7" fmla="*/ 6039 h 9819"/>
                  <a:gd name="connsiteX8" fmla="*/ 241 w 10000"/>
                  <a:gd name="connsiteY8" fmla="*/ 6386 h 9819"/>
                  <a:gd name="connsiteX9" fmla="*/ 120 w 10000"/>
                  <a:gd name="connsiteY9" fmla="*/ 6470 h 9819"/>
                  <a:gd name="connsiteX10" fmla="*/ 120 w 10000"/>
                  <a:gd name="connsiteY10" fmla="*/ 6771 h 9819"/>
                  <a:gd name="connsiteX11" fmla="*/ 0 w 10000"/>
                  <a:gd name="connsiteY11" fmla="*/ 7033 h 9819"/>
                  <a:gd name="connsiteX12" fmla="*/ 0 w 10000"/>
                  <a:gd name="connsiteY12" fmla="*/ 7246 h 9819"/>
                  <a:gd name="connsiteX13" fmla="*/ 241 w 10000"/>
                  <a:gd name="connsiteY13" fmla="*/ 7204 h 9819"/>
                  <a:gd name="connsiteX14" fmla="*/ 281 w 10000"/>
                  <a:gd name="connsiteY14" fmla="*/ 7590 h 9819"/>
                  <a:gd name="connsiteX15" fmla="*/ 602 w 10000"/>
                  <a:gd name="connsiteY15" fmla="*/ 8284 h 9819"/>
                  <a:gd name="connsiteX16" fmla="*/ 602 w 10000"/>
                  <a:gd name="connsiteY16" fmla="*/ 8326 h 9819"/>
                  <a:gd name="connsiteX17" fmla="*/ 482 w 10000"/>
                  <a:gd name="connsiteY17" fmla="*/ 8368 h 9819"/>
                  <a:gd name="connsiteX18" fmla="*/ 964 w 10000"/>
                  <a:gd name="connsiteY18" fmla="*/ 9058 h 9819"/>
                  <a:gd name="connsiteX19" fmla="*/ 1004 w 10000"/>
                  <a:gd name="connsiteY19" fmla="*/ 9275 h 9819"/>
                  <a:gd name="connsiteX20" fmla="*/ 1178 w 10000"/>
                  <a:gd name="connsiteY20" fmla="*/ 9631 h 9819"/>
                  <a:gd name="connsiteX21" fmla="*/ 1357 w 10000"/>
                  <a:gd name="connsiteY21" fmla="*/ 9433 h 9819"/>
                  <a:gd name="connsiteX22" fmla="*/ 1652 w 10000"/>
                  <a:gd name="connsiteY22" fmla="*/ 9372 h 9819"/>
                  <a:gd name="connsiteX23" fmla="*/ 1951 w 10000"/>
                  <a:gd name="connsiteY23" fmla="*/ 9317 h 9819"/>
                  <a:gd name="connsiteX24" fmla="*/ 2025 w 10000"/>
                  <a:gd name="connsiteY24" fmla="*/ 9052 h 9819"/>
                  <a:gd name="connsiteX25" fmla="*/ 2338 w 10000"/>
                  <a:gd name="connsiteY25" fmla="*/ 8966 h 9819"/>
                  <a:gd name="connsiteX26" fmla="*/ 2643 w 10000"/>
                  <a:gd name="connsiteY26" fmla="*/ 9388 h 9819"/>
                  <a:gd name="connsiteX27" fmla="*/ 2911 w 10000"/>
                  <a:gd name="connsiteY27" fmla="*/ 9572 h 9819"/>
                  <a:gd name="connsiteX28" fmla="*/ 3167 w 10000"/>
                  <a:gd name="connsiteY28" fmla="*/ 9539 h 9819"/>
                  <a:gd name="connsiteX29" fmla="*/ 3795 w 10000"/>
                  <a:gd name="connsiteY29" fmla="*/ 9693 h 9819"/>
                  <a:gd name="connsiteX30" fmla="*/ 4153 w 10000"/>
                  <a:gd name="connsiteY30" fmla="*/ 9776 h 9819"/>
                  <a:gd name="connsiteX31" fmla="*/ 4600 w 10000"/>
                  <a:gd name="connsiteY31" fmla="*/ 9556 h 9819"/>
                  <a:gd name="connsiteX32" fmla="*/ 4901 w 10000"/>
                  <a:gd name="connsiteY32" fmla="*/ 9086 h 9819"/>
                  <a:gd name="connsiteX33" fmla="*/ 5337 w 10000"/>
                  <a:gd name="connsiteY33" fmla="*/ 9340 h 9819"/>
                  <a:gd name="connsiteX34" fmla="*/ 5564 w 10000"/>
                  <a:gd name="connsiteY34" fmla="*/ 9506 h 9819"/>
                  <a:gd name="connsiteX35" fmla="*/ 5768 w 10000"/>
                  <a:gd name="connsiteY35" fmla="*/ 9399 h 9819"/>
                  <a:gd name="connsiteX36" fmla="*/ 5933 w 10000"/>
                  <a:gd name="connsiteY36" fmla="*/ 9300 h 9819"/>
                  <a:gd name="connsiteX37" fmla="*/ 6089 w 10000"/>
                  <a:gd name="connsiteY37" fmla="*/ 9078 h 9819"/>
                  <a:gd name="connsiteX38" fmla="*/ 6274 w 10000"/>
                  <a:gd name="connsiteY38" fmla="*/ 8778 h 9819"/>
                  <a:gd name="connsiteX39" fmla="*/ 6389 w 10000"/>
                  <a:gd name="connsiteY39" fmla="*/ 8638 h 9819"/>
                  <a:gd name="connsiteX40" fmla="*/ 6524 w 10000"/>
                  <a:gd name="connsiteY40" fmla="*/ 8582 h 9819"/>
                  <a:gd name="connsiteX41" fmla="*/ 6531 w 10000"/>
                  <a:gd name="connsiteY41" fmla="*/ 8405 h 9819"/>
                  <a:gd name="connsiteX42" fmla="*/ 6572 w 10000"/>
                  <a:gd name="connsiteY42" fmla="*/ 8201 h 9819"/>
                  <a:gd name="connsiteX43" fmla="*/ 6602 w 10000"/>
                  <a:gd name="connsiteY43" fmla="*/ 8014 h 9819"/>
                  <a:gd name="connsiteX44" fmla="*/ 6855 w 10000"/>
                  <a:gd name="connsiteY44" fmla="*/ 7773 h 9819"/>
                  <a:gd name="connsiteX45" fmla="*/ 6893 w 10000"/>
                  <a:gd name="connsiteY45" fmla="*/ 8708 h 9819"/>
                  <a:gd name="connsiteX46" fmla="*/ 7308 w 10000"/>
                  <a:gd name="connsiteY46" fmla="*/ 9034 h 9819"/>
                  <a:gd name="connsiteX47" fmla="*/ 7430 w 10000"/>
                  <a:gd name="connsiteY47" fmla="*/ 8756 h 9819"/>
                  <a:gd name="connsiteX48" fmla="*/ 7470 w 10000"/>
                  <a:gd name="connsiteY48" fmla="*/ 8798 h 9819"/>
                  <a:gd name="connsiteX49" fmla="*/ 7590 w 10000"/>
                  <a:gd name="connsiteY49" fmla="*/ 8541 h 9819"/>
                  <a:gd name="connsiteX50" fmla="*/ 7831 w 10000"/>
                  <a:gd name="connsiteY50" fmla="*/ 8412 h 9819"/>
                  <a:gd name="connsiteX51" fmla="*/ 7952 w 10000"/>
                  <a:gd name="connsiteY51" fmla="*/ 7937 h 9819"/>
                  <a:gd name="connsiteX52" fmla="*/ 8313 w 10000"/>
                  <a:gd name="connsiteY52" fmla="*/ 7377 h 9819"/>
                  <a:gd name="connsiteX53" fmla="*/ 8594 w 10000"/>
                  <a:gd name="connsiteY53" fmla="*/ 7117 h 9819"/>
                  <a:gd name="connsiteX54" fmla="*/ 8795 w 10000"/>
                  <a:gd name="connsiteY54" fmla="*/ 6386 h 9819"/>
                  <a:gd name="connsiteX55" fmla="*/ 8795 w 10000"/>
                  <a:gd name="connsiteY55" fmla="*/ 6213 h 9819"/>
                  <a:gd name="connsiteX56" fmla="*/ 8755 w 10000"/>
                  <a:gd name="connsiteY56" fmla="*/ 5781 h 9819"/>
                  <a:gd name="connsiteX57" fmla="*/ 9157 w 10000"/>
                  <a:gd name="connsiteY57" fmla="*/ 4227 h 9819"/>
                  <a:gd name="connsiteX58" fmla="*/ 9277 w 10000"/>
                  <a:gd name="connsiteY58" fmla="*/ 4227 h 9819"/>
                  <a:gd name="connsiteX59" fmla="*/ 9438 w 10000"/>
                  <a:gd name="connsiteY59" fmla="*/ 4098 h 9819"/>
                  <a:gd name="connsiteX60" fmla="*/ 9920 w 10000"/>
                  <a:gd name="connsiteY60" fmla="*/ 3882 h 9819"/>
                  <a:gd name="connsiteX61" fmla="*/ 10000 w 10000"/>
                  <a:gd name="connsiteY61" fmla="*/ 3537 h 9819"/>
                  <a:gd name="connsiteX62" fmla="*/ 9960 w 10000"/>
                  <a:gd name="connsiteY62" fmla="*/ 3450 h 9819"/>
                  <a:gd name="connsiteX63" fmla="*/ 9799 w 10000"/>
                  <a:gd name="connsiteY63" fmla="*/ 3450 h 9819"/>
                  <a:gd name="connsiteX64" fmla="*/ 9679 w 10000"/>
                  <a:gd name="connsiteY64" fmla="*/ 3235 h 9819"/>
                  <a:gd name="connsiteX65" fmla="*/ 9438 w 10000"/>
                  <a:gd name="connsiteY65" fmla="*/ 3151 h 9819"/>
                  <a:gd name="connsiteX66" fmla="*/ 9317 w 10000"/>
                  <a:gd name="connsiteY66" fmla="*/ 2978 h 9819"/>
                  <a:gd name="connsiteX67" fmla="*/ 9237 w 10000"/>
                  <a:gd name="connsiteY67" fmla="*/ 2331 h 9819"/>
                  <a:gd name="connsiteX68" fmla="*/ 9237 w 10000"/>
                  <a:gd name="connsiteY68" fmla="*/ 1423 h 9819"/>
                  <a:gd name="connsiteX69" fmla="*/ 9036 w 10000"/>
                  <a:gd name="connsiteY69" fmla="*/ 1123 h 9819"/>
                  <a:gd name="connsiteX70" fmla="*/ 8996 w 10000"/>
                  <a:gd name="connsiteY70" fmla="*/ 820 h 9819"/>
                  <a:gd name="connsiteX71" fmla="*/ 8675 w 10000"/>
                  <a:gd name="connsiteY71" fmla="*/ 389 h 9819"/>
                  <a:gd name="connsiteX72" fmla="*/ 8394 w 10000"/>
                  <a:gd name="connsiteY72" fmla="*/ 218 h 9819"/>
                  <a:gd name="connsiteX73" fmla="*/ 8233 w 10000"/>
                  <a:gd name="connsiteY73" fmla="*/ 0 h 9819"/>
                  <a:gd name="connsiteX74" fmla="*/ 7992 w 10000"/>
                  <a:gd name="connsiteY74" fmla="*/ 218 h 9819"/>
                  <a:gd name="connsiteX75" fmla="*/ 7831 w 10000"/>
                  <a:gd name="connsiteY75" fmla="*/ 173 h 9819"/>
                  <a:gd name="connsiteX76" fmla="*/ 7711 w 10000"/>
                  <a:gd name="connsiteY76" fmla="*/ 559 h 9819"/>
                  <a:gd name="connsiteX77" fmla="*/ 7390 w 10000"/>
                  <a:gd name="connsiteY77" fmla="*/ 648 h 9819"/>
                  <a:gd name="connsiteX78" fmla="*/ 7309 w 10000"/>
                  <a:gd name="connsiteY78" fmla="*/ 948 h 9819"/>
                  <a:gd name="connsiteX79" fmla="*/ 7028 w 10000"/>
                  <a:gd name="connsiteY79" fmla="*/ 948 h 9819"/>
                  <a:gd name="connsiteX80" fmla="*/ 6787 w 10000"/>
                  <a:gd name="connsiteY80" fmla="*/ 820 h 9819"/>
                  <a:gd name="connsiteX81" fmla="*/ 6265 w 10000"/>
                  <a:gd name="connsiteY81" fmla="*/ 820 h 9819"/>
                  <a:gd name="connsiteX82" fmla="*/ 5743 w 10000"/>
                  <a:gd name="connsiteY82" fmla="*/ 820 h 9819"/>
                  <a:gd name="connsiteX83" fmla="*/ 5783 w 10000"/>
                  <a:gd name="connsiteY83" fmla="*/ 648 h 9819"/>
                  <a:gd name="connsiteX84" fmla="*/ 5703 w 10000"/>
                  <a:gd name="connsiteY84" fmla="*/ 648 h 9819"/>
                  <a:gd name="connsiteX85" fmla="*/ 5663 w 10000"/>
                  <a:gd name="connsiteY85" fmla="*/ 820 h 9819"/>
                  <a:gd name="connsiteX86" fmla="*/ 5181 w 10000"/>
                  <a:gd name="connsiteY86" fmla="*/ 820 h 9819"/>
                  <a:gd name="connsiteX87" fmla="*/ 4699 w 10000"/>
                  <a:gd name="connsiteY87" fmla="*/ 820 h 9819"/>
                  <a:gd name="connsiteX88" fmla="*/ 4217 w 10000"/>
                  <a:gd name="connsiteY88" fmla="*/ 820 h 9819"/>
                  <a:gd name="connsiteX89" fmla="*/ 3735 w 10000"/>
                  <a:gd name="connsiteY89" fmla="*/ 820 h 9819"/>
                  <a:gd name="connsiteX90" fmla="*/ 3293 w 10000"/>
                  <a:gd name="connsiteY90" fmla="*/ 820 h 9819"/>
                  <a:gd name="connsiteX91" fmla="*/ 2811 w 10000"/>
                  <a:gd name="connsiteY91" fmla="*/ 820 h 9819"/>
                  <a:gd name="connsiteX92" fmla="*/ 2369 w 10000"/>
                  <a:gd name="connsiteY92" fmla="*/ 820 h 9819"/>
                  <a:gd name="connsiteX93" fmla="*/ 1888 w 10000"/>
                  <a:gd name="connsiteY93" fmla="*/ 820 h 9819"/>
                  <a:gd name="connsiteX94" fmla="*/ 1888 w 10000"/>
                  <a:gd name="connsiteY94" fmla="*/ 1423 h 9819"/>
                  <a:gd name="connsiteX95" fmla="*/ 1888 w 10000"/>
                  <a:gd name="connsiteY95" fmla="*/ 2200 h 9819"/>
                  <a:gd name="connsiteX96" fmla="*/ 1285 w 10000"/>
                  <a:gd name="connsiteY96" fmla="*/ 2200 h 9819"/>
                  <a:gd name="connsiteX97" fmla="*/ 1285 w 10000"/>
                  <a:gd name="connsiteY97" fmla="*/ 2545 h 9819"/>
                  <a:gd name="connsiteX0" fmla="*/ 1285 w 10000"/>
                  <a:gd name="connsiteY0" fmla="*/ 2592 h 10000"/>
                  <a:gd name="connsiteX1" fmla="*/ 1285 w 10000"/>
                  <a:gd name="connsiteY1" fmla="*/ 3295 h 10000"/>
                  <a:gd name="connsiteX2" fmla="*/ 1285 w 10000"/>
                  <a:gd name="connsiteY2" fmla="*/ 3954 h 10000"/>
                  <a:gd name="connsiteX3" fmla="*/ 1285 w 10000"/>
                  <a:gd name="connsiteY3" fmla="*/ 4614 h 10000"/>
                  <a:gd name="connsiteX4" fmla="*/ 1285 w 10000"/>
                  <a:gd name="connsiteY4" fmla="*/ 5226 h 10000"/>
                  <a:gd name="connsiteX5" fmla="*/ 643 w 10000"/>
                  <a:gd name="connsiteY5" fmla="*/ 5360 h 10000"/>
                  <a:gd name="connsiteX6" fmla="*/ 522 w 10000"/>
                  <a:gd name="connsiteY6" fmla="*/ 5710 h 10000"/>
                  <a:gd name="connsiteX7" fmla="*/ 241 w 10000"/>
                  <a:gd name="connsiteY7" fmla="*/ 6150 h 10000"/>
                  <a:gd name="connsiteX8" fmla="*/ 241 w 10000"/>
                  <a:gd name="connsiteY8" fmla="*/ 6504 h 10000"/>
                  <a:gd name="connsiteX9" fmla="*/ 120 w 10000"/>
                  <a:gd name="connsiteY9" fmla="*/ 6589 h 10000"/>
                  <a:gd name="connsiteX10" fmla="*/ 120 w 10000"/>
                  <a:gd name="connsiteY10" fmla="*/ 6896 h 10000"/>
                  <a:gd name="connsiteX11" fmla="*/ 0 w 10000"/>
                  <a:gd name="connsiteY11" fmla="*/ 7163 h 10000"/>
                  <a:gd name="connsiteX12" fmla="*/ 0 w 10000"/>
                  <a:gd name="connsiteY12" fmla="*/ 7380 h 10000"/>
                  <a:gd name="connsiteX13" fmla="*/ 241 w 10000"/>
                  <a:gd name="connsiteY13" fmla="*/ 7337 h 10000"/>
                  <a:gd name="connsiteX14" fmla="*/ 281 w 10000"/>
                  <a:gd name="connsiteY14" fmla="*/ 7730 h 10000"/>
                  <a:gd name="connsiteX15" fmla="*/ 602 w 10000"/>
                  <a:gd name="connsiteY15" fmla="*/ 8437 h 10000"/>
                  <a:gd name="connsiteX16" fmla="*/ 602 w 10000"/>
                  <a:gd name="connsiteY16" fmla="*/ 8479 h 10000"/>
                  <a:gd name="connsiteX17" fmla="*/ 482 w 10000"/>
                  <a:gd name="connsiteY17" fmla="*/ 8522 h 10000"/>
                  <a:gd name="connsiteX18" fmla="*/ 964 w 10000"/>
                  <a:gd name="connsiteY18" fmla="*/ 9225 h 10000"/>
                  <a:gd name="connsiteX19" fmla="*/ 1004 w 10000"/>
                  <a:gd name="connsiteY19" fmla="*/ 9446 h 10000"/>
                  <a:gd name="connsiteX20" fmla="*/ 1178 w 10000"/>
                  <a:gd name="connsiteY20" fmla="*/ 9809 h 10000"/>
                  <a:gd name="connsiteX21" fmla="*/ 1357 w 10000"/>
                  <a:gd name="connsiteY21" fmla="*/ 9607 h 10000"/>
                  <a:gd name="connsiteX22" fmla="*/ 1652 w 10000"/>
                  <a:gd name="connsiteY22" fmla="*/ 9545 h 10000"/>
                  <a:gd name="connsiteX23" fmla="*/ 1951 w 10000"/>
                  <a:gd name="connsiteY23" fmla="*/ 9489 h 10000"/>
                  <a:gd name="connsiteX24" fmla="*/ 2025 w 10000"/>
                  <a:gd name="connsiteY24" fmla="*/ 9219 h 10000"/>
                  <a:gd name="connsiteX25" fmla="*/ 2338 w 10000"/>
                  <a:gd name="connsiteY25" fmla="*/ 9131 h 10000"/>
                  <a:gd name="connsiteX26" fmla="*/ 2643 w 10000"/>
                  <a:gd name="connsiteY26" fmla="*/ 9561 h 10000"/>
                  <a:gd name="connsiteX27" fmla="*/ 2911 w 10000"/>
                  <a:gd name="connsiteY27" fmla="*/ 9748 h 10000"/>
                  <a:gd name="connsiteX28" fmla="*/ 3167 w 10000"/>
                  <a:gd name="connsiteY28" fmla="*/ 9715 h 10000"/>
                  <a:gd name="connsiteX29" fmla="*/ 3795 w 10000"/>
                  <a:gd name="connsiteY29" fmla="*/ 9872 h 10000"/>
                  <a:gd name="connsiteX30" fmla="*/ 4153 w 10000"/>
                  <a:gd name="connsiteY30" fmla="*/ 9956 h 10000"/>
                  <a:gd name="connsiteX31" fmla="*/ 4682 w 10000"/>
                  <a:gd name="connsiteY31" fmla="*/ 9732 h 10000"/>
                  <a:gd name="connsiteX32" fmla="*/ 4901 w 10000"/>
                  <a:gd name="connsiteY32" fmla="*/ 9253 h 10000"/>
                  <a:gd name="connsiteX33" fmla="*/ 5337 w 10000"/>
                  <a:gd name="connsiteY33" fmla="*/ 9512 h 10000"/>
                  <a:gd name="connsiteX34" fmla="*/ 5564 w 10000"/>
                  <a:gd name="connsiteY34" fmla="*/ 9681 h 10000"/>
                  <a:gd name="connsiteX35" fmla="*/ 5768 w 10000"/>
                  <a:gd name="connsiteY35" fmla="*/ 9572 h 10000"/>
                  <a:gd name="connsiteX36" fmla="*/ 5933 w 10000"/>
                  <a:gd name="connsiteY36" fmla="*/ 9471 h 10000"/>
                  <a:gd name="connsiteX37" fmla="*/ 6089 w 10000"/>
                  <a:gd name="connsiteY37" fmla="*/ 9245 h 10000"/>
                  <a:gd name="connsiteX38" fmla="*/ 6274 w 10000"/>
                  <a:gd name="connsiteY38" fmla="*/ 8940 h 10000"/>
                  <a:gd name="connsiteX39" fmla="*/ 6389 w 10000"/>
                  <a:gd name="connsiteY39" fmla="*/ 8797 h 10000"/>
                  <a:gd name="connsiteX40" fmla="*/ 6524 w 10000"/>
                  <a:gd name="connsiteY40" fmla="*/ 8740 h 10000"/>
                  <a:gd name="connsiteX41" fmla="*/ 6531 w 10000"/>
                  <a:gd name="connsiteY41" fmla="*/ 8560 h 10000"/>
                  <a:gd name="connsiteX42" fmla="*/ 6572 w 10000"/>
                  <a:gd name="connsiteY42" fmla="*/ 8352 h 10000"/>
                  <a:gd name="connsiteX43" fmla="*/ 6602 w 10000"/>
                  <a:gd name="connsiteY43" fmla="*/ 8162 h 10000"/>
                  <a:gd name="connsiteX44" fmla="*/ 6855 w 10000"/>
                  <a:gd name="connsiteY44" fmla="*/ 7916 h 10000"/>
                  <a:gd name="connsiteX45" fmla="*/ 6893 w 10000"/>
                  <a:gd name="connsiteY45" fmla="*/ 8869 h 10000"/>
                  <a:gd name="connsiteX46" fmla="*/ 7308 w 10000"/>
                  <a:gd name="connsiteY46" fmla="*/ 9201 h 10000"/>
                  <a:gd name="connsiteX47" fmla="*/ 7430 w 10000"/>
                  <a:gd name="connsiteY47" fmla="*/ 8917 h 10000"/>
                  <a:gd name="connsiteX48" fmla="*/ 7470 w 10000"/>
                  <a:gd name="connsiteY48" fmla="*/ 8960 h 10000"/>
                  <a:gd name="connsiteX49" fmla="*/ 7590 w 10000"/>
                  <a:gd name="connsiteY49" fmla="*/ 8698 h 10000"/>
                  <a:gd name="connsiteX50" fmla="*/ 7831 w 10000"/>
                  <a:gd name="connsiteY50" fmla="*/ 8567 h 10000"/>
                  <a:gd name="connsiteX51" fmla="*/ 7952 w 10000"/>
                  <a:gd name="connsiteY51" fmla="*/ 8083 h 10000"/>
                  <a:gd name="connsiteX52" fmla="*/ 8313 w 10000"/>
                  <a:gd name="connsiteY52" fmla="*/ 7513 h 10000"/>
                  <a:gd name="connsiteX53" fmla="*/ 8594 w 10000"/>
                  <a:gd name="connsiteY53" fmla="*/ 7248 h 10000"/>
                  <a:gd name="connsiteX54" fmla="*/ 8795 w 10000"/>
                  <a:gd name="connsiteY54" fmla="*/ 6504 h 10000"/>
                  <a:gd name="connsiteX55" fmla="*/ 8795 w 10000"/>
                  <a:gd name="connsiteY55" fmla="*/ 6328 h 10000"/>
                  <a:gd name="connsiteX56" fmla="*/ 8755 w 10000"/>
                  <a:gd name="connsiteY56" fmla="*/ 5888 h 10000"/>
                  <a:gd name="connsiteX57" fmla="*/ 9157 w 10000"/>
                  <a:gd name="connsiteY57" fmla="*/ 4305 h 10000"/>
                  <a:gd name="connsiteX58" fmla="*/ 9277 w 10000"/>
                  <a:gd name="connsiteY58" fmla="*/ 4305 h 10000"/>
                  <a:gd name="connsiteX59" fmla="*/ 9438 w 10000"/>
                  <a:gd name="connsiteY59" fmla="*/ 4174 h 10000"/>
                  <a:gd name="connsiteX60" fmla="*/ 9920 w 10000"/>
                  <a:gd name="connsiteY60" fmla="*/ 3954 h 10000"/>
                  <a:gd name="connsiteX61" fmla="*/ 10000 w 10000"/>
                  <a:gd name="connsiteY61" fmla="*/ 3602 h 10000"/>
                  <a:gd name="connsiteX62" fmla="*/ 9960 w 10000"/>
                  <a:gd name="connsiteY62" fmla="*/ 3514 h 10000"/>
                  <a:gd name="connsiteX63" fmla="*/ 9799 w 10000"/>
                  <a:gd name="connsiteY63" fmla="*/ 3514 h 10000"/>
                  <a:gd name="connsiteX64" fmla="*/ 9679 w 10000"/>
                  <a:gd name="connsiteY64" fmla="*/ 3295 h 10000"/>
                  <a:gd name="connsiteX65" fmla="*/ 9438 w 10000"/>
                  <a:gd name="connsiteY65" fmla="*/ 3209 h 10000"/>
                  <a:gd name="connsiteX66" fmla="*/ 9317 w 10000"/>
                  <a:gd name="connsiteY66" fmla="*/ 3033 h 10000"/>
                  <a:gd name="connsiteX67" fmla="*/ 9237 w 10000"/>
                  <a:gd name="connsiteY67" fmla="*/ 2374 h 10000"/>
                  <a:gd name="connsiteX68" fmla="*/ 9237 w 10000"/>
                  <a:gd name="connsiteY68" fmla="*/ 1449 h 10000"/>
                  <a:gd name="connsiteX69" fmla="*/ 9036 w 10000"/>
                  <a:gd name="connsiteY69" fmla="*/ 1144 h 10000"/>
                  <a:gd name="connsiteX70" fmla="*/ 8996 w 10000"/>
                  <a:gd name="connsiteY70" fmla="*/ 835 h 10000"/>
                  <a:gd name="connsiteX71" fmla="*/ 8675 w 10000"/>
                  <a:gd name="connsiteY71" fmla="*/ 396 h 10000"/>
                  <a:gd name="connsiteX72" fmla="*/ 8394 w 10000"/>
                  <a:gd name="connsiteY72" fmla="*/ 222 h 10000"/>
                  <a:gd name="connsiteX73" fmla="*/ 8233 w 10000"/>
                  <a:gd name="connsiteY73" fmla="*/ 0 h 10000"/>
                  <a:gd name="connsiteX74" fmla="*/ 7992 w 10000"/>
                  <a:gd name="connsiteY74" fmla="*/ 222 h 10000"/>
                  <a:gd name="connsiteX75" fmla="*/ 7831 w 10000"/>
                  <a:gd name="connsiteY75" fmla="*/ 176 h 10000"/>
                  <a:gd name="connsiteX76" fmla="*/ 7711 w 10000"/>
                  <a:gd name="connsiteY76" fmla="*/ 569 h 10000"/>
                  <a:gd name="connsiteX77" fmla="*/ 7390 w 10000"/>
                  <a:gd name="connsiteY77" fmla="*/ 660 h 10000"/>
                  <a:gd name="connsiteX78" fmla="*/ 7309 w 10000"/>
                  <a:gd name="connsiteY78" fmla="*/ 965 h 10000"/>
                  <a:gd name="connsiteX79" fmla="*/ 7028 w 10000"/>
                  <a:gd name="connsiteY79" fmla="*/ 965 h 10000"/>
                  <a:gd name="connsiteX80" fmla="*/ 6787 w 10000"/>
                  <a:gd name="connsiteY80" fmla="*/ 835 h 10000"/>
                  <a:gd name="connsiteX81" fmla="*/ 6265 w 10000"/>
                  <a:gd name="connsiteY81" fmla="*/ 835 h 10000"/>
                  <a:gd name="connsiteX82" fmla="*/ 5743 w 10000"/>
                  <a:gd name="connsiteY82" fmla="*/ 835 h 10000"/>
                  <a:gd name="connsiteX83" fmla="*/ 5783 w 10000"/>
                  <a:gd name="connsiteY83" fmla="*/ 660 h 10000"/>
                  <a:gd name="connsiteX84" fmla="*/ 5703 w 10000"/>
                  <a:gd name="connsiteY84" fmla="*/ 660 h 10000"/>
                  <a:gd name="connsiteX85" fmla="*/ 5663 w 10000"/>
                  <a:gd name="connsiteY85" fmla="*/ 835 h 10000"/>
                  <a:gd name="connsiteX86" fmla="*/ 5181 w 10000"/>
                  <a:gd name="connsiteY86" fmla="*/ 835 h 10000"/>
                  <a:gd name="connsiteX87" fmla="*/ 4699 w 10000"/>
                  <a:gd name="connsiteY87" fmla="*/ 835 h 10000"/>
                  <a:gd name="connsiteX88" fmla="*/ 4217 w 10000"/>
                  <a:gd name="connsiteY88" fmla="*/ 835 h 10000"/>
                  <a:gd name="connsiteX89" fmla="*/ 3735 w 10000"/>
                  <a:gd name="connsiteY89" fmla="*/ 835 h 10000"/>
                  <a:gd name="connsiteX90" fmla="*/ 3293 w 10000"/>
                  <a:gd name="connsiteY90" fmla="*/ 835 h 10000"/>
                  <a:gd name="connsiteX91" fmla="*/ 2811 w 10000"/>
                  <a:gd name="connsiteY91" fmla="*/ 835 h 10000"/>
                  <a:gd name="connsiteX92" fmla="*/ 2369 w 10000"/>
                  <a:gd name="connsiteY92" fmla="*/ 835 h 10000"/>
                  <a:gd name="connsiteX93" fmla="*/ 1888 w 10000"/>
                  <a:gd name="connsiteY93" fmla="*/ 835 h 10000"/>
                  <a:gd name="connsiteX94" fmla="*/ 1888 w 10000"/>
                  <a:gd name="connsiteY94" fmla="*/ 1449 h 10000"/>
                  <a:gd name="connsiteX95" fmla="*/ 1888 w 10000"/>
                  <a:gd name="connsiteY95" fmla="*/ 2241 h 10000"/>
                  <a:gd name="connsiteX96" fmla="*/ 1285 w 10000"/>
                  <a:gd name="connsiteY96" fmla="*/ 2241 h 10000"/>
                  <a:gd name="connsiteX97" fmla="*/ 1285 w 10000"/>
                  <a:gd name="connsiteY97" fmla="*/ 2592 h 10000"/>
                  <a:gd name="connsiteX0" fmla="*/ 1285 w 10000"/>
                  <a:gd name="connsiteY0" fmla="*/ 2592 h 10000"/>
                  <a:gd name="connsiteX1" fmla="*/ 1285 w 10000"/>
                  <a:gd name="connsiteY1" fmla="*/ 3295 h 10000"/>
                  <a:gd name="connsiteX2" fmla="*/ 1285 w 10000"/>
                  <a:gd name="connsiteY2" fmla="*/ 3954 h 10000"/>
                  <a:gd name="connsiteX3" fmla="*/ 1285 w 10000"/>
                  <a:gd name="connsiteY3" fmla="*/ 4614 h 10000"/>
                  <a:gd name="connsiteX4" fmla="*/ 1285 w 10000"/>
                  <a:gd name="connsiteY4" fmla="*/ 5226 h 10000"/>
                  <a:gd name="connsiteX5" fmla="*/ 643 w 10000"/>
                  <a:gd name="connsiteY5" fmla="*/ 5360 h 10000"/>
                  <a:gd name="connsiteX6" fmla="*/ 522 w 10000"/>
                  <a:gd name="connsiteY6" fmla="*/ 5710 h 10000"/>
                  <a:gd name="connsiteX7" fmla="*/ 241 w 10000"/>
                  <a:gd name="connsiteY7" fmla="*/ 6150 h 10000"/>
                  <a:gd name="connsiteX8" fmla="*/ 241 w 10000"/>
                  <a:gd name="connsiteY8" fmla="*/ 6504 h 10000"/>
                  <a:gd name="connsiteX9" fmla="*/ 120 w 10000"/>
                  <a:gd name="connsiteY9" fmla="*/ 6589 h 10000"/>
                  <a:gd name="connsiteX10" fmla="*/ 120 w 10000"/>
                  <a:gd name="connsiteY10" fmla="*/ 6896 h 10000"/>
                  <a:gd name="connsiteX11" fmla="*/ 0 w 10000"/>
                  <a:gd name="connsiteY11" fmla="*/ 7163 h 10000"/>
                  <a:gd name="connsiteX12" fmla="*/ 0 w 10000"/>
                  <a:gd name="connsiteY12" fmla="*/ 7380 h 10000"/>
                  <a:gd name="connsiteX13" fmla="*/ 241 w 10000"/>
                  <a:gd name="connsiteY13" fmla="*/ 7337 h 10000"/>
                  <a:gd name="connsiteX14" fmla="*/ 281 w 10000"/>
                  <a:gd name="connsiteY14" fmla="*/ 7730 h 10000"/>
                  <a:gd name="connsiteX15" fmla="*/ 602 w 10000"/>
                  <a:gd name="connsiteY15" fmla="*/ 8437 h 10000"/>
                  <a:gd name="connsiteX16" fmla="*/ 602 w 10000"/>
                  <a:gd name="connsiteY16" fmla="*/ 8479 h 10000"/>
                  <a:gd name="connsiteX17" fmla="*/ 482 w 10000"/>
                  <a:gd name="connsiteY17" fmla="*/ 8522 h 10000"/>
                  <a:gd name="connsiteX18" fmla="*/ 964 w 10000"/>
                  <a:gd name="connsiteY18" fmla="*/ 9225 h 10000"/>
                  <a:gd name="connsiteX19" fmla="*/ 1004 w 10000"/>
                  <a:gd name="connsiteY19" fmla="*/ 9446 h 10000"/>
                  <a:gd name="connsiteX20" fmla="*/ 1178 w 10000"/>
                  <a:gd name="connsiteY20" fmla="*/ 9809 h 10000"/>
                  <a:gd name="connsiteX21" fmla="*/ 1357 w 10000"/>
                  <a:gd name="connsiteY21" fmla="*/ 9607 h 10000"/>
                  <a:gd name="connsiteX22" fmla="*/ 1652 w 10000"/>
                  <a:gd name="connsiteY22" fmla="*/ 9545 h 10000"/>
                  <a:gd name="connsiteX23" fmla="*/ 1951 w 10000"/>
                  <a:gd name="connsiteY23" fmla="*/ 9489 h 10000"/>
                  <a:gd name="connsiteX24" fmla="*/ 2025 w 10000"/>
                  <a:gd name="connsiteY24" fmla="*/ 9219 h 10000"/>
                  <a:gd name="connsiteX25" fmla="*/ 2338 w 10000"/>
                  <a:gd name="connsiteY25" fmla="*/ 9131 h 10000"/>
                  <a:gd name="connsiteX26" fmla="*/ 2643 w 10000"/>
                  <a:gd name="connsiteY26" fmla="*/ 9561 h 10000"/>
                  <a:gd name="connsiteX27" fmla="*/ 2911 w 10000"/>
                  <a:gd name="connsiteY27" fmla="*/ 9748 h 10000"/>
                  <a:gd name="connsiteX28" fmla="*/ 3167 w 10000"/>
                  <a:gd name="connsiteY28" fmla="*/ 9715 h 10000"/>
                  <a:gd name="connsiteX29" fmla="*/ 3795 w 10000"/>
                  <a:gd name="connsiteY29" fmla="*/ 9872 h 10000"/>
                  <a:gd name="connsiteX30" fmla="*/ 4153 w 10000"/>
                  <a:gd name="connsiteY30" fmla="*/ 9956 h 10000"/>
                  <a:gd name="connsiteX31" fmla="*/ 4682 w 10000"/>
                  <a:gd name="connsiteY31" fmla="*/ 9732 h 10000"/>
                  <a:gd name="connsiteX32" fmla="*/ 4983 w 10000"/>
                  <a:gd name="connsiteY32" fmla="*/ 9289 h 10000"/>
                  <a:gd name="connsiteX33" fmla="*/ 5337 w 10000"/>
                  <a:gd name="connsiteY33" fmla="*/ 9512 h 10000"/>
                  <a:gd name="connsiteX34" fmla="*/ 5564 w 10000"/>
                  <a:gd name="connsiteY34" fmla="*/ 9681 h 10000"/>
                  <a:gd name="connsiteX35" fmla="*/ 5768 w 10000"/>
                  <a:gd name="connsiteY35" fmla="*/ 9572 h 10000"/>
                  <a:gd name="connsiteX36" fmla="*/ 5933 w 10000"/>
                  <a:gd name="connsiteY36" fmla="*/ 9471 h 10000"/>
                  <a:gd name="connsiteX37" fmla="*/ 6089 w 10000"/>
                  <a:gd name="connsiteY37" fmla="*/ 9245 h 10000"/>
                  <a:gd name="connsiteX38" fmla="*/ 6274 w 10000"/>
                  <a:gd name="connsiteY38" fmla="*/ 8940 h 10000"/>
                  <a:gd name="connsiteX39" fmla="*/ 6389 w 10000"/>
                  <a:gd name="connsiteY39" fmla="*/ 8797 h 10000"/>
                  <a:gd name="connsiteX40" fmla="*/ 6524 w 10000"/>
                  <a:gd name="connsiteY40" fmla="*/ 8740 h 10000"/>
                  <a:gd name="connsiteX41" fmla="*/ 6531 w 10000"/>
                  <a:gd name="connsiteY41" fmla="*/ 8560 h 10000"/>
                  <a:gd name="connsiteX42" fmla="*/ 6572 w 10000"/>
                  <a:gd name="connsiteY42" fmla="*/ 8352 h 10000"/>
                  <a:gd name="connsiteX43" fmla="*/ 6602 w 10000"/>
                  <a:gd name="connsiteY43" fmla="*/ 8162 h 10000"/>
                  <a:gd name="connsiteX44" fmla="*/ 6855 w 10000"/>
                  <a:gd name="connsiteY44" fmla="*/ 7916 h 10000"/>
                  <a:gd name="connsiteX45" fmla="*/ 6893 w 10000"/>
                  <a:gd name="connsiteY45" fmla="*/ 8869 h 10000"/>
                  <a:gd name="connsiteX46" fmla="*/ 7308 w 10000"/>
                  <a:gd name="connsiteY46" fmla="*/ 9201 h 10000"/>
                  <a:gd name="connsiteX47" fmla="*/ 7430 w 10000"/>
                  <a:gd name="connsiteY47" fmla="*/ 8917 h 10000"/>
                  <a:gd name="connsiteX48" fmla="*/ 7470 w 10000"/>
                  <a:gd name="connsiteY48" fmla="*/ 8960 h 10000"/>
                  <a:gd name="connsiteX49" fmla="*/ 7590 w 10000"/>
                  <a:gd name="connsiteY49" fmla="*/ 8698 h 10000"/>
                  <a:gd name="connsiteX50" fmla="*/ 7831 w 10000"/>
                  <a:gd name="connsiteY50" fmla="*/ 8567 h 10000"/>
                  <a:gd name="connsiteX51" fmla="*/ 7952 w 10000"/>
                  <a:gd name="connsiteY51" fmla="*/ 8083 h 10000"/>
                  <a:gd name="connsiteX52" fmla="*/ 8313 w 10000"/>
                  <a:gd name="connsiteY52" fmla="*/ 7513 h 10000"/>
                  <a:gd name="connsiteX53" fmla="*/ 8594 w 10000"/>
                  <a:gd name="connsiteY53" fmla="*/ 7248 h 10000"/>
                  <a:gd name="connsiteX54" fmla="*/ 8795 w 10000"/>
                  <a:gd name="connsiteY54" fmla="*/ 6504 h 10000"/>
                  <a:gd name="connsiteX55" fmla="*/ 8795 w 10000"/>
                  <a:gd name="connsiteY55" fmla="*/ 6328 h 10000"/>
                  <a:gd name="connsiteX56" fmla="*/ 8755 w 10000"/>
                  <a:gd name="connsiteY56" fmla="*/ 5888 h 10000"/>
                  <a:gd name="connsiteX57" fmla="*/ 9157 w 10000"/>
                  <a:gd name="connsiteY57" fmla="*/ 4305 h 10000"/>
                  <a:gd name="connsiteX58" fmla="*/ 9277 w 10000"/>
                  <a:gd name="connsiteY58" fmla="*/ 4305 h 10000"/>
                  <a:gd name="connsiteX59" fmla="*/ 9438 w 10000"/>
                  <a:gd name="connsiteY59" fmla="*/ 4174 h 10000"/>
                  <a:gd name="connsiteX60" fmla="*/ 9920 w 10000"/>
                  <a:gd name="connsiteY60" fmla="*/ 3954 h 10000"/>
                  <a:gd name="connsiteX61" fmla="*/ 10000 w 10000"/>
                  <a:gd name="connsiteY61" fmla="*/ 3602 h 10000"/>
                  <a:gd name="connsiteX62" fmla="*/ 9960 w 10000"/>
                  <a:gd name="connsiteY62" fmla="*/ 3514 h 10000"/>
                  <a:gd name="connsiteX63" fmla="*/ 9799 w 10000"/>
                  <a:gd name="connsiteY63" fmla="*/ 3514 h 10000"/>
                  <a:gd name="connsiteX64" fmla="*/ 9679 w 10000"/>
                  <a:gd name="connsiteY64" fmla="*/ 3295 h 10000"/>
                  <a:gd name="connsiteX65" fmla="*/ 9438 w 10000"/>
                  <a:gd name="connsiteY65" fmla="*/ 3209 h 10000"/>
                  <a:gd name="connsiteX66" fmla="*/ 9317 w 10000"/>
                  <a:gd name="connsiteY66" fmla="*/ 3033 h 10000"/>
                  <a:gd name="connsiteX67" fmla="*/ 9237 w 10000"/>
                  <a:gd name="connsiteY67" fmla="*/ 2374 h 10000"/>
                  <a:gd name="connsiteX68" fmla="*/ 9237 w 10000"/>
                  <a:gd name="connsiteY68" fmla="*/ 1449 h 10000"/>
                  <a:gd name="connsiteX69" fmla="*/ 9036 w 10000"/>
                  <a:gd name="connsiteY69" fmla="*/ 1144 h 10000"/>
                  <a:gd name="connsiteX70" fmla="*/ 8996 w 10000"/>
                  <a:gd name="connsiteY70" fmla="*/ 835 h 10000"/>
                  <a:gd name="connsiteX71" fmla="*/ 8675 w 10000"/>
                  <a:gd name="connsiteY71" fmla="*/ 396 h 10000"/>
                  <a:gd name="connsiteX72" fmla="*/ 8394 w 10000"/>
                  <a:gd name="connsiteY72" fmla="*/ 222 h 10000"/>
                  <a:gd name="connsiteX73" fmla="*/ 8233 w 10000"/>
                  <a:gd name="connsiteY73" fmla="*/ 0 h 10000"/>
                  <a:gd name="connsiteX74" fmla="*/ 7992 w 10000"/>
                  <a:gd name="connsiteY74" fmla="*/ 222 h 10000"/>
                  <a:gd name="connsiteX75" fmla="*/ 7831 w 10000"/>
                  <a:gd name="connsiteY75" fmla="*/ 176 h 10000"/>
                  <a:gd name="connsiteX76" fmla="*/ 7711 w 10000"/>
                  <a:gd name="connsiteY76" fmla="*/ 569 h 10000"/>
                  <a:gd name="connsiteX77" fmla="*/ 7390 w 10000"/>
                  <a:gd name="connsiteY77" fmla="*/ 660 h 10000"/>
                  <a:gd name="connsiteX78" fmla="*/ 7309 w 10000"/>
                  <a:gd name="connsiteY78" fmla="*/ 965 h 10000"/>
                  <a:gd name="connsiteX79" fmla="*/ 7028 w 10000"/>
                  <a:gd name="connsiteY79" fmla="*/ 965 h 10000"/>
                  <a:gd name="connsiteX80" fmla="*/ 6787 w 10000"/>
                  <a:gd name="connsiteY80" fmla="*/ 835 h 10000"/>
                  <a:gd name="connsiteX81" fmla="*/ 6265 w 10000"/>
                  <a:gd name="connsiteY81" fmla="*/ 835 h 10000"/>
                  <a:gd name="connsiteX82" fmla="*/ 5743 w 10000"/>
                  <a:gd name="connsiteY82" fmla="*/ 835 h 10000"/>
                  <a:gd name="connsiteX83" fmla="*/ 5783 w 10000"/>
                  <a:gd name="connsiteY83" fmla="*/ 660 h 10000"/>
                  <a:gd name="connsiteX84" fmla="*/ 5703 w 10000"/>
                  <a:gd name="connsiteY84" fmla="*/ 660 h 10000"/>
                  <a:gd name="connsiteX85" fmla="*/ 5663 w 10000"/>
                  <a:gd name="connsiteY85" fmla="*/ 835 h 10000"/>
                  <a:gd name="connsiteX86" fmla="*/ 5181 w 10000"/>
                  <a:gd name="connsiteY86" fmla="*/ 835 h 10000"/>
                  <a:gd name="connsiteX87" fmla="*/ 4699 w 10000"/>
                  <a:gd name="connsiteY87" fmla="*/ 835 h 10000"/>
                  <a:gd name="connsiteX88" fmla="*/ 4217 w 10000"/>
                  <a:gd name="connsiteY88" fmla="*/ 835 h 10000"/>
                  <a:gd name="connsiteX89" fmla="*/ 3735 w 10000"/>
                  <a:gd name="connsiteY89" fmla="*/ 835 h 10000"/>
                  <a:gd name="connsiteX90" fmla="*/ 3293 w 10000"/>
                  <a:gd name="connsiteY90" fmla="*/ 835 h 10000"/>
                  <a:gd name="connsiteX91" fmla="*/ 2811 w 10000"/>
                  <a:gd name="connsiteY91" fmla="*/ 835 h 10000"/>
                  <a:gd name="connsiteX92" fmla="*/ 2369 w 10000"/>
                  <a:gd name="connsiteY92" fmla="*/ 835 h 10000"/>
                  <a:gd name="connsiteX93" fmla="*/ 1888 w 10000"/>
                  <a:gd name="connsiteY93" fmla="*/ 835 h 10000"/>
                  <a:gd name="connsiteX94" fmla="*/ 1888 w 10000"/>
                  <a:gd name="connsiteY94" fmla="*/ 1449 h 10000"/>
                  <a:gd name="connsiteX95" fmla="*/ 1888 w 10000"/>
                  <a:gd name="connsiteY95" fmla="*/ 2241 h 10000"/>
                  <a:gd name="connsiteX96" fmla="*/ 1285 w 10000"/>
                  <a:gd name="connsiteY96" fmla="*/ 2241 h 10000"/>
                  <a:gd name="connsiteX97" fmla="*/ 1285 w 10000"/>
                  <a:gd name="connsiteY97" fmla="*/ 2592 h 10000"/>
                  <a:gd name="connsiteX0" fmla="*/ 1285 w 10000"/>
                  <a:gd name="connsiteY0" fmla="*/ 2592 h 10000"/>
                  <a:gd name="connsiteX1" fmla="*/ 1285 w 10000"/>
                  <a:gd name="connsiteY1" fmla="*/ 3295 h 10000"/>
                  <a:gd name="connsiteX2" fmla="*/ 1285 w 10000"/>
                  <a:gd name="connsiteY2" fmla="*/ 3954 h 10000"/>
                  <a:gd name="connsiteX3" fmla="*/ 1285 w 10000"/>
                  <a:gd name="connsiteY3" fmla="*/ 4614 h 10000"/>
                  <a:gd name="connsiteX4" fmla="*/ 1285 w 10000"/>
                  <a:gd name="connsiteY4" fmla="*/ 5226 h 10000"/>
                  <a:gd name="connsiteX5" fmla="*/ 643 w 10000"/>
                  <a:gd name="connsiteY5" fmla="*/ 5360 h 10000"/>
                  <a:gd name="connsiteX6" fmla="*/ 522 w 10000"/>
                  <a:gd name="connsiteY6" fmla="*/ 5710 h 10000"/>
                  <a:gd name="connsiteX7" fmla="*/ 241 w 10000"/>
                  <a:gd name="connsiteY7" fmla="*/ 6150 h 10000"/>
                  <a:gd name="connsiteX8" fmla="*/ 241 w 10000"/>
                  <a:gd name="connsiteY8" fmla="*/ 6504 h 10000"/>
                  <a:gd name="connsiteX9" fmla="*/ 120 w 10000"/>
                  <a:gd name="connsiteY9" fmla="*/ 6589 h 10000"/>
                  <a:gd name="connsiteX10" fmla="*/ 120 w 10000"/>
                  <a:gd name="connsiteY10" fmla="*/ 6896 h 10000"/>
                  <a:gd name="connsiteX11" fmla="*/ 0 w 10000"/>
                  <a:gd name="connsiteY11" fmla="*/ 7163 h 10000"/>
                  <a:gd name="connsiteX12" fmla="*/ 0 w 10000"/>
                  <a:gd name="connsiteY12" fmla="*/ 7380 h 10000"/>
                  <a:gd name="connsiteX13" fmla="*/ 241 w 10000"/>
                  <a:gd name="connsiteY13" fmla="*/ 7337 h 10000"/>
                  <a:gd name="connsiteX14" fmla="*/ 281 w 10000"/>
                  <a:gd name="connsiteY14" fmla="*/ 7730 h 10000"/>
                  <a:gd name="connsiteX15" fmla="*/ 602 w 10000"/>
                  <a:gd name="connsiteY15" fmla="*/ 8437 h 10000"/>
                  <a:gd name="connsiteX16" fmla="*/ 602 w 10000"/>
                  <a:gd name="connsiteY16" fmla="*/ 8479 h 10000"/>
                  <a:gd name="connsiteX17" fmla="*/ 482 w 10000"/>
                  <a:gd name="connsiteY17" fmla="*/ 8522 h 10000"/>
                  <a:gd name="connsiteX18" fmla="*/ 964 w 10000"/>
                  <a:gd name="connsiteY18" fmla="*/ 9225 h 10000"/>
                  <a:gd name="connsiteX19" fmla="*/ 1004 w 10000"/>
                  <a:gd name="connsiteY19" fmla="*/ 9446 h 10000"/>
                  <a:gd name="connsiteX20" fmla="*/ 1178 w 10000"/>
                  <a:gd name="connsiteY20" fmla="*/ 9809 h 10000"/>
                  <a:gd name="connsiteX21" fmla="*/ 1357 w 10000"/>
                  <a:gd name="connsiteY21" fmla="*/ 9607 h 10000"/>
                  <a:gd name="connsiteX22" fmla="*/ 1652 w 10000"/>
                  <a:gd name="connsiteY22" fmla="*/ 9545 h 10000"/>
                  <a:gd name="connsiteX23" fmla="*/ 1951 w 10000"/>
                  <a:gd name="connsiteY23" fmla="*/ 9489 h 10000"/>
                  <a:gd name="connsiteX24" fmla="*/ 2025 w 10000"/>
                  <a:gd name="connsiteY24" fmla="*/ 9219 h 10000"/>
                  <a:gd name="connsiteX25" fmla="*/ 2338 w 10000"/>
                  <a:gd name="connsiteY25" fmla="*/ 9131 h 10000"/>
                  <a:gd name="connsiteX26" fmla="*/ 2643 w 10000"/>
                  <a:gd name="connsiteY26" fmla="*/ 9561 h 10000"/>
                  <a:gd name="connsiteX27" fmla="*/ 2977 w 10000"/>
                  <a:gd name="connsiteY27" fmla="*/ 9748 h 10000"/>
                  <a:gd name="connsiteX28" fmla="*/ 3167 w 10000"/>
                  <a:gd name="connsiteY28" fmla="*/ 9715 h 10000"/>
                  <a:gd name="connsiteX29" fmla="*/ 3795 w 10000"/>
                  <a:gd name="connsiteY29" fmla="*/ 9872 h 10000"/>
                  <a:gd name="connsiteX30" fmla="*/ 4153 w 10000"/>
                  <a:gd name="connsiteY30" fmla="*/ 9956 h 10000"/>
                  <a:gd name="connsiteX31" fmla="*/ 4682 w 10000"/>
                  <a:gd name="connsiteY31" fmla="*/ 9732 h 10000"/>
                  <a:gd name="connsiteX32" fmla="*/ 4983 w 10000"/>
                  <a:gd name="connsiteY32" fmla="*/ 9289 h 10000"/>
                  <a:gd name="connsiteX33" fmla="*/ 5337 w 10000"/>
                  <a:gd name="connsiteY33" fmla="*/ 9512 h 10000"/>
                  <a:gd name="connsiteX34" fmla="*/ 5564 w 10000"/>
                  <a:gd name="connsiteY34" fmla="*/ 9681 h 10000"/>
                  <a:gd name="connsiteX35" fmla="*/ 5768 w 10000"/>
                  <a:gd name="connsiteY35" fmla="*/ 9572 h 10000"/>
                  <a:gd name="connsiteX36" fmla="*/ 5933 w 10000"/>
                  <a:gd name="connsiteY36" fmla="*/ 9471 h 10000"/>
                  <a:gd name="connsiteX37" fmla="*/ 6089 w 10000"/>
                  <a:gd name="connsiteY37" fmla="*/ 9245 h 10000"/>
                  <a:gd name="connsiteX38" fmla="*/ 6274 w 10000"/>
                  <a:gd name="connsiteY38" fmla="*/ 8940 h 10000"/>
                  <a:gd name="connsiteX39" fmla="*/ 6389 w 10000"/>
                  <a:gd name="connsiteY39" fmla="*/ 8797 h 10000"/>
                  <a:gd name="connsiteX40" fmla="*/ 6524 w 10000"/>
                  <a:gd name="connsiteY40" fmla="*/ 8740 h 10000"/>
                  <a:gd name="connsiteX41" fmla="*/ 6531 w 10000"/>
                  <a:gd name="connsiteY41" fmla="*/ 8560 h 10000"/>
                  <a:gd name="connsiteX42" fmla="*/ 6572 w 10000"/>
                  <a:gd name="connsiteY42" fmla="*/ 8352 h 10000"/>
                  <a:gd name="connsiteX43" fmla="*/ 6602 w 10000"/>
                  <a:gd name="connsiteY43" fmla="*/ 8162 h 10000"/>
                  <a:gd name="connsiteX44" fmla="*/ 6855 w 10000"/>
                  <a:gd name="connsiteY44" fmla="*/ 7916 h 10000"/>
                  <a:gd name="connsiteX45" fmla="*/ 6893 w 10000"/>
                  <a:gd name="connsiteY45" fmla="*/ 8869 h 10000"/>
                  <a:gd name="connsiteX46" fmla="*/ 7308 w 10000"/>
                  <a:gd name="connsiteY46" fmla="*/ 9201 h 10000"/>
                  <a:gd name="connsiteX47" fmla="*/ 7430 w 10000"/>
                  <a:gd name="connsiteY47" fmla="*/ 8917 h 10000"/>
                  <a:gd name="connsiteX48" fmla="*/ 7470 w 10000"/>
                  <a:gd name="connsiteY48" fmla="*/ 8960 h 10000"/>
                  <a:gd name="connsiteX49" fmla="*/ 7590 w 10000"/>
                  <a:gd name="connsiteY49" fmla="*/ 8698 h 10000"/>
                  <a:gd name="connsiteX50" fmla="*/ 7831 w 10000"/>
                  <a:gd name="connsiteY50" fmla="*/ 8567 h 10000"/>
                  <a:gd name="connsiteX51" fmla="*/ 7952 w 10000"/>
                  <a:gd name="connsiteY51" fmla="*/ 8083 h 10000"/>
                  <a:gd name="connsiteX52" fmla="*/ 8313 w 10000"/>
                  <a:gd name="connsiteY52" fmla="*/ 7513 h 10000"/>
                  <a:gd name="connsiteX53" fmla="*/ 8594 w 10000"/>
                  <a:gd name="connsiteY53" fmla="*/ 7248 h 10000"/>
                  <a:gd name="connsiteX54" fmla="*/ 8795 w 10000"/>
                  <a:gd name="connsiteY54" fmla="*/ 6504 h 10000"/>
                  <a:gd name="connsiteX55" fmla="*/ 8795 w 10000"/>
                  <a:gd name="connsiteY55" fmla="*/ 6328 h 10000"/>
                  <a:gd name="connsiteX56" fmla="*/ 8755 w 10000"/>
                  <a:gd name="connsiteY56" fmla="*/ 5888 h 10000"/>
                  <a:gd name="connsiteX57" fmla="*/ 9157 w 10000"/>
                  <a:gd name="connsiteY57" fmla="*/ 4305 h 10000"/>
                  <a:gd name="connsiteX58" fmla="*/ 9277 w 10000"/>
                  <a:gd name="connsiteY58" fmla="*/ 4305 h 10000"/>
                  <a:gd name="connsiteX59" fmla="*/ 9438 w 10000"/>
                  <a:gd name="connsiteY59" fmla="*/ 4174 h 10000"/>
                  <a:gd name="connsiteX60" fmla="*/ 9920 w 10000"/>
                  <a:gd name="connsiteY60" fmla="*/ 3954 h 10000"/>
                  <a:gd name="connsiteX61" fmla="*/ 10000 w 10000"/>
                  <a:gd name="connsiteY61" fmla="*/ 3602 h 10000"/>
                  <a:gd name="connsiteX62" fmla="*/ 9960 w 10000"/>
                  <a:gd name="connsiteY62" fmla="*/ 3514 h 10000"/>
                  <a:gd name="connsiteX63" fmla="*/ 9799 w 10000"/>
                  <a:gd name="connsiteY63" fmla="*/ 3514 h 10000"/>
                  <a:gd name="connsiteX64" fmla="*/ 9679 w 10000"/>
                  <a:gd name="connsiteY64" fmla="*/ 3295 h 10000"/>
                  <a:gd name="connsiteX65" fmla="*/ 9438 w 10000"/>
                  <a:gd name="connsiteY65" fmla="*/ 3209 h 10000"/>
                  <a:gd name="connsiteX66" fmla="*/ 9317 w 10000"/>
                  <a:gd name="connsiteY66" fmla="*/ 3033 h 10000"/>
                  <a:gd name="connsiteX67" fmla="*/ 9237 w 10000"/>
                  <a:gd name="connsiteY67" fmla="*/ 2374 h 10000"/>
                  <a:gd name="connsiteX68" fmla="*/ 9237 w 10000"/>
                  <a:gd name="connsiteY68" fmla="*/ 1449 h 10000"/>
                  <a:gd name="connsiteX69" fmla="*/ 9036 w 10000"/>
                  <a:gd name="connsiteY69" fmla="*/ 1144 h 10000"/>
                  <a:gd name="connsiteX70" fmla="*/ 8996 w 10000"/>
                  <a:gd name="connsiteY70" fmla="*/ 835 h 10000"/>
                  <a:gd name="connsiteX71" fmla="*/ 8675 w 10000"/>
                  <a:gd name="connsiteY71" fmla="*/ 396 h 10000"/>
                  <a:gd name="connsiteX72" fmla="*/ 8394 w 10000"/>
                  <a:gd name="connsiteY72" fmla="*/ 222 h 10000"/>
                  <a:gd name="connsiteX73" fmla="*/ 8233 w 10000"/>
                  <a:gd name="connsiteY73" fmla="*/ 0 h 10000"/>
                  <a:gd name="connsiteX74" fmla="*/ 7992 w 10000"/>
                  <a:gd name="connsiteY74" fmla="*/ 222 h 10000"/>
                  <a:gd name="connsiteX75" fmla="*/ 7831 w 10000"/>
                  <a:gd name="connsiteY75" fmla="*/ 176 h 10000"/>
                  <a:gd name="connsiteX76" fmla="*/ 7711 w 10000"/>
                  <a:gd name="connsiteY76" fmla="*/ 569 h 10000"/>
                  <a:gd name="connsiteX77" fmla="*/ 7390 w 10000"/>
                  <a:gd name="connsiteY77" fmla="*/ 660 h 10000"/>
                  <a:gd name="connsiteX78" fmla="*/ 7309 w 10000"/>
                  <a:gd name="connsiteY78" fmla="*/ 965 h 10000"/>
                  <a:gd name="connsiteX79" fmla="*/ 7028 w 10000"/>
                  <a:gd name="connsiteY79" fmla="*/ 965 h 10000"/>
                  <a:gd name="connsiteX80" fmla="*/ 6787 w 10000"/>
                  <a:gd name="connsiteY80" fmla="*/ 835 h 10000"/>
                  <a:gd name="connsiteX81" fmla="*/ 6265 w 10000"/>
                  <a:gd name="connsiteY81" fmla="*/ 835 h 10000"/>
                  <a:gd name="connsiteX82" fmla="*/ 5743 w 10000"/>
                  <a:gd name="connsiteY82" fmla="*/ 835 h 10000"/>
                  <a:gd name="connsiteX83" fmla="*/ 5783 w 10000"/>
                  <a:gd name="connsiteY83" fmla="*/ 660 h 10000"/>
                  <a:gd name="connsiteX84" fmla="*/ 5703 w 10000"/>
                  <a:gd name="connsiteY84" fmla="*/ 660 h 10000"/>
                  <a:gd name="connsiteX85" fmla="*/ 5663 w 10000"/>
                  <a:gd name="connsiteY85" fmla="*/ 835 h 10000"/>
                  <a:gd name="connsiteX86" fmla="*/ 5181 w 10000"/>
                  <a:gd name="connsiteY86" fmla="*/ 835 h 10000"/>
                  <a:gd name="connsiteX87" fmla="*/ 4699 w 10000"/>
                  <a:gd name="connsiteY87" fmla="*/ 835 h 10000"/>
                  <a:gd name="connsiteX88" fmla="*/ 4217 w 10000"/>
                  <a:gd name="connsiteY88" fmla="*/ 835 h 10000"/>
                  <a:gd name="connsiteX89" fmla="*/ 3735 w 10000"/>
                  <a:gd name="connsiteY89" fmla="*/ 835 h 10000"/>
                  <a:gd name="connsiteX90" fmla="*/ 3293 w 10000"/>
                  <a:gd name="connsiteY90" fmla="*/ 835 h 10000"/>
                  <a:gd name="connsiteX91" fmla="*/ 2811 w 10000"/>
                  <a:gd name="connsiteY91" fmla="*/ 835 h 10000"/>
                  <a:gd name="connsiteX92" fmla="*/ 2369 w 10000"/>
                  <a:gd name="connsiteY92" fmla="*/ 835 h 10000"/>
                  <a:gd name="connsiteX93" fmla="*/ 1888 w 10000"/>
                  <a:gd name="connsiteY93" fmla="*/ 835 h 10000"/>
                  <a:gd name="connsiteX94" fmla="*/ 1888 w 10000"/>
                  <a:gd name="connsiteY94" fmla="*/ 1449 h 10000"/>
                  <a:gd name="connsiteX95" fmla="*/ 1888 w 10000"/>
                  <a:gd name="connsiteY95" fmla="*/ 2241 h 10000"/>
                  <a:gd name="connsiteX96" fmla="*/ 1285 w 10000"/>
                  <a:gd name="connsiteY96" fmla="*/ 2241 h 10000"/>
                  <a:gd name="connsiteX97" fmla="*/ 1285 w 10000"/>
                  <a:gd name="connsiteY97" fmla="*/ 2592 h 10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</a:cxnLst>
                <a:rect l="l" t="t" r="r" b="b"/>
                <a:pathLst>
                  <a:path w="10000" h="10000">
                    <a:moveTo>
                      <a:pt x="1285" y="2592"/>
                    </a:moveTo>
                    <a:lnTo>
                      <a:pt x="1285" y="3295"/>
                    </a:lnTo>
                    <a:lnTo>
                      <a:pt x="1285" y="3954"/>
                    </a:lnTo>
                    <a:lnTo>
                      <a:pt x="1285" y="4614"/>
                    </a:lnTo>
                    <a:lnTo>
                      <a:pt x="1285" y="5226"/>
                    </a:lnTo>
                    <a:lnTo>
                      <a:pt x="643" y="5360"/>
                    </a:lnTo>
                    <a:cubicBezTo>
                      <a:pt x="603" y="5477"/>
                      <a:pt x="562" y="5593"/>
                      <a:pt x="522" y="5710"/>
                    </a:cubicBezTo>
                    <a:lnTo>
                      <a:pt x="241" y="6150"/>
                    </a:lnTo>
                    <a:lnTo>
                      <a:pt x="241" y="6504"/>
                    </a:lnTo>
                    <a:lnTo>
                      <a:pt x="120" y="6589"/>
                    </a:lnTo>
                    <a:lnTo>
                      <a:pt x="120" y="6896"/>
                    </a:lnTo>
                    <a:lnTo>
                      <a:pt x="0" y="7163"/>
                    </a:lnTo>
                    <a:lnTo>
                      <a:pt x="0" y="7380"/>
                    </a:lnTo>
                    <a:lnTo>
                      <a:pt x="241" y="7337"/>
                    </a:lnTo>
                    <a:cubicBezTo>
                      <a:pt x="254" y="7469"/>
                      <a:pt x="268" y="7600"/>
                      <a:pt x="281" y="7730"/>
                    </a:cubicBezTo>
                    <a:lnTo>
                      <a:pt x="602" y="8437"/>
                    </a:lnTo>
                    <a:lnTo>
                      <a:pt x="602" y="8479"/>
                    </a:lnTo>
                    <a:lnTo>
                      <a:pt x="482" y="8522"/>
                    </a:lnTo>
                    <a:lnTo>
                      <a:pt x="964" y="9225"/>
                    </a:lnTo>
                    <a:cubicBezTo>
                      <a:pt x="977" y="9299"/>
                      <a:pt x="991" y="9372"/>
                      <a:pt x="1004" y="9446"/>
                    </a:cubicBezTo>
                    <a:cubicBezTo>
                      <a:pt x="991" y="9651"/>
                      <a:pt x="1191" y="9602"/>
                      <a:pt x="1178" y="9809"/>
                    </a:cubicBezTo>
                    <a:cubicBezTo>
                      <a:pt x="1205" y="9838"/>
                      <a:pt x="1330" y="9578"/>
                      <a:pt x="1357" y="9607"/>
                    </a:cubicBezTo>
                    <a:cubicBezTo>
                      <a:pt x="1491" y="9531"/>
                      <a:pt x="1526" y="9661"/>
                      <a:pt x="1652" y="9545"/>
                    </a:cubicBezTo>
                    <a:lnTo>
                      <a:pt x="1951" y="9489"/>
                    </a:lnTo>
                    <a:cubicBezTo>
                      <a:pt x="1964" y="9591"/>
                      <a:pt x="2012" y="9117"/>
                      <a:pt x="2025" y="9219"/>
                    </a:cubicBezTo>
                    <a:lnTo>
                      <a:pt x="2338" y="9131"/>
                    </a:lnTo>
                    <a:cubicBezTo>
                      <a:pt x="2482" y="9213"/>
                      <a:pt x="2505" y="9464"/>
                      <a:pt x="2643" y="9561"/>
                    </a:cubicBezTo>
                    <a:cubicBezTo>
                      <a:pt x="2747" y="9644"/>
                      <a:pt x="2890" y="9723"/>
                      <a:pt x="2977" y="9748"/>
                    </a:cubicBezTo>
                    <a:cubicBezTo>
                      <a:pt x="3064" y="9775"/>
                      <a:pt x="3071" y="9711"/>
                      <a:pt x="3167" y="9715"/>
                    </a:cubicBezTo>
                    <a:lnTo>
                      <a:pt x="3795" y="9872"/>
                    </a:lnTo>
                    <a:cubicBezTo>
                      <a:pt x="3849" y="9828"/>
                      <a:pt x="4099" y="10000"/>
                      <a:pt x="4153" y="9956"/>
                    </a:cubicBezTo>
                    <a:cubicBezTo>
                      <a:pt x="4287" y="9933"/>
                      <a:pt x="4581" y="9819"/>
                      <a:pt x="4682" y="9732"/>
                    </a:cubicBezTo>
                    <a:cubicBezTo>
                      <a:pt x="4806" y="9616"/>
                      <a:pt x="4903" y="9349"/>
                      <a:pt x="4983" y="9289"/>
                    </a:cubicBezTo>
                    <a:cubicBezTo>
                      <a:pt x="5106" y="9253"/>
                      <a:pt x="5227" y="9441"/>
                      <a:pt x="5337" y="9512"/>
                    </a:cubicBezTo>
                    <a:cubicBezTo>
                      <a:pt x="5340" y="9373"/>
                      <a:pt x="5492" y="9671"/>
                      <a:pt x="5564" y="9681"/>
                    </a:cubicBezTo>
                    <a:lnTo>
                      <a:pt x="5768" y="9572"/>
                    </a:lnTo>
                    <a:lnTo>
                      <a:pt x="5933" y="9471"/>
                    </a:lnTo>
                    <a:lnTo>
                      <a:pt x="6089" y="9245"/>
                    </a:lnTo>
                    <a:lnTo>
                      <a:pt x="6274" y="8940"/>
                    </a:lnTo>
                    <a:cubicBezTo>
                      <a:pt x="6312" y="8890"/>
                      <a:pt x="6351" y="8843"/>
                      <a:pt x="6389" y="8797"/>
                    </a:cubicBezTo>
                    <a:lnTo>
                      <a:pt x="6524" y="8740"/>
                    </a:lnTo>
                    <a:cubicBezTo>
                      <a:pt x="6526" y="8680"/>
                      <a:pt x="6529" y="8620"/>
                      <a:pt x="6531" y="8560"/>
                    </a:cubicBezTo>
                    <a:cubicBezTo>
                      <a:pt x="6495" y="8427"/>
                      <a:pt x="6608" y="8487"/>
                      <a:pt x="6572" y="8352"/>
                    </a:cubicBezTo>
                    <a:cubicBezTo>
                      <a:pt x="6582" y="8288"/>
                      <a:pt x="6592" y="8226"/>
                      <a:pt x="6602" y="8162"/>
                    </a:cubicBezTo>
                    <a:lnTo>
                      <a:pt x="6855" y="7916"/>
                    </a:lnTo>
                    <a:cubicBezTo>
                      <a:pt x="6892" y="8049"/>
                      <a:pt x="6846" y="8691"/>
                      <a:pt x="6893" y="8869"/>
                    </a:cubicBezTo>
                    <a:cubicBezTo>
                      <a:pt x="6988" y="9092"/>
                      <a:pt x="7208" y="9208"/>
                      <a:pt x="7308" y="9201"/>
                    </a:cubicBezTo>
                    <a:cubicBezTo>
                      <a:pt x="7321" y="8774"/>
                      <a:pt x="7417" y="9343"/>
                      <a:pt x="7430" y="8917"/>
                    </a:cubicBezTo>
                    <a:cubicBezTo>
                      <a:pt x="7443" y="8935"/>
                      <a:pt x="7457" y="8947"/>
                      <a:pt x="7470" y="8960"/>
                    </a:cubicBezTo>
                    <a:lnTo>
                      <a:pt x="7590" y="8698"/>
                    </a:lnTo>
                    <a:lnTo>
                      <a:pt x="7831" y="8567"/>
                    </a:lnTo>
                    <a:cubicBezTo>
                      <a:pt x="7871" y="8405"/>
                      <a:pt x="7912" y="8243"/>
                      <a:pt x="7952" y="8083"/>
                    </a:cubicBezTo>
                    <a:lnTo>
                      <a:pt x="8313" y="7513"/>
                    </a:lnTo>
                    <a:lnTo>
                      <a:pt x="8594" y="7248"/>
                    </a:lnTo>
                    <a:lnTo>
                      <a:pt x="8795" y="6504"/>
                    </a:lnTo>
                    <a:lnTo>
                      <a:pt x="8795" y="6328"/>
                    </a:lnTo>
                    <a:cubicBezTo>
                      <a:pt x="8782" y="6182"/>
                      <a:pt x="8768" y="6033"/>
                      <a:pt x="8755" y="5888"/>
                    </a:cubicBezTo>
                    <a:lnTo>
                      <a:pt x="9157" y="4305"/>
                    </a:lnTo>
                    <a:lnTo>
                      <a:pt x="9277" y="4305"/>
                    </a:lnTo>
                    <a:cubicBezTo>
                      <a:pt x="9331" y="4263"/>
                      <a:pt x="9384" y="4216"/>
                      <a:pt x="9438" y="4174"/>
                    </a:cubicBezTo>
                    <a:lnTo>
                      <a:pt x="9920" y="3954"/>
                    </a:lnTo>
                    <a:cubicBezTo>
                      <a:pt x="9947" y="3837"/>
                      <a:pt x="9973" y="3722"/>
                      <a:pt x="10000" y="3602"/>
                    </a:cubicBezTo>
                    <a:cubicBezTo>
                      <a:pt x="9987" y="3573"/>
                      <a:pt x="9973" y="3545"/>
                      <a:pt x="9960" y="3514"/>
                    </a:cubicBezTo>
                    <a:lnTo>
                      <a:pt x="9799" y="3514"/>
                    </a:lnTo>
                    <a:lnTo>
                      <a:pt x="9679" y="3295"/>
                    </a:lnTo>
                    <a:lnTo>
                      <a:pt x="9438" y="3209"/>
                    </a:lnTo>
                    <a:cubicBezTo>
                      <a:pt x="9398" y="3148"/>
                      <a:pt x="9357" y="3091"/>
                      <a:pt x="9317" y="3033"/>
                    </a:cubicBezTo>
                    <a:cubicBezTo>
                      <a:pt x="9290" y="2813"/>
                      <a:pt x="9264" y="2592"/>
                      <a:pt x="9237" y="2374"/>
                    </a:cubicBezTo>
                    <a:lnTo>
                      <a:pt x="9237" y="1449"/>
                    </a:lnTo>
                    <a:lnTo>
                      <a:pt x="9036" y="1144"/>
                    </a:lnTo>
                    <a:cubicBezTo>
                      <a:pt x="9023" y="1040"/>
                      <a:pt x="9009" y="936"/>
                      <a:pt x="8996" y="835"/>
                    </a:cubicBezTo>
                    <a:lnTo>
                      <a:pt x="8675" y="396"/>
                    </a:lnTo>
                    <a:lnTo>
                      <a:pt x="8394" y="222"/>
                    </a:lnTo>
                    <a:lnTo>
                      <a:pt x="8233" y="0"/>
                    </a:lnTo>
                    <a:lnTo>
                      <a:pt x="7992" y="222"/>
                    </a:lnTo>
                    <a:lnTo>
                      <a:pt x="7831" y="176"/>
                    </a:lnTo>
                    <a:lnTo>
                      <a:pt x="7711" y="569"/>
                    </a:lnTo>
                    <a:lnTo>
                      <a:pt x="7390" y="660"/>
                    </a:lnTo>
                    <a:cubicBezTo>
                      <a:pt x="7363" y="762"/>
                      <a:pt x="7336" y="863"/>
                      <a:pt x="7309" y="965"/>
                    </a:cubicBezTo>
                    <a:lnTo>
                      <a:pt x="7028" y="965"/>
                    </a:lnTo>
                    <a:lnTo>
                      <a:pt x="6787" y="835"/>
                    </a:lnTo>
                    <a:lnTo>
                      <a:pt x="6265" y="835"/>
                    </a:lnTo>
                    <a:lnTo>
                      <a:pt x="5743" y="835"/>
                    </a:lnTo>
                    <a:cubicBezTo>
                      <a:pt x="5756" y="777"/>
                      <a:pt x="5770" y="718"/>
                      <a:pt x="5783" y="660"/>
                    </a:cubicBezTo>
                    <a:lnTo>
                      <a:pt x="5703" y="660"/>
                    </a:lnTo>
                    <a:cubicBezTo>
                      <a:pt x="5690" y="718"/>
                      <a:pt x="5676" y="777"/>
                      <a:pt x="5663" y="835"/>
                    </a:cubicBezTo>
                    <a:lnTo>
                      <a:pt x="5181" y="835"/>
                    </a:lnTo>
                    <a:lnTo>
                      <a:pt x="4699" y="835"/>
                    </a:lnTo>
                    <a:lnTo>
                      <a:pt x="4217" y="835"/>
                    </a:lnTo>
                    <a:lnTo>
                      <a:pt x="3735" y="835"/>
                    </a:lnTo>
                    <a:lnTo>
                      <a:pt x="3293" y="835"/>
                    </a:lnTo>
                    <a:lnTo>
                      <a:pt x="2811" y="835"/>
                    </a:lnTo>
                    <a:lnTo>
                      <a:pt x="2369" y="835"/>
                    </a:lnTo>
                    <a:lnTo>
                      <a:pt x="1888" y="835"/>
                    </a:lnTo>
                    <a:lnTo>
                      <a:pt x="1888" y="1449"/>
                    </a:lnTo>
                    <a:lnTo>
                      <a:pt x="1888" y="2241"/>
                    </a:lnTo>
                    <a:lnTo>
                      <a:pt x="1285" y="2241"/>
                    </a:lnTo>
                    <a:lnTo>
                      <a:pt x="1285" y="2592"/>
                    </a:lnTo>
                    <a:close/>
                  </a:path>
                </a:pathLst>
              </a:custGeom>
              <a:grpFill/>
              <a:ln w="9525" cap="flat" cmpd="sng">
                <a:solidFill>
                  <a:schemeClr val="bg1"/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  <p:txBody>
              <a:bodyPr lIns="37783" tIns="37783" rIns="37783" bIns="37783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3" name="Freeform 4">
                <a:extLst>
                  <a:ext uri="{FF2B5EF4-FFF2-40B4-BE49-F238E27FC236}">
                    <a16:creationId xmlns:a16="http://schemas.microsoft.com/office/drawing/2014/main" id="{F12EB2F4-7A70-4392-B579-61FDEE2E3FCC}"/>
                  </a:ext>
                </a:extLst>
              </p:cNvPr>
              <p:cNvSpPr>
                <a:spLocks/>
              </p:cNvSpPr>
              <p:nvPr>
                <p:custDataLst>
                  <p:tags r:id="rId3"/>
                </p:custDataLst>
              </p:nvPr>
            </p:nvSpPr>
            <p:spPr bwMode="gray">
              <a:xfrm>
                <a:off x="4948998" y="5041639"/>
                <a:ext cx="271030" cy="231951"/>
              </a:xfrm>
              <a:custGeom>
                <a:avLst/>
                <a:gdLst/>
                <a:ahLst/>
                <a:cxnLst>
                  <a:cxn ang="0">
                    <a:pos x="20" y="64"/>
                  </a:cxn>
                  <a:cxn ang="0">
                    <a:pos x="32" y="68"/>
                  </a:cxn>
                  <a:cxn ang="0">
                    <a:pos x="36" y="60"/>
                  </a:cxn>
                  <a:cxn ang="0">
                    <a:pos x="40" y="56"/>
                  </a:cxn>
                  <a:cxn ang="0">
                    <a:pos x="52" y="48"/>
                  </a:cxn>
                  <a:cxn ang="0">
                    <a:pos x="60" y="40"/>
                  </a:cxn>
                  <a:cxn ang="0">
                    <a:pos x="64" y="28"/>
                  </a:cxn>
                  <a:cxn ang="0">
                    <a:pos x="76" y="24"/>
                  </a:cxn>
                  <a:cxn ang="0">
                    <a:pos x="84" y="24"/>
                  </a:cxn>
                  <a:cxn ang="0">
                    <a:pos x="100" y="24"/>
                  </a:cxn>
                  <a:cxn ang="0">
                    <a:pos x="108" y="28"/>
                  </a:cxn>
                  <a:cxn ang="0">
                    <a:pos x="120" y="28"/>
                  </a:cxn>
                  <a:cxn ang="0">
                    <a:pos x="132" y="28"/>
                  </a:cxn>
                  <a:cxn ang="0">
                    <a:pos x="144" y="20"/>
                  </a:cxn>
                  <a:cxn ang="0">
                    <a:pos x="144" y="12"/>
                  </a:cxn>
                  <a:cxn ang="0">
                    <a:pos x="156" y="0"/>
                  </a:cxn>
                  <a:cxn ang="0">
                    <a:pos x="160" y="12"/>
                  </a:cxn>
                  <a:cxn ang="0">
                    <a:pos x="164" y="16"/>
                  </a:cxn>
                  <a:cxn ang="0">
                    <a:pos x="164" y="32"/>
                  </a:cxn>
                  <a:cxn ang="0">
                    <a:pos x="176" y="32"/>
                  </a:cxn>
                  <a:cxn ang="0">
                    <a:pos x="188" y="28"/>
                  </a:cxn>
                  <a:cxn ang="0">
                    <a:pos x="196" y="24"/>
                  </a:cxn>
                  <a:cxn ang="0">
                    <a:pos x="200" y="28"/>
                  </a:cxn>
                  <a:cxn ang="0">
                    <a:pos x="215" y="24"/>
                  </a:cxn>
                  <a:cxn ang="0">
                    <a:pos x="208" y="28"/>
                  </a:cxn>
                  <a:cxn ang="0">
                    <a:pos x="200" y="32"/>
                  </a:cxn>
                  <a:cxn ang="0">
                    <a:pos x="184" y="36"/>
                  </a:cxn>
                  <a:cxn ang="0">
                    <a:pos x="172" y="40"/>
                  </a:cxn>
                  <a:cxn ang="0">
                    <a:pos x="160" y="52"/>
                  </a:cxn>
                  <a:cxn ang="0">
                    <a:pos x="164" y="60"/>
                  </a:cxn>
                  <a:cxn ang="0">
                    <a:pos x="164" y="72"/>
                  </a:cxn>
                  <a:cxn ang="0">
                    <a:pos x="156" y="80"/>
                  </a:cxn>
                  <a:cxn ang="0">
                    <a:pos x="160" y="92"/>
                  </a:cxn>
                  <a:cxn ang="0">
                    <a:pos x="144" y="92"/>
                  </a:cxn>
                  <a:cxn ang="0">
                    <a:pos x="144" y="100"/>
                  </a:cxn>
                  <a:cxn ang="0">
                    <a:pos x="144" y="108"/>
                  </a:cxn>
                  <a:cxn ang="0">
                    <a:pos x="132" y="116"/>
                  </a:cxn>
                  <a:cxn ang="0">
                    <a:pos x="132" y="124"/>
                  </a:cxn>
                  <a:cxn ang="0">
                    <a:pos x="128" y="136"/>
                  </a:cxn>
                  <a:cxn ang="0">
                    <a:pos x="120" y="136"/>
                  </a:cxn>
                  <a:cxn ang="0">
                    <a:pos x="104" y="140"/>
                  </a:cxn>
                  <a:cxn ang="0">
                    <a:pos x="100" y="148"/>
                  </a:cxn>
                  <a:cxn ang="0">
                    <a:pos x="92" y="148"/>
                  </a:cxn>
                  <a:cxn ang="0">
                    <a:pos x="88" y="164"/>
                  </a:cxn>
                  <a:cxn ang="0">
                    <a:pos x="88" y="172"/>
                  </a:cxn>
                  <a:cxn ang="0">
                    <a:pos x="72" y="180"/>
                  </a:cxn>
                  <a:cxn ang="0">
                    <a:pos x="56" y="180"/>
                  </a:cxn>
                  <a:cxn ang="0">
                    <a:pos x="40" y="180"/>
                  </a:cxn>
                  <a:cxn ang="0">
                    <a:pos x="16" y="180"/>
                  </a:cxn>
                  <a:cxn ang="0">
                    <a:pos x="8" y="172"/>
                  </a:cxn>
                  <a:cxn ang="0">
                    <a:pos x="20" y="152"/>
                  </a:cxn>
                  <a:cxn ang="0">
                    <a:pos x="12" y="144"/>
                  </a:cxn>
                  <a:cxn ang="0">
                    <a:pos x="4" y="132"/>
                  </a:cxn>
                  <a:cxn ang="0">
                    <a:pos x="0" y="116"/>
                  </a:cxn>
                  <a:cxn ang="0">
                    <a:pos x="4" y="104"/>
                  </a:cxn>
                  <a:cxn ang="0">
                    <a:pos x="0" y="92"/>
                  </a:cxn>
                  <a:cxn ang="0">
                    <a:pos x="0" y="80"/>
                  </a:cxn>
                  <a:cxn ang="0">
                    <a:pos x="8" y="68"/>
                  </a:cxn>
                </a:cxnLst>
                <a:rect l="0" t="0" r="r" b="b"/>
                <a:pathLst>
                  <a:path w="215" h="184">
                    <a:moveTo>
                      <a:pt x="12" y="60"/>
                    </a:moveTo>
                    <a:lnTo>
                      <a:pt x="12" y="64"/>
                    </a:lnTo>
                    <a:lnTo>
                      <a:pt x="16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6" y="64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40" y="56"/>
                    </a:lnTo>
                    <a:lnTo>
                      <a:pt x="44" y="52"/>
                    </a:lnTo>
                    <a:lnTo>
                      <a:pt x="48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4"/>
                    </a:lnTo>
                    <a:lnTo>
                      <a:pt x="60" y="40"/>
                    </a:lnTo>
                    <a:lnTo>
                      <a:pt x="60" y="36"/>
                    </a:lnTo>
                    <a:lnTo>
                      <a:pt x="64" y="36"/>
                    </a:lnTo>
                    <a:lnTo>
                      <a:pt x="64" y="32"/>
                    </a:lnTo>
                    <a:lnTo>
                      <a:pt x="64" y="28"/>
                    </a:lnTo>
                    <a:lnTo>
                      <a:pt x="68" y="28"/>
                    </a:lnTo>
                    <a:lnTo>
                      <a:pt x="72" y="28"/>
                    </a:lnTo>
                    <a:lnTo>
                      <a:pt x="76" y="28"/>
                    </a:lnTo>
                    <a:lnTo>
                      <a:pt x="76" y="24"/>
                    </a:lnTo>
                    <a:lnTo>
                      <a:pt x="76" y="20"/>
                    </a:lnTo>
                    <a:lnTo>
                      <a:pt x="80" y="20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88" y="24"/>
                    </a:lnTo>
                    <a:lnTo>
                      <a:pt x="92" y="24"/>
                    </a:lnTo>
                    <a:lnTo>
                      <a:pt x="96" y="24"/>
                    </a:lnTo>
                    <a:lnTo>
                      <a:pt x="100" y="24"/>
                    </a:lnTo>
                    <a:lnTo>
                      <a:pt x="100" y="28"/>
                    </a:lnTo>
                    <a:lnTo>
                      <a:pt x="104" y="28"/>
                    </a:lnTo>
                    <a:lnTo>
                      <a:pt x="104" y="24"/>
                    </a:lnTo>
                    <a:lnTo>
                      <a:pt x="108" y="28"/>
                    </a:lnTo>
                    <a:lnTo>
                      <a:pt x="112" y="32"/>
                    </a:lnTo>
                    <a:lnTo>
                      <a:pt x="116" y="32"/>
                    </a:lnTo>
                    <a:lnTo>
                      <a:pt x="116" y="28"/>
                    </a:lnTo>
                    <a:lnTo>
                      <a:pt x="120" y="28"/>
                    </a:lnTo>
                    <a:lnTo>
                      <a:pt x="124" y="24"/>
                    </a:lnTo>
                    <a:lnTo>
                      <a:pt x="128" y="24"/>
                    </a:lnTo>
                    <a:lnTo>
                      <a:pt x="128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4" y="20"/>
                    </a:lnTo>
                    <a:lnTo>
                      <a:pt x="148" y="20"/>
                    </a:lnTo>
                    <a:lnTo>
                      <a:pt x="148" y="16"/>
                    </a:lnTo>
                    <a:lnTo>
                      <a:pt x="144" y="16"/>
                    </a:lnTo>
                    <a:lnTo>
                      <a:pt x="144" y="12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4"/>
                    </a:lnTo>
                    <a:lnTo>
                      <a:pt x="156" y="0"/>
                    </a:lnTo>
                    <a:lnTo>
                      <a:pt x="160" y="4"/>
                    </a:lnTo>
                    <a:lnTo>
                      <a:pt x="164" y="4"/>
                    </a:lnTo>
                    <a:lnTo>
                      <a:pt x="164" y="8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68" y="16"/>
                    </a:lnTo>
                    <a:lnTo>
                      <a:pt x="164" y="16"/>
                    </a:lnTo>
                    <a:lnTo>
                      <a:pt x="164" y="20"/>
                    </a:lnTo>
                    <a:lnTo>
                      <a:pt x="164" y="24"/>
                    </a:lnTo>
                    <a:lnTo>
                      <a:pt x="164" y="28"/>
                    </a:lnTo>
                    <a:lnTo>
                      <a:pt x="164" y="32"/>
                    </a:lnTo>
                    <a:lnTo>
                      <a:pt x="168" y="36"/>
                    </a:lnTo>
                    <a:lnTo>
                      <a:pt x="168" y="40"/>
                    </a:lnTo>
                    <a:lnTo>
                      <a:pt x="172" y="36"/>
                    </a:lnTo>
                    <a:lnTo>
                      <a:pt x="176" y="32"/>
                    </a:lnTo>
                    <a:lnTo>
                      <a:pt x="180" y="32"/>
                    </a:lnTo>
                    <a:lnTo>
                      <a:pt x="184" y="32"/>
                    </a:lnTo>
                    <a:lnTo>
                      <a:pt x="184" y="28"/>
                    </a:lnTo>
                    <a:lnTo>
                      <a:pt x="188" y="28"/>
                    </a:lnTo>
                    <a:lnTo>
                      <a:pt x="188" y="24"/>
                    </a:lnTo>
                    <a:lnTo>
                      <a:pt x="192" y="24"/>
                    </a:lnTo>
                    <a:lnTo>
                      <a:pt x="196" y="20"/>
                    </a:lnTo>
                    <a:lnTo>
                      <a:pt x="196" y="24"/>
                    </a:lnTo>
                    <a:lnTo>
                      <a:pt x="200" y="24"/>
                    </a:lnTo>
                    <a:lnTo>
                      <a:pt x="196" y="24"/>
                    </a:lnTo>
                    <a:lnTo>
                      <a:pt x="196" y="28"/>
                    </a:lnTo>
                    <a:lnTo>
                      <a:pt x="200" y="28"/>
                    </a:lnTo>
                    <a:lnTo>
                      <a:pt x="204" y="24"/>
                    </a:lnTo>
                    <a:lnTo>
                      <a:pt x="208" y="24"/>
                    </a:lnTo>
                    <a:lnTo>
                      <a:pt x="212" y="24"/>
                    </a:lnTo>
                    <a:lnTo>
                      <a:pt x="215" y="24"/>
                    </a:lnTo>
                    <a:lnTo>
                      <a:pt x="215" y="28"/>
                    </a:lnTo>
                    <a:lnTo>
                      <a:pt x="215" y="24"/>
                    </a:lnTo>
                    <a:lnTo>
                      <a:pt x="212" y="28"/>
                    </a:lnTo>
                    <a:lnTo>
                      <a:pt x="208" y="28"/>
                    </a:lnTo>
                    <a:lnTo>
                      <a:pt x="212" y="32"/>
                    </a:lnTo>
                    <a:lnTo>
                      <a:pt x="208" y="32"/>
                    </a:lnTo>
                    <a:lnTo>
                      <a:pt x="204" y="36"/>
                    </a:lnTo>
                    <a:lnTo>
                      <a:pt x="200" y="32"/>
                    </a:lnTo>
                    <a:lnTo>
                      <a:pt x="196" y="32"/>
                    </a:lnTo>
                    <a:lnTo>
                      <a:pt x="192" y="32"/>
                    </a:lnTo>
                    <a:lnTo>
                      <a:pt x="188" y="36"/>
                    </a:lnTo>
                    <a:lnTo>
                      <a:pt x="184" y="36"/>
                    </a:lnTo>
                    <a:lnTo>
                      <a:pt x="180" y="36"/>
                    </a:lnTo>
                    <a:lnTo>
                      <a:pt x="176" y="36"/>
                    </a:lnTo>
                    <a:lnTo>
                      <a:pt x="176" y="40"/>
                    </a:lnTo>
                    <a:lnTo>
                      <a:pt x="172" y="40"/>
                    </a:lnTo>
                    <a:lnTo>
                      <a:pt x="168" y="44"/>
                    </a:lnTo>
                    <a:lnTo>
                      <a:pt x="164" y="48"/>
                    </a:lnTo>
                    <a:lnTo>
                      <a:pt x="160" y="48"/>
                    </a:lnTo>
                    <a:lnTo>
                      <a:pt x="160" y="52"/>
                    </a:lnTo>
                    <a:lnTo>
                      <a:pt x="164" y="52"/>
                    </a:lnTo>
                    <a:lnTo>
                      <a:pt x="164" y="56"/>
                    </a:lnTo>
                    <a:lnTo>
                      <a:pt x="168" y="56"/>
                    </a:lnTo>
                    <a:lnTo>
                      <a:pt x="164" y="60"/>
                    </a:lnTo>
                    <a:lnTo>
                      <a:pt x="168" y="60"/>
                    </a:lnTo>
                    <a:lnTo>
                      <a:pt x="168" y="64"/>
                    </a:lnTo>
                    <a:lnTo>
                      <a:pt x="168" y="68"/>
                    </a:lnTo>
                    <a:lnTo>
                      <a:pt x="164" y="72"/>
                    </a:lnTo>
                    <a:lnTo>
                      <a:pt x="164" y="76"/>
                    </a:lnTo>
                    <a:lnTo>
                      <a:pt x="160" y="76"/>
                    </a:lnTo>
                    <a:lnTo>
                      <a:pt x="160" y="80"/>
                    </a:lnTo>
                    <a:lnTo>
                      <a:pt x="156" y="80"/>
                    </a:lnTo>
                    <a:lnTo>
                      <a:pt x="156" y="84"/>
                    </a:lnTo>
                    <a:lnTo>
                      <a:pt x="160" y="84"/>
                    </a:lnTo>
                    <a:lnTo>
                      <a:pt x="160" y="88"/>
                    </a:lnTo>
                    <a:lnTo>
                      <a:pt x="160" y="92"/>
                    </a:lnTo>
                    <a:lnTo>
                      <a:pt x="156" y="92"/>
                    </a:lnTo>
                    <a:lnTo>
                      <a:pt x="152" y="92"/>
                    </a:lnTo>
                    <a:lnTo>
                      <a:pt x="148" y="92"/>
                    </a:lnTo>
                    <a:lnTo>
                      <a:pt x="144" y="92"/>
                    </a:lnTo>
                    <a:lnTo>
                      <a:pt x="140" y="92"/>
                    </a:lnTo>
                    <a:lnTo>
                      <a:pt x="140" y="96"/>
                    </a:lnTo>
                    <a:lnTo>
                      <a:pt x="144" y="96"/>
                    </a:lnTo>
                    <a:lnTo>
                      <a:pt x="144" y="100"/>
                    </a:lnTo>
                    <a:lnTo>
                      <a:pt x="144" y="104"/>
                    </a:lnTo>
                    <a:lnTo>
                      <a:pt x="148" y="104"/>
                    </a:lnTo>
                    <a:lnTo>
                      <a:pt x="148" y="108"/>
                    </a:lnTo>
                    <a:lnTo>
                      <a:pt x="144" y="108"/>
                    </a:lnTo>
                    <a:lnTo>
                      <a:pt x="140" y="112"/>
                    </a:lnTo>
                    <a:lnTo>
                      <a:pt x="136" y="112"/>
                    </a:lnTo>
                    <a:lnTo>
                      <a:pt x="136" y="116"/>
                    </a:lnTo>
                    <a:lnTo>
                      <a:pt x="132" y="116"/>
                    </a:lnTo>
                    <a:lnTo>
                      <a:pt x="136" y="116"/>
                    </a:lnTo>
                    <a:lnTo>
                      <a:pt x="136" y="120"/>
                    </a:lnTo>
                    <a:lnTo>
                      <a:pt x="132" y="120"/>
                    </a:lnTo>
                    <a:lnTo>
                      <a:pt x="132" y="124"/>
                    </a:lnTo>
                    <a:lnTo>
                      <a:pt x="132" y="128"/>
                    </a:lnTo>
                    <a:lnTo>
                      <a:pt x="132" y="132"/>
                    </a:lnTo>
                    <a:lnTo>
                      <a:pt x="132" y="136"/>
                    </a:lnTo>
                    <a:lnTo>
                      <a:pt x="128" y="136"/>
                    </a:lnTo>
                    <a:lnTo>
                      <a:pt x="128" y="140"/>
                    </a:lnTo>
                    <a:lnTo>
                      <a:pt x="124" y="140"/>
                    </a:lnTo>
                    <a:lnTo>
                      <a:pt x="124" y="136"/>
                    </a:lnTo>
                    <a:lnTo>
                      <a:pt x="120" y="136"/>
                    </a:lnTo>
                    <a:lnTo>
                      <a:pt x="116" y="136"/>
                    </a:lnTo>
                    <a:lnTo>
                      <a:pt x="112" y="140"/>
                    </a:lnTo>
                    <a:lnTo>
                      <a:pt x="108" y="140"/>
                    </a:lnTo>
                    <a:lnTo>
                      <a:pt x="104" y="140"/>
                    </a:lnTo>
                    <a:lnTo>
                      <a:pt x="108" y="144"/>
                    </a:lnTo>
                    <a:lnTo>
                      <a:pt x="108" y="148"/>
                    </a:lnTo>
                    <a:lnTo>
                      <a:pt x="104" y="148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6" y="144"/>
                    </a:lnTo>
                    <a:lnTo>
                      <a:pt x="96" y="148"/>
                    </a:lnTo>
                    <a:lnTo>
                      <a:pt x="92" y="148"/>
                    </a:lnTo>
                    <a:lnTo>
                      <a:pt x="92" y="152"/>
                    </a:lnTo>
                    <a:lnTo>
                      <a:pt x="88" y="152"/>
                    </a:lnTo>
                    <a:lnTo>
                      <a:pt x="88" y="160"/>
                    </a:lnTo>
                    <a:lnTo>
                      <a:pt x="88" y="164"/>
                    </a:lnTo>
                    <a:lnTo>
                      <a:pt x="88" y="168"/>
                    </a:lnTo>
                    <a:lnTo>
                      <a:pt x="84" y="168"/>
                    </a:lnTo>
                    <a:lnTo>
                      <a:pt x="84" y="172"/>
                    </a:lnTo>
                    <a:lnTo>
                      <a:pt x="88" y="172"/>
                    </a:lnTo>
                    <a:lnTo>
                      <a:pt x="84" y="176"/>
                    </a:lnTo>
                    <a:lnTo>
                      <a:pt x="80" y="176"/>
                    </a:lnTo>
                    <a:lnTo>
                      <a:pt x="76" y="176"/>
                    </a:lnTo>
                    <a:lnTo>
                      <a:pt x="72" y="180"/>
                    </a:lnTo>
                    <a:lnTo>
                      <a:pt x="68" y="180"/>
                    </a:lnTo>
                    <a:lnTo>
                      <a:pt x="64" y="180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4"/>
                    </a:lnTo>
                    <a:lnTo>
                      <a:pt x="48" y="180"/>
                    </a:lnTo>
                    <a:lnTo>
                      <a:pt x="44" y="180"/>
                    </a:lnTo>
                    <a:lnTo>
                      <a:pt x="40" y="180"/>
                    </a:lnTo>
                    <a:lnTo>
                      <a:pt x="28" y="184"/>
                    </a:lnTo>
                    <a:lnTo>
                      <a:pt x="24" y="180"/>
                    </a:lnTo>
                    <a:lnTo>
                      <a:pt x="20" y="180"/>
                    </a:lnTo>
                    <a:lnTo>
                      <a:pt x="16" y="180"/>
                    </a:lnTo>
                    <a:lnTo>
                      <a:pt x="8" y="176"/>
                    </a:lnTo>
                    <a:lnTo>
                      <a:pt x="4" y="176"/>
                    </a:lnTo>
                    <a:lnTo>
                      <a:pt x="4" y="172"/>
                    </a:lnTo>
                    <a:lnTo>
                      <a:pt x="8" y="172"/>
                    </a:lnTo>
                    <a:lnTo>
                      <a:pt x="8" y="168"/>
                    </a:lnTo>
                    <a:lnTo>
                      <a:pt x="12" y="164"/>
                    </a:lnTo>
                    <a:lnTo>
                      <a:pt x="16" y="156"/>
                    </a:lnTo>
                    <a:lnTo>
                      <a:pt x="20" y="152"/>
                    </a:lnTo>
                    <a:lnTo>
                      <a:pt x="20" y="148"/>
                    </a:lnTo>
                    <a:lnTo>
                      <a:pt x="16" y="148"/>
                    </a:lnTo>
                    <a:lnTo>
                      <a:pt x="16" y="144"/>
                    </a:lnTo>
                    <a:lnTo>
                      <a:pt x="12" y="144"/>
                    </a:lnTo>
                    <a:lnTo>
                      <a:pt x="8" y="144"/>
                    </a:lnTo>
                    <a:lnTo>
                      <a:pt x="4" y="140"/>
                    </a:lnTo>
                    <a:lnTo>
                      <a:pt x="4" y="136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4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4" y="84"/>
                    </a:lnTo>
                    <a:lnTo>
                      <a:pt x="0" y="80"/>
                    </a:lnTo>
                    <a:lnTo>
                      <a:pt x="4" y="80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12" y="6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4" name="Freeform 5">
                <a:extLst>
                  <a:ext uri="{FF2B5EF4-FFF2-40B4-BE49-F238E27FC236}">
                    <a16:creationId xmlns:a16="http://schemas.microsoft.com/office/drawing/2014/main" id="{8BCFAC65-7DB6-44DE-BB4C-C6BE9D084665}"/>
                  </a:ext>
                </a:extLst>
              </p:cNvPr>
              <p:cNvSpPr>
                <a:spLocks noEditPoints="1"/>
              </p:cNvSpPr>
              <p:nvPr>
                <p:custDataLst>
                  <p:tags r:id="rId4"/>
                </p:custDataLst>
              </p:nvPr>
            </p:nvSpPr>
            <p:spPr bwMode="gray">
              <a:xfrm>
                <a:off x="4622501" y="4971045"/>
                <a:ext cx="60509" cy="60509"/>
              </a:xfrm>
              <a:custGeom>
                <a:avLst/>
                <a:gdLst/>
                <a:ahLst/>
                <a:cxnLst>
                  <a:cxn ang="0">
                    <a:pos x="44" y="48"/>
                  </a:cxn>
                  <a:cxn ang="0">
                    <a:pos x="40" y="48"/>
                  </a:cxn>
                  <a:cxn ang="0">
                    <a:pos x="40" y="48"/>
                  </a:cxn>
                  <a:cxn ang="0">
                    <a:pos x="40" y="40"/>
                  </a:cxn>
                  <a:cxn ang="0">
                    <a:pos x="36" y="36"/>
                  </a:cxn>
                  <a:cxn ang="0">
                    <a:pos x="32" y="36"/>
                  </a:cxn>
                  <a:cxn ang="0">
                    <a:pos x="32" y="36"/>
                  </a:cxn>
                  <a:cxn ang="0">
                    <a:pos x="24" y="32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16" y="28"/>
                  </a:cxn>
                  <a:cxn ang="0">
                    <a:pos x="12" y="24"/>
                  </a:cxn>
                  <a:cxn ang="0">
                    <a:pos x="8" y="24"/>
                  </a:cxn>
                  <a:cxn ang="0">
                    <a:pos x="4" y="24"/>
                  </a:cxn>
                  <a:cxn ang="0">
                    <a:pos x="0" y="16"/>
                  </a:cxn>
                  <a:cxn ang="0">
                    <a:pos x="4" y="12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20" y="0"/>
                  </a:cxn>
                  <a:cxn ang="0">
                    <a:pos x="24" y="0"/>
                  </a:cxn>
                  <a:cxn ang="0">
                    <a:pos x="28" y="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32" y="8"/>
                  </a:cxn>
                  <a:cxn ang="0">
                    <a:pos x="28" y="12"/>
                  </a:cxn>
                  <a:cxn ang="0">
                    <a:pos x="32" y="16"/>
                  </a:cxn>
                  <a:cxn ang="0">
                    <a:pos x="36" y="20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32" y="24"/>
                  </a:cxn>
                  <a:cxn ang="0">
                    <a:pos x="36" y="28"/>
                  </a:cxn>
                  <a:cxn ang="0">
                    <a:pos x="36" y="28"/>
                  </a:cxn>
                  <a:cxn ang="0">
                    <a:pos x="36" y="32"/>
                  </a:cxn>
                  <a:cxn ang="0">
                    <a:pos x="40" y="32"/>
                  </a:cxn>
                  <a:cxn ang="0">
                    <a:pos x="40" y="36"/>
                  </a:cxn>
                  <a:cxn ang="0">
                    <a:pos x="44" y="32"/>
                  </a:cxn>
                  <a:cxn ang="0">
                    <a:pos x="44" y="36"/>
                  </a:cxn>
                  <a:cxn ang="0">
                    <a:pos x="44" y="40"/>
                  </a:cxn>
                  <a:cxn ang="0">
                    <a:pos x="48" y="40"/>
                  </a:cxn>
                  <a:cxn ang="0">
                    <a:pos x="44" y="44"/>
                  </a:cxn>
                  <a:cxn ang="0">
                    <a:pos x="44" y="44"/>
                  </a:cxn>
                  <a:cxn ang="0">
                    <a:pos x="44" y="48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8" y="4"/>
                  </a:cxn>
                  <a:cxn ang="0">
                    <a:pos x="32" y="12"/>
                  </a:cxn>
                  <a:cxn ang="0">
                    <a:pos x="32" y="12"/>
                  </a:cxn>
                </a:cxnLst>
                <a:rect l="0" t="0" r="r" b="b"/>
                <a:pathLst>
                  <a:path w="48" h="48">
                    <a:moveTo>
                      <a:pt x="48" y="48"/>
                    </a:moveTo>
                    <a:lnTo>
                      <a:pt x="48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28" y="36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4" y="4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8" y="48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  <a:moveTo>
                      <a:pt x="28" y="4"/>
                    </a:move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close/>
                    <a:moveTo>
                      <a:pt x="32" y="12"/>
                    </a:move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5" name="Freeform 6">
                <a:extLst>
                  <a:ext uri="{FF2B5EF4-FFF2-40B4-BE49-F238E27FC236}">
                    <a16:creationId xmlns:a16="http://schemas.microsoft.com/office/drawing/2014/main" id="{9A839727-4E79-4475-83F1-E3B7076DFE3C}"/>
                  </a:ext>
                </a:extLst>
              </p:cNvPr>
              <p:cNvSpPr>
                <a:spLocks noEditPoints="1"/>
              </p:cNvSpPr>
              <p:nvPr>
                <p:custDataLst>
                  <p:tags r:id="rId5"/>
                </p:custDataLst>
              </p:nvPr>
            </p:nvSpPr>
            <p:spPr bwMode="gray">
              <a:xfrm>
                <a:off x="4647713" y="4931967"/>
                <a:ext cx="129842" cy="114715"/>
              </a:xfrm>
              <a:custGeom>
                <a:avLst/>
                <a:gdLst/>
                <a:ahLst/>
                <a:cxnLst>
                  <a:cxn ang="0">
                    <a:pos x="84" y="91"/>
                  </a:cxn>
                  <a:cxn ang="0">
                    <a:pos x="60" y="87"/>
                  </a:cxn>
                  <a:cxn ang="0">
                    <a:pos x="56" y="87"/>
                  </a:cxn>
                  <a:cxn ang="0">
                    <a:pos x="52" y="83"/>
                  </a:cxn>
                  <a:cxn ang="0">
                    <a:pos x="48" y="79"/>
                  </a:cxn>
                  <a:cxn ang="0">
                    <a:pos x="52" y="79"/>
                  </a:cxn>
                  <a:cxn ang="0">
                    <a:pos x="52" y="75"/>
                  </a:cxn>
                  <a:cxn ang="0">
                    <a:pos x="52" y="71"/>
                  </a:cxn>
                  <a:cxn ang="0">
                    <a:pos x="52" y="67"/>
                  </a:cxn>
                  <a:cxn ang="0">
                    <a:pos x="48" y="63"/>
                  </a:cxn>
                  <a:cxn ang="0">
                    <a:pos x="40" y="67"/>
                  </a:cxn>
                  <a:cxn ang="0">
                    <a:pos x="36" y="71"/>
                  </a:cxn>
                  <a:cxn ang="0">
                    <a:pos x="32" y="75"/>
                  </a:cxn>
                  <a:cxn ang="0">
                    <a:pos x="28" y="79"/>
                  </a:cxn>
                  <a:cxn ang="0">
                    <a:pos x="24" y="75"/>
                  </a:cxn>
                  <a:cxn ang="0">
                    <a:pos x="24" y="75"/>
                  </a:cxn>
                  <a:cxn ang="0">
                    <a:pos x="24" y="71"/>
                  </a:cxn>
                  <a:cxn ang="0">
                    <a:pos x="28" y="67"/>
                  </a:cxn>
                  <a:cxn ang="0">
                    <a:pos x="20" y="67"/>
                  </a:cxn>
                  <a:cxn ang="0">
                    <a:pos x="20" y="63"/>
                  </a:cxn>
                  <a:cxn ang="0">
                    <a:pos x="16" y="59"/>
                  </a:cxn>
                  <a:cxn ang="0">
                    <a:pos x="12" y="59"/>
                  </a:cxn>
                  <a:cxn ang="0">
                    <a:pos x="16" y="55"/>
                  </a:cxn>
                  <a:cxn ang="0">
                    <a:pos x="20" y="51"/>
                  </a:cxn>
                  <a:cxn ang="0">
                    <a:pos x="12" y="47"/>
                  </a:cxn>
                  <a:cxn ang="0">
                    <a:pos x="12" y="39"/>
                  </a:cxn>
                  <a:cxn ang="0">
                    <a:pos x="4" y="35"/>
                  </a:cxn>
                  <a:cxn ang="0">
                    <a:pos x="8" y="35"/>
                  </a:cxn>
                  <a:cxn ang="0">
                    <a:pos x="4" y="31"/>
                  </a:cxn>
                  <a:cxn ang="0">
                    <a:pos x="8" y="27"/>
                  </a:cxn>
                  <a:cxn ang="0">
                    <a:pos x="16" y="31"/>
                  </a:cxn>
                  <a:cxn ang="0">
                    <a:pos x="20" y="31"/>
                  </a:cxn>
                  <a:cxn ang="0">
                    <a:pos x="24" y="31"/>
                  </a:cxn>
                  <a:cxn ang="0">
                    <a:pos x="28" y="35"/>
                  </a:cxn>
                  <a:cxn ang="0">
                    <a:pos x="28" y="27"/>
                  </a:cxn>
                  <a:cxn ang="0">
                    <a:pos x="20" y="23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32" y="19"/>
                  </a:cxn>
                  <a:cxn ang="0">
                    <a:pos x="36" y="23"/>
                  </a:cxn>
                  <a:cxn ang="0">
                    <a:pos x="44" y="31"/>
                  </a:cxn>
                  <a:cxn ang="0">
                    <a:pos x="44" y="31"/>
                  </a:cxn>
                  <a:cxn ang="0">
                    <a:pos x="48" y="27"/>
                  </a:cxn>
                  <a:cxn ang="0">
                    <a:pos x="56" y="23"/>
                  </a:cxn>
                  <a:cxn ang="0">
                    <a:pos x="60" y="15"/>
                  </a:cxn>
                  <a:cxn ang="0">
                    <a:pos x="88" y="15"/>
                  </a:cxn>
                  <a:cxn ang="0">
                    <a:pos x="103" y="39"/>
                  </a:cxn>
                  <a:cxn ang="0">
                    <a:pos x="103" y="63"/>
                  </a:cxn>
                  <a:cxn ang="0">
                    <a:pos x="100" y="79"/>
                  </a:cxn>
                  <a:cxn ang="0">
                    <a:pos x="12" y="43"/>
                  </a:cxn>
                  <a:cxn ang="0">
                    <a:pos x="4" y="35"/>
                  </a:cxn>
                  <a:cxn ang="0">
                    <a:pos x="8" y="35"/>
                  </a:cxn>
                  <a:cxn ang="0">
                    <a:pos x="0" y="63"/>
                  </a:cxn>
                  <a:cxn ang="0">
                    <a:pos x="0" y="63"/>
                  </a:cxn>
                  <a:cxn ang="0">
                    <a:pos x="8" y="63"/>
                  </a:cxn>
                  <a:cxn ang="0">
                    <a:pos x="12" y="67"/>
                  </a:cxn>
                  <a:cxn ang="0">
                    <a:pos x="16" y="71"/>
                  </a:cxn>
                  <a:cxn ang="0">
                    <a:pos x="20" y="79"/>
                  </a:cxn>
                  <a:cxn ang="0">
                    <a:pos x="12" y="79"/>
                  </a:cxn>
                  <a:cxn ang="0">
                    <a:pos x="8" y="75"/>
                  </a:cxn>
                  <a:cxn ang="0">
                    <a:pos x="4" y="71"/>
                  </a:cxn>
                  <a:cxn ang="0">
                    <a:pos x="4" y="67"/>
                  </a:cxn>
                  <a:cxn ang="0">
                    <a:pos x="0" y="63"/>
                  </a:cxn>
                </a:cxnLst>
                <a:rect l="0" t="0" r="r" b="b"/>
                <a:pathLst>
                  <a:path w="103" h="91">
                    <a:moveTo>
                      <a:pt x="100" y="83"/>
                    </a:moveTo>
                    <a:lnTo>
                      <a:pt x="96" y="87"/>
                    </a:lnTo>
                    <a:lnTo>
                      <a:pt x="92" y="87"/>
                    </a:lnTo>
                    <a:lnTo>
                      <a:pt x="88" y="87"/>
                    </a:lnTo>
                    <a:lnTo>
                      <a:pt x="88" y="87"/>
                    </a:lnTo>
                    <a:lnTo>
                      <a:pt x="84" y="91"/>
                    </a:lnTo>
                    <a:lnTo>
                      <a:pt x="84" y="91"/>
                    </a:lnTo>
                    <a:lnTo>
                      <a:pt x="80" y="91"/>
                    </a:lnTo>
                    <a:lnTo>
                      <a:pt x="76" y="91"/>
                    </a:lnTo>
                    <a:lnTo>
                      <a:pt x="64" y="87"/>
                    </a:lnTo>
                    <a:lnTo>
                      <a:pt x="60" y="87"/>
                    </a:lnTo>
                    <a:lnTo>
                      <a:pt x="60" y="87"/>
                    </a:lnTo>
                    <a:lnTo>
                      <a:pt x="60" y="91"/>
                    </a:lnTo>
                    <a:lnTo>
                      <a:pt x="60" y="91"/>
                    </a:lnTo>
                    <a:lnTo>
                      <a:pt x="60" y="91"/>
                    </a:lnTo>
                    <a:lnTo>
                      <a:pt x="56" y="91"/>
                    </a:lnTo>
                    <a:lnTo>
                      <a:pt x="56" y="87"/>
                    </a:lnTo>
                    <a:lnTo>
                      <a:pt x="56" y="87"/>
                    </a:lnTo>
                    <a:lnTo>
                      <a:pt x="56" y="87"/>
                    </a:lnTo>
                    <a:lnTo>
                      <a:pt x="56" y="87"/>
                    </a:lnTo>
                    <a:lnTo>
                      <a:pt x="52" y="87"/>
                    </a:lnTo>
                    <a:lnTo>
                      <a:pt x="52" y="83"/>
                    </a:lnTo>
                    <a:lnTo>
                      <a:pt x="52" y="83"/>
                    </a:lnTo>
                    <a:lnTo>
                      <a:pt x="52" y="83"/>
                    </a:lnTo>
                    <a:lnTo>
                      <a:pt x="52" y="83"/>
                    </a:lnTo>
                    <a:lnTo>
                      <a:pt x="52" y="83"/>
                    </a:lnTo>
                    <a:lnTo>
                      <a:pt x="52" y="83"/>
                    </a:lnTo>
                    <a:lnTo>
                      <a:pt x="48" y="79"/>
                    </a:lnTo>
                    <a:lnTo>
                      <a:pt x="48" y="79"/>
                    </a:lnTo>
                    <a:lnTo>
                      <a:pt x="48" y="79"/>
                    </a:lnTo>
                    <a:lnTo>
                      <a:pt x="48" y="79"/>
                    </a:lnTo>
                    <a:lnTo>
                      <a:pt x="52" y="79"/>
                    </a:lnTo>
                    <a:lnTo>
                      <a:pt x="52" y="79"/>
                    </a:lnTo>
                    <a:lnTo>
                      <a:pt x="52" y="79"/>
                    </a:lnTo>
                    <a:lnTo>
                      <a:pt x="52" y="79"/>
                    </a:lnTo>
                    <a:lnTo>
                      <a:pt x="52" y="79"/>
                    </a:lnTo>
                    <a:lnTo>
                      <a:pt x="52" y="79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52" y="75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2" y="71"/>
                    </a:lnTo>
                    <a:lnTo>
                      <a:pt x="56" y="71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52" y="67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44" y="63"/>
                    </a:lnTo>
                    <a:lnTo>
                      <a:pt x="44" y="63"/>
                    </a:lnTo>
                    <a:lnTo>
                      <a:pt x="44" y="63"/>
                    </a:lnTo>
                    <a:lnTo>
                      <a:pt x="40" y="67"/>
                    </a:lnTo>
                    <a:lnTo>
                      <a:pt x="40" y="67"/>
                    </a:lnTo>
                    <a:lnTo>
                      <a:pt x="40" y="67"/>
                    </a:lnTo>
                    <a:lnTo>
                      <a:pt x="40" y="67"/>
                    </a:lnTo>
                    <a:lnTo>
                      <a:pt x="40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36" y="71"/>
                    </a:lnTo>
                    <a:lnTo>
                      <a:pt x="32" y="75"/>
                    </a:lnTo>
                    <a:lnTo>
                      <a:pt x="32" y="75"/>
                    </a:lnTo>
                    <a:lnTo>
                      <a:pt x="32" y="75"/>
                    </a:lnTo>
                    <a:lnTo>
                      <a:pt x="32" y="75"/>
                    </a:lnTo>
                    <a:lnTo>
                      <a:pt x="32" y="75"/>
                    </a:lnTo>
                    <a:lnTo>
                      <a:pt x="28" y="75"/>
                    </a:lnTo>
                    <a:lnTo>
                      <a:pt x="28" y="75"/>
                    </a:lnTo>
                    <a:lnTo>
                      <a:pt x="28" y="79"/>
                    </a:lnTo>
                    <a:lnTo>
                      <a:pt x="28" y="79"/>
                    </a:lnTo>
                    <a:lnTo>
                      <a:pt x="28" y="79"/>
                    </a:lnTo>
                    <a:lnTo>
                      <a:pt x="24" y="79"/>
                    </a:lnTo>
                    <a:lnTo>
                      <a:pt x="24" y="79"/>
                    </a:lnTo>
                    <a:lnTo>
                      <a:pt x="28" y="75"/>
                    </a:lnTo>
                    <a:lnTo>
                      <a:pt x="28" y="75"/>
                    </a:lnTo>
                    <a:lnTo>
                      <a:pt x="28" y="75"/>
                    </a:lnTo>
                    <a:lnTo>
                      <a:pt x="24" y="75"/>
                    </a:lnTo>
                    <a:lnTo>
                      <a:pt x="24" y="75"/>
                    </a:lnTo>
                    <a:lnTo>
                      <a:pt x="24" y="75"/>
                    </a:lnTo>
                    <a:lnTo>
                      <a:pt x="24" y="75"/>
                    </a:lnTo>
                    <a:lnTo>
                      <a:pt x="24" y="75"/>
                    </a:lnTo>
                    <a:lnTo>
                      <a:pt x="24" y="71"/>
                    </a:lnTo>
                    <a:lnTo>
                      <a:pt x="24" y="75"/>
                    </a:lnTo>
                    <a:lnTo>
                      <a:pt x="28" y="75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8" y="71"/>
                    </a:lnTo>
                    <a:lnTo>
                      <a:pt x="24" y="71"/>
                    </a:lnTo>
                    <a:lnTo>
                      <a:pt x="24" y="71"/>
                    </a:lnTo>
                    <a:lnTo>
                      <a:pt x="24" y="67"/>
                    </a:lnTo>
                    <a:lnTo>
                      <a:pt x="24" y="67"/>
                    </a:lnTo>
                    <a:lnTo>
                      <a:pt x="24" y="67"/>
                    </a:lnTo>
                    <a:lnTo>
                      <a:pt x="28" y="67"/>
                    </a:lnTo>
                    <a:lnTo>
                      <a:pt x="28" y="67"/>
                    </a:lnTo>
                    <a:lnTo>
                      <a:pt x="28" y="67"/>
                    </a:lnTo>
                    <a:lnTo>
                      <a:pt x="24" y="63"/>
                    </a:lnTo>
                    <a:lnTo>
                      <a:pt x="24" y="63"/>
                    </a:lnTo>
                    <a:lnTo>
                      <a:pt x="24" y="63"/>
                    </a:lnTo>
                    <a:lnTo>
                      <a:pt x="20" y="67"/>
                    </a:lnTo>
                    <a:lnTo>
                      <a:pt x="20" y="67"/>
                    </a:lnTo>
                    <a:lnTo>
                      <a:pt x="20" y="63"/>
                    </a:lnTo>
                    <a:lnTo>
                      <a:pt x="20" y="63"/>
                    </a:lnTo>
                    <a:lnTo>
                      <a:pt x="20" y="63"/>
                    </a:lnTo>
                    <a:lnTo>
                      <a:pt x="20" y="63"/>
                    </a:lnTo>
                    <a:lnTo>
                      <a:pt x="20" y="63"/>
                    </a:lnTo>
                    <a:lnTo>
                      <a:pt x="20" y="63"/>
                    </a:lnTo>
                    <a:lnTo>
                      <a:pt x="16" y="63"/>
                    </a:lnTo>
                    <a:lnTo>
                      <a:pt x="16" y="63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2" y="55"/>
                    </a:lnTo>
                    <a:lnTo>
                      <a:pt x="12" y="55"/>
                    </a:lnTo>
                    <a:lnTo>
                      <a:pt x="12" y="55"/>
                    </a:lnTo>
                    <a:lnTo>
                      <a:pt x="12" y="55"/>
                    </a:lnTo>
                    <a:lnTo>
                      <a:pt x="12" y="55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16" y="55"/>
                    </a:lnTo>
                    <a:lnTo>
                      <a:pt x="20" y="51"/>
                    </a:lnTo>
                    <a:lnTo>
                      <a:pt x="16" y="51"/>
                    </a:lnTo>
                    <a:lnTo>
                      <a:pt x="16" y="51"/>
                    </a:lnTo>
                    <a:lnTo>
                      <a:pt x="16" y="51"/>
                    </a:lnTo>
                    <a:lnTo>
                      <a:pt x="12" y="47"/>
                    </a:lnTo>
                    <a:lnTo>
                      <a:pt x="12" y="47"/>
                    </a:lnTo>
                    <a:lnTo>
                      <a:pt x="12" y="47"/>
                    </a:lnTo>
                    <a:lnTo>
                      <a:pt x="8" y="43"/>
                    </a:lnTo>
                    <a:lnTo>
                      <a:pt x="8" y="43"/>
                    </a:lnTo>
                    <a:lnTo>
                      <a:pt x="8" y="43"/>
                    </a:lnTo>
                    <a:lnTo>
                      <a:pt x="8" y="43"/>
                    </a:lnTo>
                    <a:lnTo>
                      <a:pt x="12" y="43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8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8" y="35"/>
                    </a:lnTo>
                    <a:lnTo>
                      <a:pt x="8" y="35"/>
                    </a:lnTo>
                    <a:lnTo>
                      <a:pt x="8" y="31"/>
                    </a:lnTo>
                    <a:lnTo>
                      <a:pt x="8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8" y="27"/>
                    </a:lnTo>
                    <a:lnTo>
                      <a:pt x="12" y="27"/>
                    </a:lnTo>
                    <a:lnTo>
                      <a:pt x="12" y="27"/>
                    </a:lnTo>
                    <a:lnTo>
                      <a:pt x="12" y="31"/>
                    </a:lnTo>
                    <a:lnTo>
                      <a:pt x="12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4" y="31"/>
                    </a:lnTo>
                    <a:lnTo>
                      <a:pt x="24" y="31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4" y="35"/>
                    </a:lnTo>
                    <a:lnTo>
                      <a:pt x="28" y="35"/>
                    </a:lnTo>
                    <a:lnTo>
                      <a:pt x="28" y="35"/>
                    </a:lnTo>
                    <a:lnTo>
                      <a:pt x="28" y="31"/>
                    </a:lnTo>
                    <a:lnTo>
                      <a:pt x="28" y="31"/>
                    </a:lnTo>
                    <a:lnTo>
                      <a:pt x="28" y="31"/>
                    </a:lnTo>
                    <a:lnTo>
                      <a:pt x="28" y="31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8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20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32" y="19"/>
                    </a:lnTo>
                    <a:lnTo>
                      <a:pt x="32" y="23"/>
                    </a:lnTo>
                    <a:lnTo>
                      <a:pt x="32" y="23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23"/>
                    </a:lnTo>
                    <a:lnTo>
                      <a:pt x="36" y="27"/>
                    </a:lnTo>
                    <a:lnTo>
                      <a:pt x="36" y="27"/>
                    </a:lnTo>
                    <a:lnTo>
                      <a:pt x="36" y="31"/>
                    </a:lnTo>
                    <a:lnTo>
                      <a:pt x="40" y="31"/>
                    </a:lnTo>
                    <a:lnTo>
                      <a:pt x="44" y="31"/>
                    </a:lnTo>
                    <a:lnTo>
                      <a:pt x="44" y="31"/>
                    </a:lnTo>
                    <a:lnTo>
                      <a:pt x="44" y="31"/>
                    </a:lnTo>
                    <a:lnTo>
                      <a:pt x="44" y="31"/>
                    </a:lnTo>
                    <a:lnTo>
                      <a:pt x="44" y="31"/>
                    </a:lnTo>
                    <a:lnTo>
                      <a:pt x="44" y="31"/>
                    </a:lnTo>
                    <a:lnTo>
                      <a:pt x="44" y="31"/>
                    </a:lnTo>
                    <a:lnTo>
                      <a:pt x="48" y="31"/>
                    </a:lnTo>
                    <a:lnTo>
                      <a:pt x="48" y="31"/>
                    </a:lnTo>
                    <a:lnTo>
                      <a:pt x="48" y="31"/>
                    </a:lnTo>
                    <a:lnTo>
                      <a:pt x="48" y="31"/>
                    </a:lnTo>
                    <a:lnTo>
                      <a:pt x="48" y="27"/>
                    </a:lnTo>
                    <a:lnTo>
                      <a:pt x="48" y="27"/>
                    </a:lnTo>
                    <a:lnTo>
                      <a:pt x="52" y="27"/>
                    </a:lnTo>
                    <a:lnTo>
                      <a:pt x="52" y="27"/>
                    </a:lnTo>
                    <a:lnTo>
                      <a:pt x="52" y="27"/>
                    </a:lnTo>
                    <a:lnTo>
                      <a:pt x="52" y="27"/>
                    </a:lnTo>
                    <a:lnTo>
                      <a:pt x="52" y="27"/>
                    </a:lnTo>
                    <a:lnTo>
                      <a:pt x="56" y="23"/>
                    </a:lnTo>
                    <a:lnTo>
                      <a:pt x="56" y="23"/>
                    </a:lnTo>
                    <a:lnTo>
                      <a:pt x="56" y="23"/>
                    </a:lnTo>
                    <a:lnTo>
                      <a:pt x="56" y="23"/>
                    </a:lnTo>
                    <a:lnTo>
                      <a:pt x="56" y="19"/>
                    </a:lnTo>
                    <a:lnTo>
                      <a:pt x="56" y="19"/>
                    </a:lnTo>
                    <a:lnTo>
                      <a:pt x="60" y="15"/>
                    </a:lnTo>
                    <a:lnTo>
                      <a:pt x="64" y="11"/>
                    </a:lnTo>
                    <a:lnTo>
                      <a:pt x="68" y="7"/>
                    </a:lnTo>
                    <a:lnTo>
                      <a:pt x="76" y="0"/>
                    </a:lnTo>
                    <a:lnTo>
                      <a:pt x="80" y="7"/>
                    </a:lnTo>
                    <a:lnTo>
                      <a:pt x="84" y="11"/>
                    </a:lnTo>
                    <a:lnTo>
                      <a:pt x="88" y="15"/>
                    </a:lnTo>
                    <a:lnTo>
                      <a:pt x="88" y="19"/>
                    </a:lnTo>
                    <a:lnTo>
                      <a:pt x="92" y="23"/>
                    </a:lnTo>
                    <a:lnTo>
                      <a:pt x="96" y="27"/>
                    </a:lnTo>
                    <a:lnTo>
                      <a:pt x="96" y="31"/>
                    </a:lnTo>
                    <a:lnTo>
                      <a:pt x="100" y="35"/>
                    </a:lnTo>
                    <a:lnTo>
                      <a:pt x="103" y="39"/>
                    </a:lnTo>
                    <a:lnTo>
                      <a:pt x="103" y="39"/>
                    </a:lnTo>
                    <a:lnTo>
                      <a:pt x="103" y="43"/>
                    </a:lnTo>
                    <a:lnTo>
                      <a:pt x="103" y="47"/>
                    </a:lnTo>
                    <a:lnTo>
                      <a:pt x="103" y="51"/>
                    </a:lnTo>
                    <a:lnTo>
                      <a:pt x="103" y="59"/>
                    </a:lnTo>
                    <a:lnTo>
                      <a:pt x="103" y="63"/>
                    </a:lnTo>
                    <a:lnTo>
                      <a:pt x="103" y="67"/>
                    </a:lnTo>
                    <a:lnTo>
                      <a:pt x="103" y="67"/>
                    </a:lnTo>
                    <a:lnTo>
                      <a:pt x="103" y="67"/>
                    </a:lnTo>
                    <a:lnTo>
                      <a:pt x="103" y="71"/>
                    </a:lnTo>
                    <a:lnTo>
                      <a:pt x="100" y="75"/>
                    </a:lnTo>
                    <a:lnTo>
                      <a:pt x="100" y="79"/>
                    </a:lnTo>
                    <a:lnTo>
                      <a:pt x="100" y="83"/>
                    </a:lnTo>
                    <a:close/>
                    <a:moveTo>
                      <a:pt x="12" y="43"/>
                    </a:moveTo>
                    <a:lnTo>
                      <a:pt x="12" y="43"/>
                    </a:lnTo>
                    <a:lnTo>
                      <a:pt x="12" y="43"/>
                    </a:lnTo>
                    <a:lnTo>
                      <a:pt x="12" y="43"/>
                    </a:lnTo>
                    <a:lnTo>
                      <a:pt x="12" y="43"/>
                    </a:lnTo>
                    <a:lnTo>
                      <a:pt x="12" y="43"/>
                    </a:lnTo>
                    <a:lnTo>
                      <a:pt x="12" y="43"/>
                    </a:lnTo>
                    <a:lnTo>
                      <a:pt x="12" y="43"/>
                    </a:lnTo>
                    <a:close/>
                    <a:moveTo>
                      <a:pt x="4" y="35"/>
                    </a:moveTo>
                    <a:lnTo>
                      <a:pt x="4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4" y="35"/>
                    </a:lnTo>
                    <a:lnTo>
                      <a:pt x="4" y="35"/>
                    </a:lnTo>
                    <a:close/>
                    <a:moveTo>
                      <a:pt x="8" y="35"/>
                    </a:moveTo>
                    <a:lnTo>
                      <a:pt x="8" y="35"/>
                    </a:lnTo>
                    <a:lnTo>
                      <a:pt x="8" y="35"/>
                    </a:lnTo>
                    <a:lnTo>
                      <a:pt x="8" y="35"/>
                    </a:lnTo>
                    <a:lnTo>
                      <a:pt x="8" y="35"/>
                    </a:lnTo>
                    <a:close/>
                    <a:moveTo>
                      <a:pt x="0" y="63"/>
                    </a:move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4" y="63"/>
                    </a:lnTo>
                    <a:lnTo>
                      <a:pt x="8" y="63"/>
                    </a:lnTo>
                    <a:lnTo>
                      <a:pt x="8" y="67"/>
                    </a:lnTo>
                    <a:lnTo>
                      <a:pt x="12" y="67"/>
                    </a:lnTo>
                    <a:lnTo>
                      <a:pt x="12" y="67"/>
                    </a:lnTo>
                    <a:lnTo>
                      <a:pt x="12" y="67"/>
                    </a:lnTo>
                    <a:lnTo>
                      <a:pt x="12" y="67"/>
                    </a:lnTo>
                    <a:lnTo>
                      <a:pt x="12" y="67"/>
                    </a:lnTo>
                    <a:lnTo>
                      <a:pt x="12" y="67"/>
                    </a:lnTo>
                    <a:lnTo>
                      <a:pt x="16" y="67"/>
                    </a:lnTo>
                    <a:lnTo>
                      <a:pt x="16" y="67"/>
                    </a:lnTo>
                    <a:lnTo>
                      <a:pt x="16" y="67"/>
                    </a:lnTo>
                    <a:lnTo>
                      <a:pt x="16" y="67"/>
                    </a:lnTo>
                    <a:lnTo>
                      <a:pt x="16" y="71"/>
                    </a:lnTo>
                    <a:lnTo>
                      <a:pt x="20" y="71"/>
                    </a:lnTo>
                    <a:lnTo>
                      <a:pt x="20" y="71"/>
                    </a:lnTo>
                    <a:lnTo>
                      <a:pt x="20" y="71"/>
                    </a:lnTo>
                    <a:lnTo>
                      <a:pt x="16" y="75"/>
                    </a:lnTo>
                    <a:lnTo>
                      <a:pt x="16" y="75"/>
                    </a:lnTo>
                    <a:lnTo>
                      <a:pt x="20" y="79"/>
                    </a:lnTo>
                    <a:lnTo>
                      <a:pt x="20" y="79"/>
                    </a:lnTo>
                    <a:lnTo>
                      <a:pt x="20" y="79"/>
                    </a:lnTo>
                    <a:lnTo>
                      <a:pt x="20" y="79"/>
                    </a:lnTo>
                    <a:lnTo>
                      <a:pt x="16" y="79"/>
                    </a:lnTo>
                    <a:lnTo>
                      <a:pt x="16" y="79"/>
                    </a:lnTo>
                    <a:lnTo>
                      <a:pt x="12" y="79"/>
                    </a:lnTo>
                    <a:lnTo>
                      <a:pt x="12" y="79"/>
                    </a:lnTo>
                    <a:lnTo>
                      <a:pt x="12" y="79"/>
                    </a:lnTo>
                    <a:lnTo>
                      <a:pt x="12" y="79"/>
                    </a:lnTo>
                    <a:lnTo>
                      <a:pt x="8" y="79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8" y="75"/>
                    </a:lnTo>
                    <a:lnTo>
                      <a:pt x="4" y="71"/>
                    </a:lnTo>
                    <a:lnTo>
                      <a:pt x="4" y="71"/>
                    </a:lnTo>
                    <a:lnTo>
                      <a:pt x="4" y="71"/>
                    </a:lnTo>
                    <a:lnTo>
                      <a:pt x="4" y="71"/>
                    </a:lnTo>
                    <a:lnTo>
                      <a:pt x="4" y="71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4" y="67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7"/>
                    </a:lnTo>
                    <a:lnTo>
                      <a:pt x="0" y="63"/>
                    </a:lnTo>
                    <a:lnTo>
                      <a:pt x="0" y="63"/>
                    </a:lnTo>
                    <a:lnTo>
                      <a:pt x="0" y="63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6" name="Freeform 7">
                <a:extLst>
                  <a:ext uri="{FF2B5EF4-FFF2-40B4-BE49-F238E27FC236}">
                    <a16:creationId xmlns:a16="http://schemas.microsoft.com/office/drawing/2014/main" id="{FEA934B7-31AD-41FF-9A3C-BAC2751E42AE}"/>
                  </a:ext>
                </a:extLst>
              </p:cNvPr>
              <p:cNvSpPr>
                <a:spLocks noEditPoints="1"/>
              </p:cNvSpPr>
              <p:nvPr>
                <p:custDataLst>
                  <p:tags r:id="rId6"/>
                </p:custDataLst>
              </p:nvPr>
            </p:nvSpPr>
            <p:spPr bwMode="gray">
              <a:xfrm>
                <a:off x="4753604" y="5349226"/>
                <a:ext cx="10085" cy="15127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4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12"/>
                  </a:cxn>
                </a:cxnLst>
                <a:rect l="0" t="0" r="r" b="b"/>
                <a:pathLst>
                  <a:path w="8" h="12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close/>
                    <a:moveTo>
                      <a:pt x="8" y="12"/>
                    </a:move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7" name="Freeform 8">
                <a:extLst>
                  <a:ext uri="{FF2B5EF4-FFF2-40B4-BE49-F238E27FC236}">
                    <a16:creationId xmlns:a16="http://schemas.microsoft.com/office/drawing/2014/main" id="{E51CF373-053F-4A37-8967-9040984601F2}"/>
                  </a:ext>
                </a:extLst>
              </p:cNvPr>
              <p:cNvSpPr>
                <a:spLocks noEditPoints="1"/>
              </p:cNvSpPr>
              <p:nvPr>
                <p:custDataLst>
                  <p:tags r:id="rId7"/>
                </p:custDataLst>
              </p:nvPr>
            </p:nvSpPr>
            <p:spPr bwMode="gray">
              <a:xfrm>
                <a:off x="5472148" y="5339142"/>
                <a:ext cx="90764" cy="141188"/>
              </a:xfrm>
              <a:custGeom>
                <a:avLst/>
                <a:gdLst/>
                <a:ahLst/>
                <a:cxnLst>
                  <a:cxn ang="0">
                    <a:pos x="40" y="80"/>
                  </a:cxn>
                  <a:cxn ang="0">
                    <a:pos x="36" y="84"/>
                  </a:cxn>
                  <a:cxn ang="0">
                    <a:pos x="32" y="88"/>
                  </a:cxn>
                  <a:cxn ang="0">
                    <a:pos x="28" y="92"/>
                  </a:cxn>
                  <a:cxn ang="0">
                    <a:pos x="32" y="80"/>
                  </a:cxn>
                  <a:cxn ang="0">
                    <a:pos x="28" y="92"/>
                  </a:cxn>
                  <a:cxn ang="0">
                    <a:pos x="24" y="88"/>
                  </a:cxn>
                  <a:cxn ang="0">
                    <a:pos x="24" y="88"/>
                  </a:cxn>
                  <a:cxn ang="0">
                    <a:pos x="24" y="92"/>
                  </a:cxn>
                  <a:cxn ang="0">
                    <a:pos x="20" y="96"/>
                  </a:cxn>
                  <a:cxn ang="0">
                    <a:pos x="12" y="72"/>
                  </a:cxn>
                  <a:cxn ang="0">
                    <a:pos x="12" y="64"/>
                  </a:cxn>
                  <a:cxn ang="0">
                    <a:pos x="12" y="52"/>
                  </a:cxn>
                  <a:cxn ang="0">
                    <a:pos x="8" y="48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2" y="28"/>
                  </a:cxn>
                  <a:cxn ang="0">
                    <a:pos x="8" y="24"/>
                  </a:cxn>
                  <a:cxn ang="0">
                    <a:pos x="4" y="12"/>
                  </a:cxn>
                  <a:cxn ang="0">
                    <a:pos x="4" y="4"/>
                  </a:cxn>
                  <a:cxn ang="0">
                    <a:pos x="12" y="8"/>
                  </a:cxn>
                  <a:cxn ang="0">
                    <a:pos x="16" y="4"/>
                  </a:cxn>
                  <a:cxn ang="0">
                    <a:pos x="24" y="12"/>
                  </a:cxn>
                  <a:cxn ang="0">
                    <a:pos x="28" y="16"/>
                  </a:cxn>
                  <a:cxn ang="0">
                    <a:pos x="32" y="28"/>
                  </a:cxn>
                  <a:cxn ang="0">
                    <a:pos x="48" y="28"/>
                  </a:cxn>
                  <a:cxn ang="0">
                    <a:pos x="64" y="28"/>
                  </a:cxn>
                  <a:cxn ang="0">
                    <a:pos x="64" y="36"/>
                  </a:cxn>
                  <a:cxn ang="0">
                    <a:pos x="60" y="48"/>
                  </a:cxn>
                  <a:cxn ang="0">
                    <a:pos x="52" y="48"/>
                  </a:cxn>
                  <a:cxn ang="0">
                    <a:pos x="48" y="64"/>
                  </a:cxn>
                  <a:cxn ang="0">
                    <a:pos x="52" y="72"/>
                  </a:cxn>
                  <a:cxn ang="0">
                    <a:pos x="60" y="64"/>
                  </a:cxn>
                  <a:cxn ang="0">
                    <a:pos x="64" y="56"/>
                  </a:cxn>
                  <a:cxn ang="0">
                    <a:pos x="68" y="68"/>
                  </a:cxn>
                  <a:cxn ang="0">
                    <a:pos x="68" y="80"/>
                  </a:cxn>
                  <a:cxn ang="0">
                    <a:pos x="68" y="96"/>
                  </a:cxn>
                  <a:cxn ang="0">
                    <a:pos x="68" y="104"/>
                  </a:cxn>
                  <a:cxn ang="0">
                    <a:pos x="64" y="108"/>
                  </a:cxn>
                  <a:cxn ang="0">
                    <a:pos x="60" y="104"/>
                  </a:cxn>
                  <a:cxn ang="0">
                    <a:pos x="60" y="96"/>
                  </a:cxn>
                  <a:cxn ang="0">
                    <a:pos x="56" y="84"/>
                  </a:cxn>
                  <a:cxn ang="0">
                    <a:pos x="48" y="80"/>
                  </a:cxn>
                  <a:cxn ang="0">
                    <a:pos x="40" y="72"/>
                  </a:cxn>
                  <a:cxn ang="0">
                    <a:pos x="36" y="60"/>
                  </a:cxn>
                  <a:cxn ang="0">
                    <a:pos x="40" y="64"/>
                  </a:cxn>
                  <a:cxn ang="0">
                    <a:pos x="36" y="76"/>
                  </a:cxn>
                  <a:cxn ang="0">
                    <a:pos x="40" y="92"/>
                  </a:cxn>
                  <a:cxn ang="0">
                    <a:pos x="40" y="92"/>
                  </a:cxn>
                  <a:cxn ang="0">
                    <a:pos x="40" y="80"/>
                  </a:cxn>
                  <a:cxn ang="0">
                    <a:pos x="44" y="88"/>
                  </a:cxn>
                  <a:cxn ang="0">
                    <a:pos x="52" y="80"/>
                  </a:cxn>
                  <a:cxn ang="0">
                    <a:pos x="48" y="84"/>
                  </a:cxn>
                  <a:cxn ang="0">
                    <a:pos x="44" y="88"/>
                  </a:cxn>
                </a:cxnLst>
                <a:rect l="0" t="0" r="r" b="b"/>
                <a:pathLst>
                  <a:path w="72" h="112">
                    <a:moveTo>
                      <a:pt x="36" y="68"/>
                    </a:moveTo>
                    <a:lnTo>
                      <a:pt x="36" y="72"/>
                    </a:lnTo>
                    <a:lnTo>
                      <a:pt x="36" y="76"/>
                    </a:lnTo>
                    <a:lnTo>
                      <a:pt x="40" y="80"/>
                    </a:lnTo>
                    <a:lnTo>
                      <a:pt x="40" y="84"/>
                    </a:lnTo>
                    <a:lnTo>
                      <a:pt x="40" y="88"/>
                    </a:lnTo>
                    <a:lnTo>
                      <a:pt x="36" y="88"/>
                    </a:lnTo>
                    <a:lnTo>
                      <a:pt x="36" y="84"/>
                    </a:lnTo>
                    <a:lnTo>
                      <a:pt x="36" y="88"/>
                    </a:lnTo>
                    <a:lnTo>
                      <a:pt x="36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28" y="88"/>
                    </a:lnTo>
                    <a:lnTo>
                      <a:pt x="28" y="92"/>
                    </a:lnTo>
                    <a:lnTo>
                      <a:pt x="28" y="88"/>
                    </a:lnTo>
                    <a:lnTo>
                      <a:pt x="28" y="84"/>
                    </a:lnTo>
                    <a:lnTo>
                      <a:pt x="28" y="80"/>
                    </a:lnTo>
                    <a:lnTo>
                      <a:pt x="32" y="80"/>
                    </a:lnTo>
                    <a:lnTo>
                      <a:pt x="28" y="80"/>
                    </a:lnTo>
                    <a:lnTo>
                      <a:pt x="28" y="84"/>
                    </a:lnTo>
                    <a:lnTo>
                      <a:pt x="28" y="88"/>
                    </a:lnTo>
                    <a:lnTo>
                      <a:pt x="28" y="92"/>
                    </a:lnTo>
                    <a:lnTo>
                      <a:pt x="24" y="92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4" y="88"/>
                    </a:lnTo>
                    <a:lnTo>
                      <a:pt x="24" y="84"/>
                    </a:lnTo>
                    <a:lnTo>
                      <a:pt x="24" y="88"/>
                    </a:lnTo>
                    <a:lnTo>
                      <a:pt x="24" y="92"/>
                    </a:lnTo>
                    <a:lnTo>
                      <a:pt x="24" y="88"/>
                    </a:lnTo>
                    <a:lnTo>
                      <a:pt x="24" y="84"/>
                    </a:lnTo>
                    <a:lnTo>
                      <a:pt x="20" y="84"/>
                    </a:lnTo>
                    <a:lnTo>
                      <a:pt x="24" y="88"/>
                    </a:lnTo>
                    <a:lnTo>
                      <a:pt x="24" y="92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6"/>
                    </a:lnTo>
                    <a:lnTo>
                      <a:pt x="16" y="92"/>
                    </a:lnTo>
                    <a:lnTo>
                      <a:pt x="16" y="88"/>
                    </a:lnTo>
                    <a:lnTo>
                      <a:pt x="16" y="84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36" y="28"/>
                    </a:lnTo>
                    <a:lnTo>
                      <a:pt x="40" y="28"/>
                    </a:lnTo>
                    <a:lnTo>
                      <a:pt x="44" y="28"/>
                    </a:lnTo>
                    <a:lnTo>
                      <a:pt x="48" y="28"/>
                    </a:lnTo>
                    <a:lnTo>
                      <a:pt x="52" y="28"/>
                    </a:lnTo>
                    <a:lnTo>
                      <a:pt x="56" y="28"/>
                    </a:lnTo>
                    <a:lnTo>
                      <a:pt x="60" y="28"/>
                    </a:lnTo>
                    <a:lnTo>
                      <a:pt x="64" y="28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6"/>
                    </a:lnTo>
                    <a:lnTo>
                      <a:pt x="64" y="36"/>
                    </a:lnTo>
                    <a:lnTo>
                      <a:pt x="64" y="40"/>
                    </a:lnTo>
                    <a:lnTo>
                      <a:pt x="64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48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48" y="64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72"/>
                    </a:lnTo>
                    <a:lnTo>
                      <a:pt x="56" y="72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0" y="60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84"/>
                    </a:lnTo>
                    <a:lnTo>
                      <a:pt x="68" y="88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8" y="100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68" y="104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4" y="112"/>
                    </a:lnTo>
                    <a:lnTo>
                      <a:pt x="64" y="108"/>
                    </a:lnTo>
                    <a:lnTo>
                      <a:pt x="60" y="108"/>
                    </a:lnTo>
                    <a:lnTo>
                      <a:pt x="60" y="104"/>
                    </a:lnTo>
                    <a:lnTo>
                      <a:pt x="60" y="100"/>
                    </a:lnTo>
                    <a:lnTo>
                      <a:pt x="60" y="96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2"/>
                    </a:lnTo>
                    <a:lnTo>
                      <a:pt x="60" y="88"/>
                    </a:lnTo>
                    <a:lnTo>
                      <a:pt x="56" y="88"/>
                    </a:lnTo>
                    <a:lnTo>
                      <a:pt x="56" y="84"/>
                    </a:lnTo>
                    <a:lnTo>
                      <a:pt x="56" y="80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80"/>
                    </a:lnTo>
                    <a:lnTo>
                      <a:pt x="44" y="80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40" y="64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36" y="68"/>
                    </a:lnTo>
                    <a:close/>
                    <a:moveTo>
                      <a:pt x="40" y="76"/>
                    </a:moveTo>
                    <a:lnTo>
                      <a:pt x="36" y="76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6"/>
                    </a:lnTo>
                    <a:close/>
                    <a:moveTo>
                      <a:pt x="40" y="92"/>
                    </a:moveTo>
                    <a:lnTo>
                      <a:pt x="36" y="92"/>
                    </a:lnTo>
                    <a:lnTo>
                      <a:pt x="36" y="88"/>
                    </a:lnTo>
                    <a:lnTo>
                      <a:pt x="40" y="88"/>
                    </a:lnTo>
                    <a:lnTo>
                      <a:pt x="40" y="92"/>
                    </a:lnTo>
                    <a:close/>
                    <a:moveTo>
                      <a:pt x="40" y="92"/>
                    </a:moveTo>
                    <a:lnTo>
                      <a:pt x="40" y="88"/>
                    </a:lnTo>
                    <a:lnTo>
                      <a:pt x="40" y="84"/>
                    </a:lnTo>
                    <a:lnTo>
                      <a:pt x="40" y="80"/>
                    </a:lnTo>
                    <a:lnTo>
                      <a:pt x="40" y="76"/>
                    </a:lnTo>
                    <a:lnTo>
                      <a:pt x="44" y="80"/>
                    </a:lnTo>
                    <a:lnTo>
                      <a:pt x="44" y="84"/>
                    </a:lnTo>
                    <a:lnTo>
                      <a:pt x="44" y="88"/>
                    </a:lnTo>
                    <a:lnTo>
                      <a:pt x="40" y="88"/>
                    </a:lnTo>
                    <a:lnTo>
                      <a:pt x="40" y="92"/>
                    </a:lnTo>
                    <a:close/>
                    <a:moveTo>
                      <a:pt x="52" y="84"/>
                    </a:moveTo>
                    <a:lnTo>
                      <a:pt x="52" y="80"/>
                    </a:lnTo>
                    <a:lnTo>
                      <a:pt x="52" y="84"/>
                    </a:lnTo>
                    <a:close/>
                    <a:moveTo>
                      <a:pt x="44" y="88"/>
                    </a:moveTo>
                    <a:lnTo>
                      <a:pt x="48" y="88"/>
                    </a:lnTo>
                    <a:lnTo>
                      <a:pt x="48" y="84"/>
                    </a:lnTo>
                    <a:lnTo>
                      <a:pt x="48" y="80"/>
                    </a:lnTo>
                    <a:lnTo>
                      <a:pt x="48" y="84"/>
                    </a:lnTo>
                    <a:lnTo>
                      <a:pt x="48" y="88"/>
                    </a:lnTo>
                    <a:lnTo>
                      <a:pt x="44" y="88"/>
                    </a:lnTo>
                    <a:close/>
                    <a:moveTo>
                      <a:pt x="60" y="100"/>
                    </a:moveTo>
                    <a:lnTo>
                      <a:pt x="60" y="96"/>
                    </a:lnTo>
                    <a:lnTo>
                      <a:pt x="60" y="100"/>
                    </a:lnTo>
                    <a:close/>
                  </a:path>
                </a:pathLst>
              </a:custGeom>
              <a:solidFill>
                <a:srgbClr val="97D700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8" name="Freeform 9">
                <a:extLst>
                  <a:ext uri="{FF2B5EF4-FFF2-40B4-BE49-F238E27FC236}">
                    <a16:creationId xmlns:a16="http://schemas.microsoft.com/office/drawing/2014/main" id="{5DDC8DF2-4705-4125-80FB-63F087BA2730}"/>
                  </a:ext>
                </a:extLst>
              </p:cNvPr>
              <p:cNvSpPr>
                <a:spLocks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5487275" y="5298802"/>
                <a:ext cx="65551" cy="40339"/>
              </a:xfrm>
              <a:custGeom>
                <a:avLst/>
                <a:gdLst/>
                <a:ahLst/>
                <a:cxnLst>
                  <a:cxn ang="0">
                    <a:pos x="48" y="28"/>
                  </a:cxn>
                  <a:cxn ang="0">
                    <a:pos x="40" y="28"/>
                  </a:cxn>
                  <a:cxn ang="0">
                    <a:pos x="40" y="28"/>
                  </a:cxn>
                  <a:cxn ang="0">
                    <a:pos x="40" y="32"/>
                  </a:cxn>
                  <a:cxn ang="0">
                    <a:pos x="36" y="28"/>
                  </a:cxn>
                  <a:cxn ang="0">
                    <a:pos x="32" y="32"/>
                  </a:cxn>
                  <a:cxn ang="0">
                    <a:pos x="28" y="32"/>
                  </a:cxn>
                  <a:cxn ang="0">
                    <a:pos x="24" y="28"/>
                  </a:cxn>
                  <a:cxn ang="0">
                    <a:pos x="20" y="28"/>
                  </a:cxn>
                  <a:cxn ang="0">
                    <a:pos x="20" y="32"/>
                  </a:cxn>
                  <a:cxn ang="0">
                    <a:pos x="16" y="32"/>
                  </a:cxn>
                  <a:cxn ang="0">
                    <a:pos x="12" y="32"/>
                  </a:cxn>
                  <a:cxn ang="0">
                    <a:pos x="12" y="2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4" y="28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4" y="20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8" y="1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4" y="0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8" y="4"/>
                  </a:cxn>
                  <a:cxn ang="0">
                    <a:pos x="32" y="4"/>
                  </a:cxn>
                  <a:cxn ang="0">
                    <a:pos x="32" y="8"/>
                  </a:cxn>
                  <a:cxn ang="0">
                    <a:pos x="36" y="8"/>
                  </a:cxn>
                  <a:cxn ang="0">
                    <a:pos x="40" y="4"/>
                  </a:cxn>
                  <a:cxn ang="0">
                    <a:pos x="40" y="8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44" y="12"/>
                  </a:cxn>
                  <a:cxn ang="0">
                    <a:pos x="44" y="12"/>
                  </a:cxn>
                  <a:cxn ang="0">
                    <a:pos x="44" y="16"/>
                  </a:cxn>
                  <a:cxn ang="0">
                    <a:pos x="48" y="16"/>
                  </a:cxn>
                  <a:cxn ang="0">
                    <a:pos x="52" y="20"/>
                  </a:cxn>
                  <a:cxn ang="0">
                    <a:pos x="48" y="24"/>
                  </a:cxn>
                  <a:cxn ang="0">
                    <a:pos x="52" y="28"/>
                  </a:cxn>
                  <a:cxn ang="0">
                    <a:pos x="48" y="28"/>
                  </a:cxn>
                </a:cxnLst>
                <a:rect l="0" t="0" r="r" b="b"/>
                <a:pathLst>
                  <a:path w="52" h="32">
                    <a:moveTo>
                      <a:pt x="48" y="28"/>
                    </a:move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36" y="32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52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48" y="28"/>
                    </a:lnTo>
                    <a:lnTo>
                      <a:pt x="48" y="2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9" name="Freeform 13">
                <a:extLst>
                  <a:ext uri="{FF2B5EF4-FFF2-40B4-BE49-F238E27FC236}">
                    <a16:creationId xmlns:a16="http://schemas.microsoft.com/office/drawing/2014/main" id="{41A81FAA-4E3D-4848-9593-0F3E6A43D012}"/>
                  </a:ext>
                </a:extLst>
              </p:cNvPr>
              <p:cNvSpPr>
                <a:spLocks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05677" y="5117275"/>
                <a:ext cx="45382" cy="25212"/>
              </a:xfrm>
              <a:custGeom>
                <a:avLst/>
                <a:gdLst/>
                <a:ahLst/>
                <a:cxnLst>
                  <a:cxn ang="0">
                    <a:pos x="16" y="16"/>
                  </a:cxn>
                  <a:cxn ang="0">
                    <a:pos x="16" y="20"/>
                  </a:cxn>
                  <a:cxn ang="0">
                    <a:pos x="12" y="20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0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6" y="4"/>
                  </a:cxn>
                  <a:cxn ang="0">
                    <a:pos x="20" y="4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36" y="0"/>
                  </a:cxn>
                  <a:cxn ang="0">
                    <a:pos x="36" y="0"/>
                  </a:cxn>
                  <a:cxn ang="0">
                    <a:pos x="32" y="4"/>
                  </a:cxn>
                  <a:cxn ang="0">
                    <a:pos x="28" y="4"/>
                  </a:cxn>
                  <a:cxn ang="0">
                    <a:pos x="28" y="8"/>
                  </a:cxn>
                  <a:cxn ang="0">
                    <a:pos x="28" y="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4" y="12"/>
                  </a:cxn>
                  <a:cxn ang="0">
                    <a:pos x="24" y="12"/>
                  </a:cxn>
                  <a:cxn ang="0">
                    <a:pos x="24" y="12"/>
                  </a:cxn>
                  <a:cxn ang="0">
                    <a:pos x="24" y="12"/>
                  </a:cxn>
                  <a:cxn ang="0">
                    <a:pos x="24" y="16"/>
                  </a:cxn>
                  <a:cxn ang="0">
                    <a:pos x="20" y="16"/>
                  </a:cxn>
                </a:cxnLst>
                <a:rect l="0" t="0" r="r" b="b"/>
                <a:pathLst>
                  <a:path w="36" h="20">
                    <a:moveTo>
                      <a:pt x="16" y="16"/>
                    </a:move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0" name="Freeform 14">
                <a:extLst>
                  <a:ext uri="{FF2B5EF4-FFF2-40B4-BE49-F238E27FC236}">
                    <a16:creationId xmlns:a16="http://schemas.microsoft.com/office/drawing/2014/main" id="{B397592D-7F11-4CE3-B5E1-F330D79CF3CD}"/>
                  </a:ext>
                </a:extLst>
              </p:cNvPr>
              <p:cNvSpPr>
                <a:spLocks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46016" y="5218124"/>
                <a:ext cx="5042" cy="10085"/>
              </a:xfrm>
              <a:custGeom>
                <a:avLst/>
                <a:gdLst/>
                <a:ahLst/>
                <a:cxnLst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</a:cxnLst>
                <a:rect l="0" t="0" r="r" b="b"/>
                <a:pathLst>
                  <a:path w="4" h="8">
                    <a:moveTo>
                      <a:pt x="4" y="0"/>
                    </a:move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1" name="Freeform 15">
                <a:extLst>
                  <a:ext uri="{FF2B5EF4-FFF2-40B4-BE49-F238E27FC236}">
                    <a16:creationId xmlns:a16="http://schemas.microsoft.com/office/drawing/2014/main" id="{97D80E74-2064-4AB6-8DFC-8E70AA1AB414}"/>
                  </a:ext>
                </a:extLst>
              </p:cNvPr>
              <p:cNvSpPr>
                <a:spLocks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556949" y="4911797"/>
                <a:ext cx="126060" cy="64290"/>
              </a:xfrm>
              <a:custGeom>
                <a:avLst/>
                <a:gdLst/>
                <a:ahLst/>
                <a:cxnLst>
                  <a:cxn ang="0">
                    <a:pos x="36" y="43"/>
                  </a:cxn>
                  <a:cxn ang="0">
                    <a:pos x="32" y="43"/>
                  </a:cxn>
                  <a:cxn ang="0">
                    <a:pos x="28" y="43"/>
                  </a:cxn>
                  <a:cxn ang="0">
                    <a:pos x="24" y="39"/>
                  </a:cxn>
                  <a:cxn ang="0">
                    <a:pos x="28" y="35"/>
                  </a:cxn>
                  <a:cxn ang="0">
                    <a:pos x="24" y="27"/>
                  </a:cxn>
                  <a:cxn ang="0">
                    <a:pos x="24" y="23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16" y="12"/>
                  </a:cxn>
                  <a:cxn ang="0">
                    <a:pos x="12" y="12"/>
                  </a:cxn>
                  <a:cxn ang="0">
                    <a:pos x="12" y="8"/>
                  </a:cxn>
                  <a:cxn ang="0">
                    <a:pos x="4" y="4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8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6" y="4"/>
                  </a:cxn>
                  <a:cxn ang="0">
                    <a:pos x="24" y="8"/>
                  </a:cxn>
                  <a:cxn ang="0">
                    <a:pos x="32" y="4"/>
                  </a:cxn>
                  <a:cxn ang="0">
                    <a:pos x="36" y="8"/>
                  </a:cxn>
                  <a:cxn ang="0">
                    <a:pos x="40" y="8"/>
                  </a:cxn>
                  <a:cxn ang="0">
                    <a:pos x="48" y="12"/>
                  </a:cxn>
                  <a:cxn ang="0">
                    <a:pos x="52" y="12"/>
                  </a:cxn>
                  <a:cxn ang="0">
                    <a:pos x="56" y="16"/>
                  </a:cxn>
                  <a:cxn ang="0">
                    <a:pos x="56" y="16"/>
                  </a:cxn>
                  <a:cxn ang="0">
                    <a:pos x="60" y="20"/>
                  </a:cxn>
                  <a:cxn ang="0">
                    <a:pos x="68" y="16"/>
                  </a:cxn>
                  <a:cxn ang="0">
                    <a:pos x="68" y="16"/>
                  </a:cxn>
                  <a:cxn ang="0">
                    <a:pos x="72" y="16"/>
                  </a:cxn>
                  <a:cxn ang="0">
                    <a:pos x="76" y="16"/>
                  </a:cxn>
                  <a:cxn ang="0">
                    <a:pos x="76" y="16"/>
                  </a:cxn>
                  <a:cxn ang="0">
                    <a:pos x="80" y="20"/>
                  </a:cxn>
                  <a:cxn ang="0">
                    <a:pos x="80" y="20"/>
                  </a:cxn>
                  <a:cxn ang="0">
                    <a:pos x="84" y="20"/>
                  </a:cxn>
                  <a:cxn ang="0">
                    <a:pos x="84" y="23"/>
                  </a:cxn>
                  <a:cxn ang="0">
                    <a:pos x="92" y="31"/>
                  </a:cxn>
                  <a:cxn ang="0">
                    <a:pos x="96" y="35"/>
                  </a:cxn>
                  <a:cxn ang="0">
                    <a:pos x="96" y="35"/>
                  </a:cxn>
                  <a:cxn ang="0">
                    <a:pos x="92" y="35"/>
                  </a:cxn>
                  <a:cxn ang="0">
                    <a:pos x="96" y="43"/>
                  </a:cxn>
                  <a:cxn ang="0">
                    <a:pos x="100" y="47"/>
                  </a:cxn>
                  <a:cxn ang="0">
                    <a:pos x="100" y="51"/>
                  </a:cxn>
                  <a:cxn ang="0">
                    <a:pos x="96" y="47"/>
                  </a:cxn>
                  <a:cxn ang="0">
                    <a:pos x="92" y="47"/>
                  </a:cxn>
                  <a:cxn ang="0">
                    <a:pos x="88" y="47"/>
                  </a:cxn>
                  <a:cxn ang="0">
                    <a:pos x="84" y="47"/>
                  </a:cxn>
                  <a:cxn ang="0">
                    <a:pos x="80" y="43"/>
                  </a:cxn>
                  <a:cxn ang="0">
                    <a:pos x="76" y="47"/>
                  </a:cxn>
                  <a:cxn ang="0">
                    <a:pos x="72" y="47"/>
                  </a:cxn>
                  <a:cxn ang="0">
                    <a:pos x="64" y="47"/>
                  </a:cxn>
                  <a:cxn ang="0">
                    <a:pos x="60" y="47"/>
                  </a:cxn>
                  <a:cxn ang="0">
                    <a:pos x="56" y="51"/>
                  </a:cxn>
                  <a:cxn ang="0">
                    <a:pos x="52" y="51"/>
                  </a:cxn>
                  <a:cxn ang="0">
                    <a:pos x="52" y="47"/>
                  </a:cxn>
                  <a:cxn ang="0">
                    <a:pos x="44" y="43"/>
                  </a:cxn>
                  <a:cxn ang="0">
                    <a:pos x="40" y="39"/>
                  </a:cxn>
                </a:cxnLst>
                <a:rect l="0" t="0" r="r" b="b"/>
                <a:pathLst>
                  <a:path w="100" h="51">
                    <a:moveTo>
                      <a:pt x="40" y="39"/>
                    </a:moveTo>
                    <a:lnTo>
                      <a:pt x="40" y="43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36" y="43"/>
                    </a:lnTo>
                    <a:lnTo>
                      <a:pt x="32" y="43"/>
                    </a:lnTo>
                    <a:lnTo>
                      <a:pt x="32" y="43"/>
                    </a:lnTo>
                    <a:lnTo>
                      <a:pt x="32" y="43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8" y="43"/>
                    </a:lnTo>
                    <a:lnTo>
                      <a:pt x="24" y="43"/>
                    </a:lnTo>
                    <a:lnTo>
                      <a:pt x="24" y="43"/>
                    </a:lnTo>
                    <a:lnTo>
                      <a:pt x="24" y="43"/>
                    </a:lnTo>
                    <a:lnTo>
                      <a:pt x="24" y="39"/>
                    </a:lnTo>
                    <a:lnTo>
                      <a:pt x="24" y="39"/>
                    </a:lnTo>
                    <a:lnTo>
                      <a:pt x="24" y="39"/>
                    </a:lnTo>
                    <a:lnTo>
                      <a:pt x="24" y="39"/>
                    </a:lnTo>
                    <a:lnTo>
                      <a:pt x="24" y="35"/>
                    </a:lnTo>
                    <a:lnTo>
                      <a:pt x="28" y="35"/>
                    </a:lnTo>
                    <a:lnTo>
                      <a:pt x="28" y="35"/>
                    </a:lnTo>
                    <a:lnTo>
                      <a:pt x="28" y="35"/>
                    </a:lnTo>
                    <a:lnTo>
                      <a:pt x="24" y="31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4" y="27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0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8" y="23"/>
                    </a:lnTo>
                    <a:lnTo>
                      <a:pt x="84" y="23"/>
                    </a:lnTo>
                    <a:lnTo>
                      <a:pt x="84" y="23"/>
                    </a:lnTo>
                    <a:lnTo>
                      <a:pt x="84" y="27"/>
                    </a:lnTo>
                    <a:lnTo>
                      <a:pt x="84" y="27"/>
                    </a:lnTo>
                    <a:lnTo>
                      <a:pt x="84" y="27"/>
                    </a:lnTo>
                    <a:lnTo>
                      <a:pt x="92" y="31"/>
                    </a:lnTo>
                    <a:lnTo>
                      <a:pt x="92" y="31"/>
                    </a:lnTo>
                    <a:lnTo>
                      <a:pt x="92" y="31"/>
                    </a:lnTo>
                    <a:lnTo>
                      <a:pt x="96" y="31"/>
                    </a:lnTo>
                    <a:lnTo>
                      <a:pt x="96" y="31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96" y="35"/>
                    </a:lnTo>
                    <a:lnTo>
                      <a:pt x="92" y="35"/>
                    </a:lnTo>
                    <a:lnTo>
                      <a:pt x="92" y="35"/>
                    </a:lnTo>
                    <a:lnTo>
                      <a:pt x="92" y="35"/>
                    </a:lnTo>
                    <a:lnTo>
                      <a:pt x="92" y="39"/>
                    </a:lnTo>
                    <a:lnTo>
                      <a:pt x="92" y="39"/>
                    </a:lnTo>
                    <a:lnTo>
                      <a:pt x="92" y="39"/>
                    </a:lnTo>
                    <a:lnTo>
                      <a:pt x="92" y="39"/>
                    </a:lnTo>
                    <a:lnTo>
                      <a:pt x="96" y="43"/>
                    </a:lnTo>
                    <a:lnTo>
                      <a:pt x="96" y="43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100" y="43"/>
                    </a:lnTo>
                    <a:lnTo>
                      <a:pt x="100" y="47"/>
                    </a:lnTo>
                    <a:lnTo>
                      <a:pt x="100" y="47"/>
                    </a:lnTo>
                    <a:lnTo>
                      <a:pt x="100" y="47"/>
                    </a:lnTo>
                    <a:lnTo>
                      <a:pt x="100" y="47"/>
                    </a:lnTo>
                    <a:lnTo>
                      <a:pt x="100" y="51"/>
                    </a:lnTo>
                    <a:lnTo>
                      <a:pt x="100" y="51"/>
                    </a:lnTo>
                    <a:lnTo>
                      <a:pt x="96" y="51"/>
                    </a:lnTo>
                    <a:lnTo>
                      <a:pt x="96" y="51"/>
                    </a:lnTo>
                    <a:lnTo>
                      <a:pt x="96" y="51"/>
                    </a:lnTo>
                    <a:lnTo>
                      <a:pt x="96" y="51"/>
                    </a:lnTo>
                    <a:lnTo>
                      <a:pt x="96" y="47"/>
                    </a:lnTo>
                    <a:lnTo>
                      <a:pt x="96" y="47"/>
                    </a:lnTo>
                    <a:lnTo>
                      <a:pt x="92" y="47"/>
                    </a:lnTo>
                    <a:lnTo>
                      <a:pt x="92" y="47"/>
                    </a:lnTo>
                    <a:lnTo>
                      <a:pt x="92" y="47"/>
                    </a:lnTo>
                    <a:lnTo>
                      <a:pt x="92" y="47"/>
                    </a:lnTo>
                    <a:lnTo>
                      <a:pt x="92" y="47"/>
                    </a:lnTo>
                    <a:lnTo>
                      <a:pt x="92" y="47"/>
                    </a:lnTo>
                    <a:lnTo>
                      <a:pt x="88" y="47"/>
                    </a:lnTo>
                    <a:lnTo>
                      <a:pt x="88" y="47"/>
                    </a:lnTo>
                    <a:lnTo>
                      <a:pt x="88" y="47"/>
                    </a:lnTo>
                    <a:lnTo>
                      <a:pt x="88" y="47"/>
                    </a:lnTo>
                    <a:lnTo>
                      <a:pt x="88" y="47"/>
                    </a:lnTo>
                    <a:lnTo>
                      <a:pt x="88" y="47"/>
                    </a:lnTo>
                    <a:lnTo>
                      <a:pt x="88" y="47"/>
                    </a:lnTo>
                    <a:lnTo>
                      <a:pt x="84" y="47"/>
                    </a:lnTo>
                    <a:lnTo>
                      <a:pt x="84" y="47"/>
                    </a:lnTo>
                    <a:lnTo>
                      <a:pt x="84" y="43"/>
                    </a:lnTo>
                    <a:lnTo>
                      <a:pt x="84" y="43"/>
                    </a:lnTo>
                    <a:lnTo>
                      <a:pt x="80" y="43"/>
                    </a:lnTo>
                    <a:lnTo>
                      <a:pt x="80" y="43"/>
                    </a:lnTo>
                    <a:lnTo>
                      <a:pt x="80" y="43"/>
                    </a:lnTo>
                    <a:lnTo>
                      <a:pt x="80" y="43"/>
                    </a:lnTo>
                    <a:lnTo>
                      <a:pt x="76" y="43"/>
                    </a:lnTo>
                    <a:lnTo>
                      <a:pt x="76" y="43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68" y="47"/>
                    </a:lnTo>
                    <a:lnTo>
                      <a:pt x="68" y="47"/>
                    </a:lnTo>
                    <a:lnTo>
                      <a:pt x="68" y="47"/>
                    </a:lnTo>
                    <a:lnTo>
                      <a:pt x="64" y="47"/>
                    </a:lnTo>
                    <a:lnTo>
                      <a:pt x="64" y="47"/>
                    </a:lnTo>
                    <a:lnTo>
                      <a:pt x="64" y="47"/>
                    </a:lnTo>
                    <a:lnTo>
                      <a:pt x="64" y="47"/>
                    </a:lnTo>
                    <a:lnTo>
                      <a:pt x="60" y="47"/>
                    </a:lnTo>
                    <a:lnTo>
                      <a:pt x="60" y="47"/>
                    </a:lnTo>
                    <a:lnTo>
                      <a:pt x="60" y="47"/>
                    </a:lnTo>
                    <a:lnTo>
                      <a:pt x="56" y="47"/>
                    </a:lnTo>
                    <a:lnTo>
                      <a:pt x="56" y="47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52" y="51"/>
                    </a:lnTo>
                    <a:lnTo>
                      <a:pt x="52" y="51"/>
                    </a:lnTo>
                    <a:lnTo>
                      <a:pt x="52" y="51"/>
                    </a:lnTo>
                    <a:lnTo>
                      <a:pt x="52" y="51"/>
                    </a:lnTo>
                    <a:lnTo>
                      <a:pt x="52" y="51"/>
                    </a:lnTo>
                    <a:lnTo>
                      <a:pt x="52" y="47"/>
                    </a:lnTo>
                    <a:lnTo>
                      <a:pt x="52" y="47"/>
                    </a:lnTo>
                    <a:lnTo>
                      <a:pt x="52" y="47"/>
                    </a:lnTo>
                    <a:lnTo>
                      <a:pt x="52" y="47"/>
                    </a:lnTo>
                    <a:lnTo>
                      <a:pt x="48" y="47"/>
                    </a:lnTo>
                    <a:lnTo>
                      <a:pt x="48" y="47"/>
                    </a:lnTo>
                    <a:lnTo>
                      <a:pt x="44" y="43"/>
                    </a:lnTo>
                    <a:lnTo>
                      <a:pt x="44" y="43"/>
                    </a:lnTo>
                    <a:lnTo>
                      <a:pt x="44" y="43"/>
                    </a:lnTo>
                    <a:lnTo>
                      <a:pt x="44" y="39"/>
                    </a:lnTo>
                    <a:lnTo>
                      <a:pt x="40" y="39"/>
                    </a:lnTo>
                    <a:lnTo>
                      <a:pt x="40" y="39"/>
                    </a:lnTo>
                    <a:lnTo>
                      <a:pt x="40" y="39"/>
                    </a:lnTo>
                    <a:lnTo>
                      <a:pt x="40" y="39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2" name="Freeform 16">
                <a:extLst>
                  <a:ext uri="{FF2B5EF4-FFF2-40B4-BE49-F238E27FC236}">
                    <a16:creationId xmlns:a16="http://schemas.microsoft.com/office/drawing/2014/main" id="{303622F5-14E1-49A0-A843-A1A6DE2F18A4}"/>
                  </a:ext>
                </a:extLst>
              </p:cNvPr>
              <p:cNvSpPr>
                <a:spLocks noEditPoint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5096545" y="5116313"/>
                <a:ext cx="559219" cy="694592"/>
              </a:xfrm>
              <a:custGeom>
                <a:avLst/>
                <a:gdLst/>
                <a:ahLst/>
                <a:cxnLst>
                  <a:cxn ang="0">
                    <a:pos x="32" y="220"/>
                  </a:cxn>
                  <a:cxn ang="0">
                    <a:pos x="36" y="196"/>
                  </a:cxn>
                  <a:cxn ang="0">
                    <a:pos x="28" y="160"/>
                  </a:cxn>
                  <a:cxn ang="0">
                    <a:pos x="56" y="148"/>
                  </a:cxn>
                  <a:cxn ang="0">
                    <a:pos x="88" y="104"/>
                  </a:cxn>
                  <a:cxn ang="0">
                    <a:pos x="99" y="72"/>
                  </a:cxn>
                  <a:cxn ang="0">
                    <a:pos x="88" y="40"/>
                  </a:cxn>
                  <a:cxn ang="0">
                    <a:pos x="103" y="20"/>
                  </a:cxn>
                  <a:cxn ang="0">
                    <a:pos x="139" y="8"/>
                  </a:cxn>
                  <a:cxn ang="0">
                    <a:pos x="163" y="24"/>
                  </a:cxn>
                  <a:cxn ang="0">
                    <a:pos x="167" y="64"/>
                  </a:cxn>
                  <a:cxn ang="0">
                    <a:pos x="159" y="84"/>
                  </a:cxn>
                  <a:cxn ang="0">
                    <a:pos x="195" y="108"/>
                  </a:cxn>
                  <a:cxn ang="0">
                    <a:pos x="187" y="140"/>
                  </a:cxn>
                  <a:cxn ang="0">
                    <a:pos x="227" y="160"/>
                  </a:cxn>
                  <a:cxn ang="0">
                    <a:pos x="255" y="176"/>
                  </a:cxn>
                  <a:cxn ang="0">
                    <a:pos x="291" y="180"/>
                  </a:cxn>
                  <a:cxn ang="0">
                    <a:pos x="303" y="152"/>
                  </a:cxn>
                  <a:cxn ang="0">
                    <a:pos x="331" y="176"/>
                  </a:cxn>
                  <a:cxn ang="0">
                    <a:pos x="363" y="164"/>
                  </a:cxn>
                  <a:cxn ang="0">
                    <a:pos x="379" y="140"/>
                  </a:cxn>
                  <a:cxn ang="0">
                    <a:pos x="415" y="124"/>
                  </a:cxn>
                  <a:cxn ang="0">
                    <a:pos x="427" y="144"/>
                  </a:cxn>
                  <a:cxn ang="0">
                    <a:pos x="435" y="164"/>
                  </a:cxn>
                  <a:cxn ang="0">
                    <a:pos x="403" y="196"/>
                  </a:cxn>
                  <a:cxn ang="0">
                    <a:pos x="379" y="228"/>
                  </a:cxn>
                  <a:cxn ang="0">
                    <a:pos x="379" y="260"/>
                  </a:cxn>
                  <a:cxn ang="0">
                    <a:pos x="367" y="240"/>
                  </a:cxn>
                  <a:cxn ang="0">
                    <a:pos x="351" y="244"/>
                  </a:cxn>
                  <a:cxn ang="0">
                    <a:pos x="367" y="212"/>
                  </a:cxn>
                  <a:cxn ang="0">
                    <a:pos x="327" y="196"/>
                  </a:cxn>
                  <a:cxn ang="0">
                    <a:pos x="311" y="180"/>
                  </a:cxn>
                  <a:cxn ang="0">
                    <a:pos x="315" y="204"/>
                  </a:cxn>
                  <a:cxn ang="0">
                    <a:pos x="307" y="220"/>
                  </a:cxn>
                  <a:cxn ang="0">
                    <a:pos x="315" y="268"/>
                  </a:cxn>
                  <a:cxn ang="0">
                    <a:pos x="307" y="276"/>
                  </a:cxn>
                  <a:cxn ang="0">
                    <a:pos x="299" y="260"/>
                  </a:cxn>
                  <a:cxn ang="0">
                    <a:pos x="279" y="295"/>
                  </a:cxn>
                  <a:cxn ang="0">
                    <a:pos x="259" y="307"/>
                  </a:cxn>
                  <a:cxn ang="0">
                    <a:pos x="239" y="335"/>
                  </a:cxn>
                  <a:cxn ang="0">
                    <a:pos x="215" y="363"/>
                  </a:cxn>
                  <a:cxn ang="0">
                    <a:pos x="191" y="379"/>
                  </a:cxn>
                  <a:cxn ang="0">
                    <a:pos x="179" y="423"/>
                  </a:cxn>
                  <a:cxn ang="0">
                    <a:pos x="175" y="455"/>
                  </a:cxn>
                  <a:cxn ang="0">
                    <a:pos x="163" y="491"/>
                  </a:cxn>
                  <a:cxn ang="0">
                    <a:pos x="139" y="523"/>
                  </a:cxn>
                  <a:cxn ang="0">
                    <a:pos x="119" y="491"/>
                  </a:cxn>
                  <a:cxn ang="0">
                    <a:pos x="111" y="459"/>
                  </a:cxn>
                  <a:cxn ang="0">
                    <a:pos x="92" y="411"/>
                  </a:cxn>
                  <a:cxn ang="0">
                    <a:pos x="80" y="383"/>
                  </a:cxn>
                  <a:cxn ang="0">
                    <a:pos x="72" y="331"/>
                  </a:cxn>
                  <a:cxn ang="0">
                    <a:pos x="68" y="307"/>
                  </a:cxn>
                  <a:cxn ang="0">
                    <a:pos x="68" y="272"/>
                  </a:cxn>
                  <a:cxn ang="0">
                    <a:pos x="68" y="260"/>
                  </a:cxn>
                  <a:cxn ang="0">
                    <a:pos x="56" y="284"/>
                  </a:cxn>
                  <a:cxn ang="0">
                    <a:pos x="12" y="264"/>
                  </a:cxn>
                  <a:cxn ang="0">
                    <a:pos x="36" y="244"/>
                  </a:cxn>
                  <a:cxn ang="0">
                    <a:pos x="8" y="232"/>
                  </a:cxn>
                  <a:cxn ang="0">
                    <a:pos x="367" y="463"/>
                  </a:cxn>
                  <a:cxn ang="0">
                    <a:pos x="387" y="539"/>
                  </a:cxn>
                  <a:cxn ang="0">
                    <a:pos x="371" y="435"/>
                  </a:cxn>
                  <a:cxn ang="0">
                    <a:pos x="371" y="459"/>
                  </a:cxn>
                  <a:cxn ang="0">
                    <a:pos x="367" y="475"/>
                  </a:cxn>
                </a:cxnLst>
                <a:rect l="0" t="0" r="r" b="b"/>
                <a:pathLst>
                  <a:path w="443" h="551">
                    <a:moveTo>
                      <a:pt x="0" y="232"/>
                    </a:moveTo>
                    <a:lnTo>
                      <a:pt x="0" y="228"/>
                    </a:lnTo>
                    <a:lnTo>
                      <a:pt x="4" y="228"/>
                    </a:lnTo>
                    <a:lnTo>
                      <a:pt x="8" y="228"/>
                    </a:lnTo>
                    <a:lnTo>
                      <a:pt x="8" y="224"/>
                    </a:lnTo>
                    <a:lnTo>
                      <a:pt x="8" y="220"/>
                    </a:lnTo>
                    <a:lnTo>
                      <a:pt x="12" y="220"/>
                    </a:lnTo>
                    <a:lnTo>
                      <a:pt x="12" y="224"/>
                    </a:lnTo>
                    <a:lnTo>
                      <a:pt x="16" y="224"/>
                    </a:lnTo>
                    <a:lnTo>
                      <a:pt x="20" y="224"/>
                    </a:lnTo>
                    <a:lnTo>
                      <a:pt x="24" y="224"/>
                    </a:lnTo>
                    <a:lnTo>
                      <a:pt x="28" y="224"/>
                    </a:lnTo>
                    <a:lnTo>
                      <a:pt x="28" y="220"/>
                    </a:lnTo>
                    <a:lnTo>
                      <a:pt x="32" y="220"/>
                    </a:lnTo>
                    <a:lnTo>
                      <a:pt x="36" y="220"/>
                    </a:lnTo>
                    <a:lnTo>
                      <a:pt x="36" y="224"/>
                    </a:lnTo>
                    <a:lnTo>
                      <a:pt x="40" y="224"/>
                    </a:lnTo>
                    <a:lnTo>
                      <a:pt x="40" y="220"/>
                    </a:lnTo>
                    <a:lnTo>
                      <a:pt x="44" y="220"/>
                    </a:lnTo>
                    <a:lnTo>
                      <a:pt x="40" y="220"/>
                    </a:lnTo>
                    <a:lnTo>
                      <a:pt x="40" y="216"/>
                    </a:lnTo>
                    <a:lnTo>
                      <a:pt x="44" y="216"/>
                    </a:lnTo>
                    <a:lnTo>
                      <a:pt x="40" y="212"/>
                    </a:lnTo>
                    <a:lnTo>
                      <a:pt x="40" y="208"/>
                    </a:lnTo>
                    <a:lnTo>
                      <a:pt x="40" y="204"/>
                    </a:lnTo>
                    <a:lnTo>
                      <a:pt x="36" y="204"/>
                    </a:lnTo>
                    <a:lnTo>
                      <a:pt x="36" y="200"/>
                    </a:lnTo>
                    <a:lnTo>
                      <a:pt x="36" y="196"/>
                    </a:lnTo>
                    <a:lnTo>
                      <a:pt x="32" y="196"/>
                    </a:lnTo>
                    <a:lnTo>
                      <a:pt x="28" y="192"/>
                    </a:lnTo>
                    <a:lnTo>
                      <a:pt x="28" y="188"/>
                    </a:lnTo>
                    <a:lnTo>
                      <a:pt x="28" y="184"/>
                    </a:lnTo>
                    <a:lnTo>
                      <a:pt x="28" y="180"/>
                    </a:lnTo>
                    <a:lnTo>
                      <a:pt x="28" y="176"/>
                    </a:lnTo>
                    <a:lnTo>
                      <a:pt x="24" y="176"/>
                    </a:lnTo>
                    <a:lnTo>
                      <a:pt x="20" y="176"/>
                    </a:lnTo>
                    <a:lnTo>
                      <a:pt x="20" y="172"/>
                    </a:lnTo>
                    <a:lnTo>
                      <a:pt x="20" y="168"/>
                    </a:lnTo>
                    <a:lnTo>
                      <a:pt x="20" y="164"/>
                    </a:lnTo>
                    <a:lnTo>
                      <a:pt x="24" y="164"/>
                    </a:lnTo>
                    <a:lnTo>
                      <a:pt x="24" y="160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6" y="148"/>
                    </a:lnTo>
                    <a:lnTo>
                      <a:pt x="36" y="152"/>
                    </a:lnTo>
                    <a:lnTo>
                      <a:pt x="36" y="156"/>
                    </a:lnTo>
                    <a:lnTo>
                      <a:pt x="40" y="156"/>
                    </a:lnTo>
                    <a:lnTo>
                      <a:pt x="44" y="156"/>
                    </a:lnTo>
                    <a:lnTo>
                      <a:pt x="44" y="152"/>
                    </a:lnTo>
                    <a:lnTo>
                      <a:pt x="48" y="152"/>
                    </a:lnTo>
                    <a:lnTo>
                      <a:pt x="52" y="152"/>
                    </a:lnTo>
                    <a:lnTo>
                      <a:pt x="56" y="152"/>
                    </a:lnTo>
                    <a:lnTo>
                      <a:pt x="56" y="148"/>
                    </a:lnTo>
                    <a:lnTo>
                      <a:pt x="60" y="144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64" y="136"/>
                    </a:lnTo>
                    <a:lnTo>
                      <a:pt x="64" y="132"/>
                    </a:lnTo>
                    <a:lnTo>
                      <a:pt x="68" y="132"/>
                    </a:lnTo>
                    <a:lnTo>
                      <a:pt x="72" y="132"/>
                    </a:lnTo>
                    <a:lnTo>
                      <a:pt x="72" y="128"/>
                    </a:lnTo>
                    <a:lnTo>
                      <a:pt x="76" y="120"/>
                    </a:lnTo>
                    <a:lnTo>
                      <a:pt x="76" y="116"/>
                    </a:lnTo>
                    <a:lnTo>
                      <a:pt x="80" y="112"/>
                    </a:lnTo>
                    <a:lnTo>
                      <a:pt x="84" y="112"/>
                    </a:lnTo>
                    <a:lnTo>
                      <a:pt x="88" y="108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8" y="100"/>
                    </a:lnTo>
                    <a:lnTo>
                      <a:pt x="92" y="96"/>
                    </a:lnTo>
                    <a:lnTo>
                      <a:pt x="92" y="92"/>
                    </a:lnTo>
                    <a:lnTo>
                      <a:pt x="96" y="92"/>
                    </a:lnTo>
                    <a:lnTo>
                      <a:pt x="99" y="88"/>
                    </a:lnTo>
                    <a:lnTo>
                      <a:pt x="96" y="88"/>
                    </a:lnTo>
                    <a:lnTo>
                      <a:pt x="96" y="92"/>
                    </a:lnTo>
                    <a:lnTo>
                      <a:pt x="96" y="88"/>
                    </a:lnTo>
                    <a:lnTo>
                      <a:pt x="96" y="84"/>
                    </a:lnTo>
                    <a:lnTo>
                      <a:pt x="96" y="80"/>
                    </a:lnTo>
                    <a:lnTo>
                      <a:pt x="96" y="76"/>
                    </a:lnTo>
                    <a:lnTo>
                      <a:pt x="96" y="72"/>
                    </a:lnTo>
                    <a:lnTo>
                      <a:pt x="99" y="72"/>
                    </a:lnTo>
                    <a:lnTo>
                      <a:pt x="103" y="72"/>
                    </a:lnTo>
                    <a:lnTo>
                      <a:pt x="107" y="72"/>
                    </a:lnTo>
                    <a:lnTo>
                      <a:pt x="107" y="68"/>
                    </a:lnTo>
                    <a:lnTo>
                      <a:pt x="107" y="64"/>
                    </a:lnTo>
                    <a:lnTo>
                      <a:pt x="103" y="64"/>
                    </a:lnTo>
                    <a:lnTo>
                      <a:pt x="99" y="64"/>
                    </a:lnTo>
                    <a:lnTo>
                      <a:pt x="96" y="60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2" y="52"/>
                    </a:lnTo>
                    <a:lnTo>
                      <a:pt x="88" y="48"/>
                    </a:lnTo>
                    <a:lnTo>
                      <a:pt x="88" y="44"/>
                    </a:lnTo>
                    <a:lnTo>
                      <a:pt x="92" y="40"/>
                    </a:lnTo>
                    <a:lnTo>
                      <a:pt x="88" y="40"/>
                    </a:lnTo>
                    <a:lnTo>
                      <a:pt x="88" y="36"/>
                    </a:lnTo>
                    <a:lnTo>
                      <a:pt x="92" y="36"/>
                    </a:lnTo>
                    <a:lnTo>
                      <a:pt x="92" y="32"/>
                    </a:lnTo>
                    <a:lnTo>
                      <a:pt x="88" y="32"/>
                    </a:lnTo>
                    <a:lnTo>
                      <a:pt x="84" y="32"/>
                    </a:lnTo>
                    <a:lnTo>
                      <a:pt x="88" y="28"/>
                    </a:lnTo>
                    <a:lnTo>
                      <a:pt x="88" y="24"/>
                    </a:lnTo>
                    <a:lnTo>
                      <a:pt x="84" y="24"/>
                    </a:lnTo>
                    <a:lnTo>
                      <a:pt x="84" y="20"/>
                    </a:lnTo>
                    <a:lnTo>
                      <a:pt x="88" y="20"/>
                    </a:lnTo>
                    <a:lnTo>
                      <a:pt x="92" y="16"/>
                    </a:lnTo>
                    <a:lnTo>
                      <a:pt x="96" y="16"/>
                    </a:lnTo>
                    <a:lnTo>
                      <a:pt x="96" y="20"/>
                    </a:lnTo>
                    <a:lnTo>
                      <a:pt x="103" y="20"/>
                    </a:lnTo>
                    <a:lnTo>
                      <a:pt x="107" y="20"/>
                    </a:lnTo>
                    <a:lnTo>
                      <a:pt x="111" y="20"/>
                    </a:lnTo>
                    <a:lnTo>
                      <a:pt x="111" y="24"/>
                    </a:lnTo>
                    <a:lnTo>
                      <a:pt x="115" y="20"/>
                    </a:lnTo>
                    <a:lnTo>
                      <a:pt x="119" y="20"/>
                    </a:lnTo>
                    <a:lnTo>
                      <a:pt x="123" y="16"/>
                    </a:lnTo>
                    <a:lnTo>
                      <a:pt x="127" y="16"/>
                    </a:lnTo>
                    <a:lnTo>
                      <a:pt x="127" y="20"/>
                    </a:lnTo>
                    <a:lnTo>
                      <a:pt x="131" y="20"/>
                    </a:lnTo>
                    <a:lnTo>
                      <a:pt x="131" y="16"/>
                    </a:lnTo>
                    <a:lnTo>
                      <a:pt x="131" y="12"/>
                    </a:lnTo>
                    <a:lnTo>
                      <a:pt x="131" y="8"/>
                    </a:lnTo>
                    <a:lnTo>
                      <a:pt x="135" y="8"/>
                    </a:lnTo>
                    <a:lnTo>
                      <a:pt x="139" y="8"/>
                    </a:lnTo>
                    <a:lnTo>
                      <a:pt x="139" y="4"/>
                    </a:lnTo>
                    <a:lnTo>
                      <a:pt x="143" y="4"/>
                    </a:lnTo>
                    <a:lnTo>
                      <a:pt x="143" y="0"/>
                    </a:lnTo>
                    <a:lnTo>
                      <a:pt x="143" y="4"/>
                    </a:lnTo>
                    <a:lnTo>
                      <a:pt x="147" y="4"/>
                    </a:lnTo>
                    <a:lnTo>
                      <a:pt x="147" y="0"/>
                    </a:lnTo>
                    <a:lnTo>
                      <a:pt x="147" y="4"/>
                    </a:lnTo>
                    <a:lnTo>
                      <a:pt x="147" y="8"/>
                    </a:lnTo>
                    <a:lnTo>
                      <a:pt x="151" y="12"/>
                    </a:lnTo>
                    <a:lnTo>
                      <a:pt x="151" y="16"/>
                    </a:lnTo>
                    <a:lnTo>
                      <a:pt x="151" y="20"/>
                    </a:lnTo>
                    <a:lnTo>
                      <a:pt x="155" y="20"/>
                    </a:lnTo>
                    <a:lnTo>
                      <a:pt x="159" y="20"/>
                    </a:lnTo>
                    <a:lnTo>
                      <a:pt x="163" y="24"/>
                    </a:lnTo>
                    <a:lnTo>
                      <a:pt x="163" y="28"/>
                    </a:lnTo>
                    <a:lnTo>
                      <a:pt x="159" y="28"/>
                    </a:lnTo>
                    <a:lnTo>
                      <a:pt x="159" y="32"/>
                    </a:lnTo>
                    <a:lnTo>
                      <a:pt x="159" y="36"/>
                    </a:lnTo>
                    <a:lnTo>
                      <a:pt x="159" y="40"/>
                    </a:lnTo>
                    <a:lnTo>
                      <a:pt x="159" y="44"/>
                    </a:lnTo>
                    <a:lnTo>
                      <a:pt x="163" y="44"/>
                    </a:lnTo>
                    <a:lnTo>
                      <a:pt x="163" y="48"/>
                    </a:lnTo>
                    <a:lnTo>
                      <a:pt x="167" y="48"/>
                    </a:lnTo>
                    <a:lnTo>
                      <a:pt x="167" y="52"/>
                    </a:lnTo>
                    <a:lnTo>
                      <a:pt x="167" y="56"/>
                    </a:lnTo>
                    <a:lnTo>
                      <a:pt x="171" y="56"/>
                    </a:lnTo>
                    <a:lnTo>
                      <a:pt x="171" y="60"/>
                    </a:lnTo>
                    <a:lnTo>
                      <a:pt x="167" y="64"/>
                    </a:lnTo>
                    <a:lnTo>
                      <a:pt x="167" y="60"/>
                    </a:lnTo>
                    <a:lnTo>
                      <a:pt x="163" y="64"/>
                    </a:lnTo>
                    <a:lnTo>
                      <a:pt x="159" y="64"/>
                    </a:lnTo>
                    <a:lnTo>
                      <a:pt x="159" y="60"/>
                    </a:lnTo>
                    <a:lnTo>
                      <a:pt x="155" y="60"/>
                    </a:lnTo>
                    <a:lnTo>
                      <a:pt x="155" y="64"/>
                    </a:lnTo>
                    <a:lnTo>
                      <a:pt x="155" y="68"/>
                    </a:lnTo>
                    <a:lnTo>
                      <a:pt x="155" y="72"/>
                    </a:lnTo>
                    <a:lnTo>
                      <a:pt x="159" y="72"/>
                    </a:lnTo>
                    <a:lnTo>
                      <a:pt x="159" y="76"/>
                    </a:lnTo>
                    <a:lnTo>
                      <a:pt x="159" y="80"/>
                    </a:lnTo>
                    <a:lnTo>
                      <a:pt x="159" y="84"/>
                    </a:lnTo>
                    <a:lnTo>
                      <a:pt x="159" y="88"/>
                    </a:lnTo>
                    <a:lnTo>
                      <a:pt x="159" y="84"/>
                    </a:lnTo>
                    <a:lnTo>
                      <a:pt x="163" y="84"/>
                    </a:lnTo>
                    <a:lnTo>
                      <a:pt x="167" y="84"/>
                    </a:lnTo>
                    <a:lnTo>
                      <a:pt x="167" y="88"/>
                    </a:lnTo>
                    <a:lnTo>
                      <a:pt x="167" y="92"/>
                    </a:lnTo>
                    <a:lnTo>
                      <a:pt x="171" y="92"/>
                    </a:lnTo>
                    <a:lnTo>
                      <a:pt x="175" y="92"/>
                    </a:lnTo>
                    <a:lnTo>
                      <a:pt x="179" y="96"/>
                    </a:lnTo>
                    <a:lnTo>
                      <a:pt x="183" y="96"/>
                    </a:lnTo>
                    <a:lnTo>
                      <a:pt x="179" y="100"/>
                    </a:lnTo>
                    <a:lnTo>
                      <a:pt x="183" y="100"/>
                    </a:lnTo>
                    <a:lnTo>
                      <a:pt x="187" y="104"/>
                    </a:lnTo>
                    <a:lnTo>
                      <a:pt x="191" y="104"/>
                    </a:lnTo>
                    <a:lnTo>
                      <a:pt x="191" y="108"/>
                    </a:lnTo>
                    <a:lnTo>
                      <a:pt x="195" y="108"/>
                    </a:lnTo>
                    <a:lnTo>
                      <a:pt x="191" y="108"/>
                    </a:lnTo>
                    <a:lnTo>
                      <a:pt x="187" y="112"/>
                    </a:lnTo>
                    <a:lnTo>
                      <a:pt x="187" y="116"/>
                    </a:lnTo>
                    <a:lnTo>
                      <a:pt x="183" y="116"/>
                    </a:lnTo>
                    <a:lnTo>
                      <a:pt x="183" y="120"/>
                    </a:lnTo>
                    <a:lnTo>
                      <a:pt x="179" y="124"/>
                    </a:lnTo>
                    <a:lnTo>
                      <a:pt x="183" y="124"/>
                    </a:lnTo>
                    <a:lnTo>
                      <a:pt x="183" y="128"/>
                    </a:lnTo>
                    <a:lnTo>
                      <a:pt x="179" y="128"/>
                    </a:lnTo>
                    <a:lnTo>
                      <a:pt x="179" y="132"/>
                    </a:lnTo>
                    <a:lnTo>
                      <a:pt x="179" y="136"/>
                    </a:lnTo>
                    <a:lnTo>
                      <a:pt x="183" y="136"/>
                    </a:lnTo>
                    <a:lnTo>
                      <a:pt x="183" y="140"/>
                    </a:lnTo>
                    <a:lnTo>
                      <a:pt x="187" y="140"/>
                    </a:lnTo>
                    <a:lnTo>
                      <a:pt x="187" y="136"/>
                    </a:lnTo>
                    <a:lnTo>
                      <a:pt x="187" y="140"/>
                    </a:lnTo>
                    <a:lnTo>
                      <a:pt x="191" y="140"/>
                    </a:lnTo>
                    <a:lnTo>
                      <a:pt x="195" y="144"/>
                    </a:lnTo>
                    <a:lnTo>
                      <a:pt x="199" y="148"/>
                    </a:lnTo>
                    <a:lnTo>
                      <a:pt x="203" y="152"/>
                    </a:lnTo>
                    <a:lnTo>
                      <a:pt x="207" y="152"/>
                    </a:lnTo>
                    <a:lnTo>
                      <a:pt x="211" y="152"/>
                    </a:lnTo>
                    <a:lnTo>
                      <a:pt x="211" y="156"/>
                    </a:lnTo>
                    <a:lnTo>
                      <a:pt x="215" y="156"/>
                    </a:lnTo>
                    <a:lnTo>
                      <a:pt x="219" y="156"/>
                    </a:lnTo>
                    <a:lnTo>
                      <a:pt x="219" y="160"/>
                    </a:lnTo>
                    <a:lnTo>
                      <a:pt x="223" y="160"/>
                    </a:lnTo>
                    <a:lnTo>
                      <a:pt x="227" y="160"/>
                    </a:lnTo>
                    <a:lnTo>
                      <a:pt x="227" y="164"/>
                    </a:lnTo>
                    <a:lnTo>
                      <a:pt x="227" y="160"/>
                    </a:lnTo>
                    <a:lnTo>
                      <a:pt x="231" y="160"/>
                    </a:lnTo>
                    <a:lnTo>
                      <a:pt x="235" y="160"/>
                    </a:lnTo>
                    <a:lnTo>
                      <a:pt x="235" y="164"/>
                    </a:lnTo>
                    <a:lnTo>
                      <a:pt x="235" y="160"/>
                    </a:lnTo>
                    <a:lnTo>
                      <a:pt x="239" y="160"/>
                    </a:lnTo>
                    <a:lnTo>
                      <a:pt x="243" y="164"/>
                    </a:lnTo>
                    <a:lnTo>
                      <a:pt x="247" y="164"/>
                    </a:lnTo>
                    <a:lnTo>
                      <a:pt x="247" y="168"/>
                    </a:lnTo>
                    <a:lnTo>
                      <a:pt x="251" y="168"/>
                    </a:lnTo>
                    <a:lnTo>
                      <a:pt x="251" y="172"/>
                    </a:lnTo>
                    <a:lnTo>
                      <a:pt x="255" y="172"/>
                    </a:lnTo>
                    <a:lnTo>
                      <a:pt x="255" y="176"/>
                    </a:lnTo>
                    <a:lnTo>
                      <a:pt x="259" y="176"/>
                    </a:lnTo>
                    <a:lnTo>
                      <a:pt x="259" y="172"/>
                    </a:lnTo>
                    <a:lnTo>
                      <a:pt x="263" y="172"/>
                    </a:lnTo>
                    <a:lnTo>
                      <a:pt x="263" y="176"/>
                    </a:lnTo>
                    <a:lnTo>
                      <a:pt x="267" y="180"/>
                    </a:lnTo>
                    <a:lnTo>
                      <a:pt x="267" y="176"/>
                    </a:lnTo>
                    <a:lnTo>
                      <a:pt x="271" y="176"/>
                    </a:lnTo>
                    <a:lnTo>
                      <a:pt x="275" y="176"/>
                    </a:lnTo>
                    <a:lnTo>
                      <a:pt x="275" y="180"/>
                    </a:lnTo>
                    <a:lnTo>
                      <a:pt x="279" y="180"/>
                    </a:lnTo>
                    <a:lnTo>
                      <a:pt x="283" y="180"/>
                    </a:lnTo>
                    <a:lnTo>
                      <a:pt x="287" y="180"/>
                    </a:lnTo>
                    <a:lnTo>
                      <a:pt x="287" y="184"/>
                    </a:lnTo>
                    <a:lnTo>
                      <a:pt x="291" y="180"/>
                    </a:lnTo>
                    <a:lnTo>
                      <a:pt x="295" y="180"/>
                    </a:lnTo>
                    <a:lnTo>
                      <a:pt x="299" y="180"/>
                    </a:lnTo>
                    <a:lnTo>
                      <a:pt x="299" y="184"/>
                    </a:lnTo>
                    <a:lnTo>
                      <a:pt x="299" y="180"/>
                    </a:lnTo>
                    <a:lnTo>
                      <a:pt x="303" y="176"/>
                    </a:lnTo>
                    <a:lnTo>
                      <a:pt x="303" y="172"/>
                    </a:lnTo>
                    <a:lnTo>
                      <a:pt x="299" y="172"/>
                    </a:lnTo>
                    <a:lnTo>
                      <a:pt x="299" y="168"/>
                    </a:lnTo>
                    <a:lnTo>
                      <a:pt x="299" y="164"/>
                    </a:lnTo>
                    <a:lnTo>
                      <a:pt x="299" y="160"/>
                    </a:lnTo>
                    <a:lnTo>
                      <a:pt x="303" y="156"/>
                    </a:lnTo>
                    <a:lnTo>
                      <a:pt x="303" y="152"/>
                    </a:lnTo>
                    <a:lnTo>
                      <a:pt x="299" y="152"/>
                    </a:lnTo>
                    <a:lnTo>
                      <a:pt x="303" y="152"/>
                    </a:lnTo>
                    <a:lnTo>
                      <a:pt x="307" y="148"/>
                    </a:lnTo>
                    <a:lnTo>
                      <a:pt x="311" y="148"/>
                    </a:lnTo>
                    <a:lnTo>
                      <a:pt x="311" y="152"/>
                    </a:lnTo>
                    <a:lnTo>
                      <a:pt x="311" y="156"/>
                    </a:lnTo>
                    <a:lnTo>
                      <a:pt x="311" y="160"/>
                    </a:lnTo>
                    <a:lnTo>
                      <a:pt x="311" y="164"/>
                    </a:lnTo>
                    <a:lnTo>
                      <a:pt x="311" y="168"/>
                    </a:lnTo>
                    <a:lnTo>
                      <a:pt x="311" y="172"/>
                    </a:lnTo>
                    <a:lnTo>
                      <a:pt x="315" y="172"/>
                    </a:lnTo>
                    <a:lnTo>
                      <a:pt x="319" y="172"/>
                    </a:lnTo>
                    <a:lnTo>
                      <a:pt x="323" y="172"/>
                    </a:lnTo>
                    <a:lnTo>
                      <a:pt x="323" y="176"/>
                    </a:lnTo>
                    <a:lnTo>
                      <a:pt x="327" y="176"/>
                    </a:lnTo>
                    <a:lnTo>
                      <a:pt x="331" y="176"/>
                    </a:lnTo>
                    <a:lnTo>
                      <a:pt x="331" y="172"/>
                    </a:lnTo>
                    <a:lnTo>
                      <a:pt x="335" y="172"/>
                    </a:lnTo>
                    <a:lnTo>
                      <a:pt x="339" y="172"/>
                    </a:lnTo>
                    <a:lnTo>
                      <a:pt x="339" y="176"/>
                    </a:lnTo>
                    <a:lnTo>
                      <a:pt x="343" y="176"/>
                    </a:lnTo>
                    <a:lnTo>
                      <a:pt x="347" y="172"/>
                    </a:lnTo>
                    <a:lnTo>
                      <a:pt x="347" y="176"/>
                    </a:lnTo>
                    <a:lnTo>
                      <a:pt x="351" y="176"/>
                    </a:lnTo>
                    <a:lnTo>
                      <a:pt x="351" y="172"/>
                    </a:lnTo>
                    <a:lnTo>
                      <a:pt x="355" y="172"/>
                    </a:lnTo>
                    <a:lnTo>
                      <a:pt x="359" y="172"/>
                    </a:lnTo>
                    <a:lnTo>
                      <a:pt x="363" y="172"/>
                    </a:lnTo>
                    <a:lnTo>
                      <a:pt x="359" y="168"/>
                    </a:lnTo>
                    <a:lnTo>
                      <a:pt x="363" y="164"/>
                    </a:lnTo>
                    <a:lnTo>
                      <a:pt x="359" y="164"/>
                    </a:lnTo>
                    <a:lnTo>
                      <a:pt x="359" y="160"/>
                    </a:lnTo>
                    <a:lnTo>
                      <a:pt x="355" y="160"/>
                    </a:lnTo>
                    <a:lnTo>
                      <a:pt x="355" y="156"/>
                    </a:lnTo>
                    <a:lnTo>
                      <a:pt x="359" y="156"/>
                    </a:lnTo>
                    <a:lnTo>
                      <a:pt x="363" y="156"/>
                    </a:lnTo>
                    <a:lnTo>
                      <a:pt x="363" y="152"/>
                    </a:lnTo>
                    <a:lnTo>
                      <a:pt x="363" y="156"/>
                    </a:lnTo>
                    <a:lnTo>
                      <a:pt x="367" y="152"/>
                    </a:lnTo>
                    <a:lnTo>
                      <a:pt x="371" y="152"/>
                    </a:lnTo>
                    <a:lnTo>
                      <a:pt x="371" y="148"/>
                    </a:lnTo>
                    <a:lnTo>
                      <a:pt x="375" y="144"/>
                    </a:lnTo>
                    <a:lnTo>
                      <a:pt x="379" y="144"/>
                    </a:lnTo>
                    <a:lnTo>
                      <a:pt x="379" y="140"/>
                    </a:lnTo>
                    <a:lnTo>
                      <a:pt x="383" y="136"/>
                    </a:lnTo>
                    <a:lnTo>
                      <a:pt x="387" y="136"/>
                    </a:lnTo>
                    <a:lnTo>
                      <a:pt x="391" y="136"/>
                    </a:lnTo>
                    <a:lnTo>
                      <a:pt x="391" y="132"/>
                    </a:lnTo>
                    <a:lnTo>
                      <a:pt x="395" y="128"/>
                    </a:lnTo>
                    <a:lnTo>
                      <a:pt x="399" y="128"/>
                    </a:lnTo>
                    <a:lnTo>
                      <a:pt x="399" y="124"/>
                    </a:lnTo>
                    <a:lnTo>
                      <a:pt x="403" y="124"/>
                    </a:lnTo>
                    <a:lnTo>
                      <a:pt x="403" y="128"/>
                    </a:lnTo>
                    <a:lnTo>
                      <a:pt x="407" y="128"/>
                    </a:lnTo>
                    <a:lnTo>
                      <a:pt x="411" y="132"/>
                    </a:lnTo>
                    <a:lnTo>
                      <a:pt x="411" y="128"/>
                    </a:lnTo>
                    <a:lnTo>
                      <a:pt x="415" y="128"/>
                    </a:lnTo>
                    <a:lnTo>
                      <a:pt x="415" y="124"/>
                    </a:lnTo>
                    <a:lnTo>
                      <a:pt x="419" y="124"/>
                    </a:lnTo>
                    <a:lnTo>
                      <a:pt x="423" y="120"/>
                    </a:lnTo>
                    <a:lnTo>
                      <a:pt x="423" y="124"/>
                    </a:lnTo>
                    <a:lnTo>
                      <a:pt x="423" y="128"/>
                    </a:lnTo>
                    <a:lnTo>
                      <a:pt x="427" y="124"/>
                    </a:lnTo>
                    <a:lnTo>
                      <a:pt x="427" y="128"/>
                    </a:lnTo>
                    <a:lnTo>
                      <a:pt x="423" y="128"/>
                    </a:lnTo>
                    <a:lnTo>
                      <a:pt x="423" y="132"/>
                    </a:lnTo>
                    <a:lnTo>
                      <a:pt x="427" y="132"/>
                    </a:lnTo>
                    <a:lnTo>
                      <a:pt x="427" y="128"/>
                    </a:lnTo>
                    <a:lnTo>
                      <a:pt x="427" y="132"/>
                    </a:lnTo>
                    <a:lnTo>
                      <a:pt x="431" y="136"/>
                    </a:lnTo>
                    <a:lnTo>
                      <a:pt x="427" y="140"/>
                    </a:lnTo>
                    <a:lnTo>
                      <a:pt x="427" y="144"/>
                    </a:lnTo>
                    <a:lnTo>
                      <a:pt x="431" y="140"/>
                    </a:lnTo>
                    <a:lnTo>
                      <a:pt x="431" y="144"/>
                    </a:lnTo>
                    <a:lnTo>
                      <a:pt x="435" y="144"/>
                    </a:lnTo>
                    <a:lnTo>
                      <a:pt x="439" y="144"/>
                    </a:lnTo>
                    <a:lnTo>
                      <a:pt x="439" y="148"/>
                    </a:lnTo>
                    <a:lnTo>
                      <a:pt x="443" y="152"/>
                    </a:lnTo>
                    <a:lnTo>
                      <a:pt x="439" y="152"/>
                    </a:lnTo>
                    <a:lnTo>
                      <a:pt x="439" y="156"/>
                    </a:lnTo>
                    <a:lnTo>
                      <a:pt x="435" y="156"/>
                    </a:lnTo>
                    <a:lnTo>
                      <a:pt x="435" y="160"/>
                    </a:lnTo>
                    <a:lnTo>
                      <a:pt x="435" y="164"/>
                    </a:lnTo>
                    <a:lnTo>
                      <a:pt x="439" y="168"/>
                    </a:lnTo>
                    <a:lnTo>
                      <a:pt x="435" y="168"/>
                    </a:lnTo>
                    <a:lnTo>
                      <a:pt x="435" y="164"/>
                    </a:lnTo>
                    <a:lnTo>
                      <a:pt x="431" y="164"/>
                    </a:lnTo>
                    <a:lnTo>
                      <a:pt x="427" y="164"/>
                    </a:lnTo>
                    <a:lnTo>
                      <a:pt x="423" y="164"/>
                    </a:lnTo>
                    <a:lnTo>
                      <a:pt x="419" y="168"/>
                    </a:lnTo>
                    <a:lnTo>
                      <a:pt x="415" y="172"/>
                    </a:lnTo>
                    <a:lnTo>
                      <a:pt x="411" y="172"/>
                    </a:lnTo>
                    <a:lnTo>
                      <a:pt x="411" y="176"/>
                    </a:lnTo>
                    <a:lnTo>
                      <a:pt x="407" y="176"/>
                    </a:lnTo>
                    <a:lnTo>
                      <a:pt x="407" y="180"/>
                    </a:lnTo>
                    <a:lnTo>
                      <a:pt x="407" y="184"/>
                    </a:lnTo>
                    <a:lnTo>
                      <a:pt x="407" y="188"/>
                    </a:lnTo>
                    <a:lnTo>
                      <a:pt x="407" y="192"/>
                    </a:lnTo>
                    <a:lnTo>
                      <a:pt x="407" y="196"/>
                    </a:lnTo>
                    <a:lnTo>
                      <a:pt x="403" y="196"/>
                    </a:lnTo>
                    <a:lnTo>
                      <a:pt x="403" y="200"/>
                    </a:lnTo>
                    <a:lnTo>
                      <a:pt x="399" y="200"/>
                    </a:lnTo>
                    <a:lnTo>
                      <a:pt x="399" y="204"/>
                    </a:lnTo>
                    <a:lnTo>
                      <a:pt x="403" y="208"/>
                    </a:lnTo>
                    <a:lnTo>
                      <a:pt x="399" y="212"/>
                    </a:lnTo>
                    <a:lnTo>
                      <a:pt x="399" y="216"/>
                    </a:lnTo>
                    <a:lnTo>
                      <a:pt x="395" y="220"/>
                    </a:lnTo>
                    <a:lnTo>
                      <a:pt x="395" y="224"/>
                    </a:lnTo>
                    <a:lnTo>
                      <a:pt x="395" y="228"/>
                    </a:lnTo>
                    <a:lnTo>
                      <a:pt x="391" y="232"/>
                    </a:lnTo>
                    <a:lnTo>
                      <a:pt x="391" y="228"/>
                    </a:lnTo>
                    <a:lnTo>
                      <a:pt x="387" y="228"/>
                    </a:lnTo>
                    <a:lnTo>
                      <a:pt x="383" y="228"/>
                    </a:lnTo>
                    <a:lnTo>
                      <a:pt x="379" y="228"/>
                    </a:lnTo>
                    <a:lnTo>
                      <a:pt x="379" y="224"/>
                    </a:lnTo>
                    <a:lnTo>
                      <a:pt x="379" y="228"/>
                    </a:lnTo>
                    <a:lnTo>
                      <a:pt x="379" y="232"/>
                    </a:lnTo>
                    <a:lnTo>
                      <a:pt x="383" y="236"/>
                    </a:lnTo>
                    <a:lnTo>
                      <a:pt x="379" y="240"/>
                    </a:lnTo>
                    <a:lnTo>
                      <a:pt x="379" y="244"/>
                    </a:lnTo>
                    <a:lnTo>
                      <a:pt x="379" y="248"/>
                    </a:lnTo>
                    <a:lnTo>
                      <a:pt x="379" y="244"/>
                    </a:lnTo>
                    <a:lnTo>
                      <a:pt x="375" y="244"/>
                    </a:lnTo>
                    <a:lnTo>
                      <a:pt x="375" y="248"/>
                    </a:lnTo>
                    <a:lnTo>
                      <a:pt x="375" y="252"/>
                    </a:lnTo>
                    <a:lnTo>
                      <a:pt x="375" y="256"/>
                    </a:lnTo>
                    <a:lnTo>
                      <a:pt x="379" y="256"/>
                    </a:lnTo>
                    <a:lnTo>
                      <a:pt x="379" y="260"/>
                    </a:lnTo>
                    <a:lnTo>
                      <a:pt x="379" y="264"/>
                    </a:lnTo>
                    <a:lnTo>
                      <a:pt x="375" y="264"/>
                    </a:lnTo>
                    <a:lnTo>
                      <a:pt x="375" y="260"/>
                    </a:lnTo>
                    <a:lnTo>
                      <a:pt x="375" y="264"/>
                    </a:lnTo>
                    <a:lnTo>
                      <a:pt x="371" y="264"/>
                    </a:lnTo>
                    <a:lnTo>
                      <a:pt x="367" y="268"/>
                    </a:lnTo>
                    <a:lnTo>
                      <a:pt x="367" y="264"/>
                    </a:lnTo>
                    <a:lnTo>
                      <a:pt x="367" y="260"/>
                    </a:lnTo>
                    <a:lnTo>
                      <a:pt x="367" y="256"/>
                    </a:lnTo>
                    <a:lnTo>
                      <a:pt x="367" y="252"/>
                    </a:lnTo>
                    <a:lnTo>
                      <a:pt x="367" y="248"/>
                    </a:lnTo>
                    <a:lnTo>
                      <a:pt x="363" y="244"/>
                    </a:lnTo>
                    <a:lnTo>
                      <a:pt x="367" y="244"/>
                    </a:lnTo>
                    <a:lnTo>
                      <a:pt x="367" y="240"/>
                    </a:lnTo>
                    <a:lnTo>
                      <a:pt x="363" y="240"/>
                    </a:lnTo>
                    <a:lnTo>
                      <a:pt x="363" y="236"/>
                    </a:lnTo>
                    <a:lnTo>
                      <a:pt x="363" y="232"/>
                    </a:lnTo>
                    <a:lnTo>
                      <a:pt x="359" y="236"/>
                    </a:lnTo>
                    <a:lnTo>
                      <a:pt x="359" y="232"/>
                    </a:lnTo>
                    <a:lnTo>
                      <a:pt x="359" y="236"/>
                    </a:lnTo>
                    <a:lnTo>
                      <a:pt x="359" y="240"/>
                    </a:lnTo>
                    <a:lnTo>
                      <a:pt x="355" y="240"/>
                    </a:lnTo>
                    <a:lnTo>
                      <a:pt x="355" y="244"/>
                    </a:lnTo>
                    <a:lnTo>
                      <a:pt x="355" y="248"/>
                    </a:lnTo>
                    <a:lnTo>
                      <a:pt x="351" y="248"/>
                    </a:lnTo>
                    <a:lnTo>
                      <a:pt x="351" y="244"/>
                    </a:lnTo>
                    <a:lnTo>
                      <a:pt x="351" y="240"/>
                    </a:lnTo>
                    <a:lnTo>
                      <a:pt x="351" y="244"/>
                    </a:lnTo>
                    <a:lnTo>
                      <a:pt x="347" y="240"/>
                    </a:lnTo>
                    <a:lnTo>
                      <a:pt x="347" y="236"/>
                    </a:lnTo>
                    <a:lnTo>
                      <a:pt x="347" y="232"/>
                    </a:lnTo>
                    <a:lnTo>
                      <a:pt x="347" y="228"/>
                    </a:lnTo>
                    <a:lnTo>
                      <a:pt x="351" y="224"/>
                    </a:lnTo>
                    <a:lnTo>
                      <a:pt x="351" y="228"/>
                    </a:lnTo>
                    <a:lnTo>
                      <a:pt x="351" y="224"/>
                    </a:lnTo>
                    <a:lnTo>
                      <a:pt x="355" y="224"/>
                    </a:lnTo>
                    <a:lnTo>
                      <a:pt x="359" y="224"/>
                    </a:lnTo>
                    <a:lnTo>
                      <a:pt x="359" y="220"/>
                    </a:lnTo>
                    <a:lnTo>
                      <a:pt x="363" y="220"/>
                    </a:lnTo>
                    <a:lnTo>
                      <a:pt x="363" y="216"/>
                    </a:lnTo>
                    <a:lnTo>
                      <a:pt x="363" y="212"/>
                    </a:lnTo>
                    <a:lnTo>
                      <a:pt x="367" y="212"/>
                    </a:lnTo>
                    <a:lnTo>
                      <a:pt x="367" y="208"/>
                    </a:lnTo>
                    <a:lnTo>
                      <a:pt x="363" y="208"/>
                    </a:lnTo>
                    <a:lnTo>
                      <a:pt x="363" y="204"/>
                    </a:lnTo>
                    <a:lnTo>
                      <a:pt x="359" y="204"/>
                    </a:lnTo>
                    <a:lnTo>
                      <a:pt x="355" y="204"/>
                    </a:lnTo>
                    <a:lnTo>
                      <a:pt x="351" y="204"/>
                    </a:lnTo>
                    <a:lnTo>
                      <a:pt x="347" y="204"/>
                    </a:lnTo>
                    <a:lnTo>
                      <a:pt x="343" y="204"/>
                    </a:lnTo>
                    <a:lnTo>
                      <a:pt x="339" y="204"/>
                    </a:lnTo>
                    <a:lnTo>
                      <a:pt x="335" y="204"/>
                    </a:lnTo>
                    <a:lnTo>
                      <a:pt x="331" y="204"/>
                    </a:lnTo>
                    <a:lnTo>
                      <a:pt x="327" y="204"/>
                    </a:lnTo>
                    <a:lnTo>
                      <a:pt x="327" y="200"/>
                    </a:lnTo>
                    <a:lnTo>
                      <a:pt x="327" y="196"/>
                    </a:lnTo>
                    <a:lnTo>
                      <a:pt x="327" y="192"/>
                    </a:lnTo>
                    <a:lnTo>
                      <a:pt x="327" y="188"/>
                    </a:lnTo>
                    <a:lnTo>
                      <a:pt x="323" y="188"/>
                    </a:lnTo>
                    <a:lnTo>
                      <a:pt x="323" y="184"/>
                    </a:lnTo>
                    <a:lnTo>
                      <a:pt x="323" y="188"/>
                    </a:lnTo>
                    <a:lnTo>
                      <a:pt x="319" y="188"/>
                    </a:lnTo>
                    <a:lnTo>
                      <a:pt x="315" y="188"/>
                    </a:lnTo>
                    <a:lnTo>
                      <a:pt x="315" y="184"/>
                    </a:lnTo>
                    <a:lnTo>
                      <a:pt x="315" y="180"/>
                    </a:lnTo>
                    <a:lnTo>
                      <a:pt x="311" y="180"/>
                    </a:lnTo>
                    <a:lnTo>
                      <a:pt x="311" y="184"/>
                    </a:lnTo>
                    <a:lnTo>
                      <a:pt x="315" y="184"/>
                    </a:lnTo>
                    <a:lnTo>
                      <a:pt x="311" y="184"/>
                    </a:lnTo>
                    <a:lnTo>
                      <a:pt x="311" y="180"/>
                    </a:lnTo>
                    <a:lnTo>
                      <a:pt x="307" y="180"/>
                    </a:lnTo>
                    <a:lnTo>
                      <a:pt x="307" y="176"/>
                    </a:lnTo>
                    <a:lnTo>
                      <a:pt x="303" y="180"/>
                    </a:lnTo>
                    <a:lnTo>
                      <a:pt x="307" y="180"/>
                    </a:lnTo>
                    <a:lnTo>
                      <a:pt x="307" y="184"/>
                    </a:lnTo>
                    <a:lnTo>
                      <a:pt x="303" y="184"/>
                    </a:lnTo>
                    <a:lnTo>
                      <a:pt x="303" y="188"/>
                    </a:lnTo>
                    <a:lnTo>
                      <a:pt x="299" y="192"/>
                    </a:lnTo>
                    <a:lnTo>
                      <a:pt x="303" y="192"/>
                    </a:lnTo>
                    <a:lnTo>
                      <a:pt x="307" y="196"/>
                    </a:lnTo>
                    <a:lnTo>
                      <a:pt x="307" y="200"/>
                    </a:lnTo>
                    <a:lnTo>
                      <a:pt x="311" y="200"/>
                    </a:lnTo>
                    <a:lnTo>
                      <a:pt x="311" y="204"/>
                    </a:lnTo>
                    <a:lnTo>
                      <a:pt x="315" y="204"/>
                    </a:lnTo>
                    <a:lnTo>
                      <a:pt x="311" y="204"/>
                    </a:lnTo>
                    <a:lnTo>
                      <a:pt x="307" y="204"/>
                    </a:lnTo>
                    <a:lnTo>
                      <a:pt x="307" y="208"/>
                    </a:lnTo>
                    <a:lnTo>
                      <a:pt x="303" y="208"/>
                    </a:lnTo>
                    <a:lnTo>
                      <a:pt x="303" y="212"/>
                    </a:lnTo>
                    <a:lnTo>
                      <a:pt x="303" y="208"/>
                    </a:lnTo>
                    <a:lnTo>
                      <a:pt x="299" y="212"/>
                    </a:lnTo>
                    <a:lnTo>
                      <a:pt x="303" y="212"/>
                    </a:lnTo>
                    <a:lnTo>
                      <a:pt x="299" y="212"/>
                    </a:lnTo>
                    <a:lnTo>
                      <a:pt x="299" y="216"/>
                    </a:lnTo>
                    <a:lnTo>
                      <a:pt x="303" y="220"/>
                    </a:lnTo>
                    <a:lnTo>
                      <a:pt x="307" y="220"/>
                    </a:lnTo>
                    <a:lnTo>
                      <a:pt x="307" y="224"/>
                    </a:lnTo>
                    <a:lnTo>
                      <a:pt x="307" y="220"/>
                    </a:lnTo>
                    <a:lnTo>
                      <a:pt x="311" y="220"/>
                    </a:lnTo>
                    <a:lnTo>
                      <a:pt x="311" y="224"/>
                    </a:lnTo>
                    <a:lnTo>
                      <a:pt x="311" y="228"/>
                    </a:lnTo>
                    <a:lnTo>
                      <a:pt x="307" y="232"/>
                    </a:lnTo>
                    <a:lnTo>
                      <a:pt x="307" y="236"/>
                    </a:lnTo>
                    <a:lnTo>
                      <a:pt x="311" y="236"/>
                    </a:lnTo>
                    <a:lnTo>
                      <a:pt x="311" y="240"/>
                    </a:lnTo>
                    <a:lnTo>
                      <a:pt x="311" y="244"/>
                    </a:lnTo>
                    <a:lnTo>
                      <a:pt x="315" y="244"/>
                    </a:lnTo>
                    <a:lnTo>
                      <a:pt x="311" y="244"/>
                    </a:lnTo>
                    <a:lnTo>
                      <a:pt x="311" y="248"/>
                    </a:lnTo>
                    <a:lnTo>
                      <a:pt x="315" y="260"/>
                    </a:lnTo>
                    <a:lnTo>
                      <a:pt x="315" y="264"/>
                    </a:lnTo>
                    <a:lnTo>
                      <a:pt x="315" y="268"/>
                    </a:lnTo>
                    <a:lnTo>
                      <a:pt x="315" y="272"/>
                    </a:lnTo>
                    <a:lnTo>
                      <a:pt x="311" y="272"/>
                    </a:lnTo>
                    <a:lnTo>
                      <a:pt x="311" y="276"/>
                    </a:lnTo>
                    <a:lnTo>
                      <a:pt x="311" y="272"/>
                    </a:lnTo>
                    <a:lnTo>
                      <a:pt x="311" y="268"/>
                    </a:lnTo>
                    <a:lnTo>
                      <a:pt x="311" y="264"/>
                    </a:lnTo>
                    <a:lnTo>
                      <a:pt x="311" y="268"/>
                    </a:lnTo>
                    <a:lnTo>
                      <a:pt x="307" y="268"/>
                    </a:lnTo>
                    <a:lnTo>
                      <a:pt x="307" y="264"/>
                    </a:lnTo>
                    <a:lnTo>
                      <a:pt x="311" y="264"/>
                    </a:lnTo>
                    <a:lnTo>
                      <a:pt x="307" y="264"/>
                    </a:lnTo>
                    <a:lnTo>
                      <a:pt x="307" y="268"/>
                    </a:lnTo>
                    <a:lnTo>
                      <a:pt x="307" y="272"/>
                    </a:lnTo>
                    <a:lnTo>
                      <a:pt x="307" y="276"/>
                    </a:lnTo>
                    <a:lnTo>
                      <a:pt x="307" y="272"/>
                    </a:lnTo>
                    <a:lnTo>
                      <a:pt x="307" y="268"/>
                    </a:lnTo>
                    <a:lnTo>
                      <a:pt x="307" y="272"/>
                    </a:lnTo>
                    <a:lnTo>
                      <a:pt x="303" y="272"/>
                    </a:lnTo>
                    <a:lnTo>
                      <a:pt x="303" y="268"/>
                    </a:lnTo>
                    <a:lnTo>
                      <a:pt x="303" y="272"/>
                    </a:lnTo>
                    <a:lnTo>
                      <a:pt x="303" y="276"/>
                    </a:lnTo>
                    <a:lnTo>
                      <a:pt x="303" y="272"/>
                    </a:lnTo>
                    <a:lnTo>
                      <a:pt x="303" y="268"/>
                    </a:lnTo>
                    <a:lnTo>
                      <a:pt x="299" y="268"/>
                    </a:lnTo>
                    <a:lnTo>
                      <a:pt x="303" y="264"/>
                    </a:lnTo>
                    <a:lnTo>
                      <a:pt x="299" y="260"/>
                    </a:lnTo>
                    <a:lnTo>
                      <a:pt x="299" y="256"/>
                    </a:lnTo>
                    <a:lnTo>
                      <a:pt x="299" y="260"/>
                    </a:lnTo>
                    <a:lnTo>
                      <a:pt x="299" y="264"/>
                    </a:lnTo>
                    <a:lnTo>
                      <a:pt x="303" y="264"/>
                    </a:lnTo>
                    <a:lnTo>
                      <a:pt x="299" y="264"/>
                    </a:lnTo>
                    <a:lnTo>
                      <a:pt x="299" y="268"/>
                    </a:lnTo>
                    <a:lnTo>
                      <a:pt x="295" y="272"/>
                    </a:lnTo>
                    <a:lnTo>
                      <a:pt x="291" y="272"/>
                    </a:lnTo>
                    <a:lnTo>
                      <a:pt x="287" y="276"/>
                    </a:lnTo>
                    <a:lnTo>
                      <a:pt x="283" y="276"/>
                    </a:lnTo>
                    <a:lnTo>
                      <a:pt x="283" y="280"/>
                    </a:lnTo>
                    <a:lnTo>
                      <a:pt x="283" y="284"/>
                    </a:lnTo>
                    <a:lnTo>
                      <a:pt x="283" y="288"/>
                    </a:lnTo>
                    <a:lnTo>
                      <a:pt x="283" y="292"/>
                    </a:lnTo>
                    <a:lnTo>
                      <a:pt x="279" y="292"/>
                    </a:lnTo>
                    <a:lnTo>
                      <a:pt x="279" y="295"/>
                    </a:lnTo>
                    <a:lnTo>
                      <a:pt x="279" y="299"/>
                    </a:lnTo>
                    <a:lnTo>
                      <a:pt x="275" y="299"/>
                    </a:lnTo>
                    <a:lnTo>
                      <a:pt x="275" y="303"/>
                    </a:lnTo>
                    <a:lnTo>
                      <a:pt x="271" y="303"/>
                    </a:lnTo>
                    <a:lnTo>
                      <a:pt x="275" y="303"/>
                    </a:lnTo>
                    <a:lnTo>
                      <a:pt x="271" y="303"/>
                    </a:lnTo>
                    <a:lnTo>
                      <a:pt x="271" y="307"/>
                    </a:lnTo>
                    <a:lnTo>
                      <a:pt x="267" y="307"/>
                    </a:lnTo>
                    <a:lnTo>
                      <a:pt x="263" y="307"/>
                    </a:lnTo>
                    <a:lnTo>
                      <a:pt x="259" y="311"/>
                    </a:lnTo>
                    <a:lnTo>
                      <a:pt x="259" y="307"/>
                    </a:lnTo>
                    <a:lnTo>
                      <a:pt x="263" y="307"/>
                    </a:lnTo>
                    <a:lnTo>
                      <a:pt x="259" y="303"/>
                    </a:lnTo>
                    <a:lnTo>
                      <a:pt x="259" y="307"/>
                    </a:lnTo>
                    <a:lnTo>
                      <a:pt x="255" y="307"/>
                    </a:lnTo>
                    <a:lnTo>
                      <a:pt x="255" y="311"/>
                    </a:lnTo>
                    <a:lnTo>
                      <a:pt x="259" y="311"/>
                    </a:lnTo>
                    <a:lnTo>
                      <a:pt x="259" y="307"/>
                    </a:lnTo>
                    <a:lnTo>
                      <a:pt x="259" y="311"/>
                    </a:lnTo>
                    <a:lnTo>
                      <a:pt x="255" y="311"/>
                    </a:lnTo>
                    <a:lnTo>
                      <a:pt x="255" y="315"/>
                    </a:lnTo>
                    <a:lnTo>
                      <a:pt x="251" y="319"/>
                    </a:lnTo>
                    <a:lnTo>
                      <a:pt x="247" y="319"/>
                    </a:lnTo>
                    <a:lnTo>
                      <a:pt x="251" y="319"/>
                    </a:lnTo>
                    <a:lnTo>
                      <a:pt x="247" y="323"/>
                    </a:lnTo>
                    <a:lnTo>
                      <a:pt x="247" y="327"/>
                    </a:lnTo>
                    <a:lnTo>
                      <a:pt x="243" y="331"/>
                    </a:lnTo>
                    <a:lnTo>
                      <a:pt x="239" y="335"/>
                    </a:lnTo>
                    <a:lnTo>
                      <a:pt x="235" y="335"/>
                    </a:lnTo>
                    <a:lnTo>
                      <a:pt x="235" y="339"/>
                    </a:lnTo>
                    <a:lnTo>
                      <a:pt x="231" y="339"/>
                    </a:lnTo>
                    <a:lnTo>
                      <a:pt x="231" y="343"/>
                    </a:lnTo>
                    <a:lnTo>
                      <a:pt x="227" y="343"/>
                    </a:lnTo>
                    <a:lnTo>
                      <a:pt x="227" y="347"/>
                    </a:lnTo>
                    <a:lnTo>
                      <a:pt x="223" y="351"/>
                    </a:lnTo>
                    <a:lnTo>
                      <a:pt x="219" y="351"/>
                    </a:lnTo>
                    <a:lnTo>
                      <a:pt x="219" y="355"/>
                    </a:lnTo>
                    <a:lnTo>
                      <a:pt x="215" y="355"/>
                    </a:lnTo>
                    <a:lnTo>
                      <a:pt x="215" y="359"/>
                    </a:lnTo>
                    <a:lnTo>
                      <a:pt x="211" y="359"/>
                    </a:lnTo>
                    <a:lnTo>
                      <a:pt x="211" y="363"/>
                    </a:lnTo>
                    <a:lnTo>
                      <a:pt x="215" y="363"/>
                    </a:lnTo>
                    <a:lnTo>
                      <a:pt x="211" y="363"/>
                    </a:lnTo>
                    <a:lnTo>
                      <a:pt x="211" y="367"/>
                    </a:lnTo>
                    <a:lnTo>
                      <a:pt x="211" y="371"/>
                    </a:lnTo>
                    <a:lnTo>
                      <a:pt x="207" y="371"/>
                    </a:lnTo>
                    <a:lnTo>
                      <a:pt x="203" y="371"/>
                    </a:lnTo>
                    <a:lnTo>
                      <a:pt x="199" y="371"/>
                    </a:lnTo>
                    <a:lnTo>
                      <a:pt x="195" y="371"/>
                    </a:lnTo>
                    <a:lnTo>
                      <a:pt x="195" y="375"/>
                    </a:lnTo>
                    <a:lnTo>
                      <a:pt x="195" y="379"/>
                    </a:lnTo>
                    <a:lnTo>
                      <a:pt x="191" y="379"/>
                    </a:lnTo>
                    <a:lnTo>
                      <a:pt x="191" y="383"/>
                    </a:lnTo>
                    <a:lnTo>
                      <a:pt x="191" y="379"/>
                    </a:lnTo>
                    <a:lnTo>
                      <a:pt x="191" y="383"/>
                    </a:lnTo>
                    <a:lnTo>
                      <a:pt x="191" y="379"/>
                    </a:lnTo>
                    <a:lnTo>
                      <a:pt x="187" y="379"/>
                    </a:lnTo>
                    <a:lnTo>
                      <a:pt x="183" y="383"/>
                    </a:lnTo>
                    <a:lnTo>
                      <a:pt x="179" y="387"/>
                    </a:lnTo>
                    <a:lnTo>
                      <a:pt x="179" y="391"/>
                    </a:lnTo>
                    <a:lnTo>
                      <a:pt x="179" y="395"/>
                    </a:lnTo>
                    <a:lnTo>
                      <a:pt x="179" y="399"/>
                    </a:lnTo>
                    <a:lnTo>
                      <a:pt x="179" y="403"/>
                    </a:lnTo>
                    <a:lnTo>
                      <a:pt x="179" y="407"/>
                    </a:lnTo>
                    <a:lnTo>
                      <a:pt x="179" y="411"/>
                    </a:lnTo>
                    <a:lnTo>
                      <a:pt x="179" y="415"/>
                    </a:lnTo>
                    <a:lnTo>
                      <a:pt x="179" y="419"/>
                    </a:lnTo>
                    <a:lnTo>
                      <a:pt x="183" y="419"/>
                    </a:lnTo>
                    <a:lnTo>
                      <a:pt x="179" y="419"/>
                    </a:lnTo>
                    <a:lnTo>
                      <a:pt x="179" y="423"/>
                    </a:lnTo>
                    <a:lnTo>
                      <a:pt x="183" y="423"/>
                    </a:lnTo>
                    <a:lnTo>
                      <a:pt x="183" y="427"/>
                    </a:lnTo>
                    <a:lnTo>
                      <a:pt x="183" y="423"/>
                    </a:lnTo>
                    <a:lnTo>
                      <a:pt x="179" y="419"/>
                    </a:lnTo>
                    <a:lnTo>
                      <a:pt x="179" y="423"/>
                    </a:lnTo>
                    <a:lnTo>
                      <a:pt x="183" y="427"/>
                    </a:lnTo>
                    <a:lnTo>
                      <a:pt x="183" y="431"/>
                    </a:lnTo>
                    <a:lnTo>
                      <a:pt x="183" y="435"/>
                    </a:lnTo>
                    <a:lnTo>
                      <a:pt x="183" y="439"/>
                    </a:lnTo>
                    <a:lnTo>
                      <a:pt x="179" y="439"/>
                    </a:lnTo>
                    <a:lnTo>
                      <a:pt x="179" y="443"/>
                    </a:lnTo>
                    <a:lnTo>
                      <a:pt x="179" y="447"/>
                    </a:lnTo>
                    <a:lnTo>
                      <a:pt x="175" y="451"/>
                    </a:lnTo>
                    <a:lnTo>
                      <a:pt x="175" y="455"/>
                    </a:lnTo>
                    <a:lnTo>
                      <a:pt x="175" y="459"/>
                    </a:lnTo>
                    <a:lnTo>
                      <a:pt x="175" y="463"/>
                    </a:lnTo>
                    <a:lnTo>
                      <a:pt x="175" y="467"/>
                    </a:lnTo>
                    <a:lnTo>
                      <a:pt x="175" y="471"/>
                    </a:lnTo>
                    <a:lnTo>
                      <a:pt x="175" y="475"/>
                    </a:lnTo>
                    <a:lnTo>
                      <a:pt x="175" y="479"/>
                    </a:lnTo>
                    <a:lnTo>
                      <a:pt x="175" y="483"/>
                    </a:lnTo>
                    <a:lnTo>
                      <a:pt x="171" y="483"/>
                    </a:lnTo>
                    <a:lnTo>
                      <a:pt x="175" y="483"/>
                    </a:lnTo>
                    <a:lnTo>
                      <a:pt x="171" y="483"/>
                    </a:lnTo>
                    <a:lnTo>
                      <a:pt x="167" y="483"/>
                    </a:lnTo>
                    <a:lnTo>
                      <a:pt x="167" y="487"/>
                    </a:lnTo>
                    <a:lnTo>
                      <a:pt x="167" y="491"/>
                    </a:lnTo>
                    <a:lnTo>
                      <a:pt x="163" y="491"/>
                    </a:lnTo>
                    <a:lnTo>
                      <a:pt x="163" y="495"/>
                    </a:lnTo>
                    <a:lnTo>
                      <a:pt x="159" y="499"/>
                    </a:lnTo>
                    <a:lnTo>
                      <a:pt x="163" y="499"/>
                    </a:lnTo>
                    <a:lnTo>
                      <a:pt x="163" y="503"/>
                    </a:lnTo>
                    <a:lnTo>
                      <a:pt x="167" y="503"/>
                    </a:lnTo>
                    <a:lnTo>
                      <a:pt x="163" y="503"/>
                    </a:lnTo>
                    <a:lnTo>
                      <a:pt x="159" y="503"/>
                    </a:lnTo>
                    <a:lnTo>
                      <a:pt x="155" y="507"/>
                    </a:lnTo>
                    <a:lnTo>
                      <a:pt x="151" y="507"/>
                    </a:lnTo>
                    <a:lnTo>
                      <a:pt x="151" y="511"/>
                    </a:lnTo>
                    <a:lnTo>
                      <a:pt x="151" y="515"/>
                    </a:lnTo>
                    <a:lnTo>
                      <a:pt x="147" y="519"/>
                    </a:lnTo>
                    <a:lnTo>
                      <a:pt x="143" y="523"/>
                    </a:lnTo>
                    <a:lnTo>
                      <a:pt x="139" y="523"/>
                    </a:lnTo>
                    <a:lnTo>
                      <a:pt x="135" y="523"/>
                    </a:lnTo>
                    <a:lnTo>
                      <a:pt x="135" y="519"/>
                    </a:lnTo>
                    <a:lnTo>
                      <a:pt x="131" y="519"/>
                    </a:lnTo>
                    <a:lnTo>
                      <a:pt x="131" y="515"/>
                    </a:lnTo>
                    <a:lnTo>
                      <a:pt x="127" y="515"/>
                    </a:lnTo>
                    <a:lnTo>
                      <a:pt x="127" y="511"/>
                    </a:lnTo>
                    <a:lnTo>
                      <a:pt x="127" y="507"/>
                    </a:lnTo>
                    <a:lnTo>
                      <a:pt x="123" y="507"/>
                    </a:lnTo>
                    <a:lnTo>
                      <a:pt x="123" y="503"/>
                    </a:lnTo>
                    <a:lnTo>
                      <a:pt x="123" y="499"/>
                    </a:lnTo>
                    <a:lnTo>
                      <a:pt x="123" y="495"/>
                    </a:lnTo>
                    <a:lnTo>
                      <a:pt x="119" y="491"/>
                    </a:lnTo>
                    <a:lnTo>
                      <a:pt x="123" y="491"/>
                    </a:lnTo>
                    <a:lnTo>
                      <a:pt x="119" y="491"/>
                    </a:lnTo>
                    <a:lnTo>
                      <a:pt x="123" y="495"/>
                    </a:lnTo>
                    <a:lnTo>
                      <a:pt x="123" y="499"/>
                    </a:lnTo>
                    <a:lnTo>
                      <a:pt x="123" y="495"/>
                    </a:lnTo>
                    <a:lnTo>
                      <a:pt x="123" y="491"/>
                    </a:lnTo>
                    <a:lnTo>
                      <a:pt x="119" y="491"/>
                    </a:lnTo>
                    <a:lnTo>
                      <a:pt x="119" y="487"/>
                    </a:lnTo>
                    <a:lnTo>
                      <a:pt x="119" y="491"/>
                    </a:lnTo>
                    <a:lnTo>
                      <a:pt x="119" y="487"/>
                    </a:lnTo>
                    <a:lnTo>
                      <a:pt x="119" y="483"/>
                    </a:lnTo>
                    <a:lnTo>
                      <a:pt x="119" y="479"/>
                    </a:lnTo>
                    <a:lnTo>
                      <a:pt x="115" y="475"/>
                    </a:lnTo>
                    <a:lnTo>
                      <a:pt x="115" y="471"/>
                    </a:lnTo>
                    <a:lnTo>
                      <a:pt x="111" y="463"/>
                    </a:lnTo>
                    <a:lnTo>
                      <a:pt x="111" y="459"/>
                    </a:lnTo>
                    <a:lnTo>
                      <a:pt x="107" y="455"/>
                    </a:lnTo>
                    <a:lnTo>
                      <a:pt x="107" y="451"/>
                    </a:lnTo>
                    <a:lnTo>
                      <a:pt x="103" y="451"/>
                    </a:lnTo>
                    <a:lnTo>
                      <a:pt x="103" y="447"/>
                    </a:lnTo>
                    <a:lnTo>
                      <a:pt x="103" y="443"/>
                    </a:lnTo>
                    <a:lnTo>
                      <a:pt x="99" y="439"/>
                    </a:lnTo>
                    <a:lnTo>
                      <a:pt x="99" y="435"/>
                    </a:lnTo>
                    <a:lnTo>
                      <a:pt x="99" y="431"/>
                    </a:lnTo>
                    <a:lnTo>
                      <a:pt x="99" y="427"/>
                    </a:lnTo>
                    <a:lnTo>
                      <a:pt x="96" y="423"/>
                    </a:lnTo>
                    <a:lnTo>
                      <a:pt x="96" y="419"/>
                    </a:lnTo>
                    <a:lnTo>
                      <a:pt x="96" y="415"/>
                    </a:lnTo>
                    <a:lnTo>
                      <a:pt x="96" y="411"/>
                    </a:lnTo>
                    <a:lnTo>
                      <a:pt x="92" y="411"/>
                    </a:lnTo>
                    <a:lnTo>
                      <a:pt x="92" y="407"/>
                    </a:lnTo>
                    <a:lnTo>
                      <a:pt x="92" y="403"/>
                    </a:lnTo>
                    <a:lnTo>
                      <a:pt x="92" y="407"/>
                    </a:lnTo>
                    <a:lnTo>
                      <a:pt x="92" y="403"/>
                    </a:lnTo>
                    <a:lnTo>
                      <a:pt x="88" y="403"/>
                    </a:lnTo>
                    <a:lnTo>
                      <a:pt x="88" y="399"/>
                    </a:lnTo>
                    <a:lnTo>
                      <a:pt x="88" y="395"/>
                    </a:lnTo>
                    <a:lnTo>
                      <a:pt x="84" y="391"/>
                    </a:lnTo>
                    <a:lnTo>
                      <a:pt x="84" y="387"/>
                    </a:lnTo>
                    <a:lnTo>
                      <a:pt x="88" y="391"/>
                    </a:lnTo>
                    <a:lnTo>
                      <a:pt x="88" y="387"/>
                    </a:lnTo>
                    <a:lnTo>
                      <a:pt x="84" y="387"/>
                    </a:lnTo>
                    <a:lnTo>
                      <a:pt x="84" y="383"/>
                    </a:lnTo>
                    <a:lnTo>
                      <a:pt x="80" y="383"/>
                    </a:lnTo>
                    <a:lnTo>
                      <a:pt x="80" y="379"/>
                    </a:lnTo>
                    <a:lnTo>
                      <a:pt x="80" y="375"/>
                    </a:lnTo>
                    <a:lnTo>
                      <a:pt x="76" y="371"/>
                    </a:lnTo>
                    <a:lnTo>
                      <a:pt x="76" y="367"/>
                    </a:lnTo>
                    <a:lnTo>
                      <a:pt x="76" y="363"/>
                    </a:lnTo>
                    <a:lnTo>
                      <a:pt x="76" y="359"/>
                    </a:lnTo>
                    <a:lnTo>
                      <a:pt x="76" y="355"/>
                    </a:lnTo>
                    <a:lnTo>
                      <a:pt x="76" y="351"/>
                    </a:lnTo>
                    <a:lnTo>
                      <a:pt x="76" y="347"/>
                    </a:lnTo>
                    <a:lnTo>
                      <a:pt x="72" y="347"/>
                    </a:lnTo>
                    <a:lnTo>
                      <a:pt x="72" y="343"/>
                    </a:lnTo>
                    <a:lnTo>
                      <a:pt x="72" y="339"/>
                    </a:lnTo>
                    <a:lnTo>
                      <a:pt x="72" y="335"/>
                    </a:lnTo>
                    <a:lnTo>
                      <a:pt x="72" y="331"/>
                    </a:lnTo>
                    <a:lnTo>
                      <a:pt x="68" y="327"/>
                    </a:lnTo>
                    <a:lnTo>
                      <a:pt x="72" y="327"/>
                    </a:lnTo>
                    <a:lnTo>
                      <a:pt x="72" y="323"/>
                    </a:lnTo>
                    <a:lnTo>
                      <a:pt x="72" y="319"/>
                    </a:lnTo>
                    <a:lnTo>
                      <a:pt x="72" y="323"/>
                    </a:lnTo>
                    <a:lnTo>
                      <a:pt x="68" y="323"/>
                    </a:lnTo>
                    <a:lnTo>
                      <a:pt x="68" y="319"/>
                    </a:lnTo>
                    <a:lnTo>
                      <a:pt x="68" y="315"/>
                    </a:lnTo>
                    <a:lnTo>
                      <a:pt x="72" y="315"/>
                    </a:lnTo>
                    <a:lnTo>
                      <a:pt x="72" y="319"/>
                    </a:lnTo>
                    <a:lnTo>
                      <a:pt x="72" y="315"/>
                    </a:lnTo>
                    <a:lnTo>
                      <a:pt x="68" y="315"/>
                    </a:lnTo>
                    <a:lnTo>
                      <a:pt x="68" y="311"/>
                    </a:lnTo>
                    <a:lnTo>
                      <a:pt x="68" y="307"/>
                    </a:lnTo>
                    <a:lnTo>
                      <a:pt x="68" y="303"/>
                    </a:lnTo>
                    <a:lnTo>
                      <a:pt x="68" y="299"/>
                    </a:lnTo>
                    <a:lnTo>
                      <a:pt x="68" y="295"/>
                    </a:lnTo>
                    <a:lnTo>
                      <a:pt x="72" y="295"/>
                    </a:lnTo>
                    <a:lnTo>
                      <a:pt x="72" y="288"/>
                    </a:lnTo>
                    <a:lnTo>
                      <a:pt x="68" y="288"/>
                    </a:lnTo>
                    <a:lnTo>
                      <a:pt x="68" y="284"/>
                    </a:lnTo>
                    <a:lnTo>
                      <a:pt x="68" y="280"/>
                    </a:lnTo>
                    <a:lnTo>
                      <a:pt x="64" y="280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4" y="276"/>
                    </a:lnTo>
                    <a:lnTo>
                      <a:pt x="68" y="276"/>
                    </a:lnTo>
                    <a:lnTo>
                      <a:pt x="68" y="272"/>
                    </a:lnTo>
                    <a:lnTo>
                      <a:pt x="72" y="272"/>
                    </a:lnTo>
                    <a:lnTo>
                      <a:pt x="76" y="272"/>
                    </a:lnTo>
                    <a:lnTo>
                      <a:pt x="72" y="272"/>
                    </a:lnTo>
                    <a:lnTo>
                      <a:pt x="68" y="272"/>
                    </a:lnTo>
                    <a:lnTo>
                      <a:pt x="64" y="272"/>
                    </a:lnTo>
                    <a:lnTo>
                      <a:pt x="64" y="268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4" y="264"/>
                    </a:lnTo>
                    <a:lnTo>
                      <a:pt x="68" y="260"/>
                    </a:lnTo>
                    <a:lnTo>
                      <a:pt x="68" y="264"/>
                    </a:lnTo>
                    <a:lnTo>
                      <a:pt x="68" y="260"/>
                    </a:lnTo>
                    <a:lnTo>
                      <a:pt x="72" y="260"/>
                    </a:lnTo>
                    <a:lnTo>
                      <a:pt x="68" y="260"/>
                    </a:lnTo>
                    <a:lnTo>
                      <a:pt x="64" y="260"/>
                    </a:lnTo>
                    <a:lnTo>
                      <a:pt x="60" y="260"/>
                    </a:lnTo>
                    <a:lnTo>
                      <a:pt x="60" y="264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60" y="268"/>
                    </a:lnTo>
                    <a:lnTo>
                      <a:pt x="56" y="268"/>
                    </a:lnTo>
                    <a:lnTo>
                      <a:pt x="56" y="272"/>
                    </a:lnTo>
                    <a:lnTo>
                      <a:pt x="60" y="268"/>
                    </a:lnTo>
                    <a:lnTo>
                      <a:pt x="60" y="272"/>
                    </a:lnTo>
                    <a:lnTo>
                      <a:pt x="60" y="276"/>
                    </a:lnTo>
                    <a:lnTo>
                      <a:pt x="60" y="280"/>
                    </a:lnTo>
                    <a:lnTo>
                      <a:pt x="56" y="280"/>
                    </a:lnTo>
                    <a:lnTo>
                      <a:pt x="56" y="284"/>
                    </a:lnTo>
                    <a:lnTo>
                      <a:pt x="52" y="284"/>
                    </a:lnTo>
                    <a:lnTo>
                      <a:pt x="48" y="288"/>
                    </a:lnTo>
                    <a:lnTo>
                      <a:pt x="44" y="288"/>
                    </a:lnTo>
                    <a:lnTo>
                      <a:pt x="40" y="292"/>
                    </a:lnTo>
                    <a:lnTo>
                      <a:pt x="36" y="288"/>
                    </a:lnTo>
                    <a:lnTo>
                      <a:pt x="32" y="288"/>
                    </a:lnTo>
                    <a:lnTo>
                      <a:pt x="32" y="284"/>
                    </a:lnTo>
                    <a:lnTo>
                      <a:pt x="28" y="284"/>
                    </a:lnTo>
                    <a:lnTo>
                      <a:pt x="28" y="280"/>
                    </a:lnTo>
                    <a:lnTo>
                      <a:pt x="24" y="280"/>
                    </a:lnTo>
                    <a:lnTo>
                      <a:pt x="24" y="276"/>
                    </a:lnTo>
                    <a:lnTo>
                      <a:pt x="20" y="272"/>
                    </a:lnTo>
                    <a:lnTo>
                      <a:pt x="16" y="268"/>
                    </a:lnTo>
                    <a:lnTo>
                      <a:pt x="12" y="264"/>
                    </a:lnTo>
                    <a:lnTo>
                      <a:pt x="12" y="260"/>
                    </a:lnTo>
                    <a:lnTo>
                      <a:pt x="12" y="256"/>
                    </a:lnTo>
                    <a:lnTo>
                      <a:pt x="12" y="260"/>
                    </a:lnTo>
                    <a:lnTo>
                      <a:pt x="16" y="260"/>
                    </a:lnTo>
                    <a:lnTo>
                      <a:pt x="12" y="260"/>
                    </a:lnTo>
                    <a:lnTo>
                      <a:pt x="16" y="260"/>
                    </a:lnTo>
                    <a:lnTo>
                      <a:pt x="20" y="260"/>
                    </a:lnTo>
                    <a:lnTo>
                      <a:pt x="24" y="260"/>
                    </a:lnTo>
                    <a:lnTo>
                      <a:pt x="24" y="256"/>
                    </a:lnTo>
                    <a:lnTo>
                      <a:pt x="28" y="256"/>
                    </a:lnTo>
                    <a:lnTo>
                      <a:pt x="32" y="252"/>
                    </a:lnTo>
                    <a:lnTo>
                      <a:pt x="32" y="248"/>
                    </a:lnTo>
                    <a:lnTo>
                      <a:pt x="36" y="248"/>
                    </a:lnTo>
                    <a:lnTo>
                      <a:pt x="36" y="244"/>
                    </a:lnTo>
                    <a:lnTo>
                      <a:pt x="32" y="244"/>
                    </a:lnTo>
                    <a:lnTo>
                      <a:pt x="32" y="248"/>
                    </a:lnTo>
                    <a:lnTo>
                      <a:pt x="24" y="248"/>
                    </a:lnTo>
                    <a:lnTo>
                      <a:pt x="24" y="252"/>
                    </a:lnTo>
                    <a:lnTo>
                      <a:pt x="20" y="252"/>
                    </a:lnTo>
                    <a:lnTo>
                      <a:pt x="16" y="252"/>
                    </a:lnTo>
                    <a:lnTo>
                      <a:pt x="16" y="248"/>
                    </a:lnTo>
                    <a:lnTo>
                      <a:pt x="12" y="248"/>
                    </a:lnTo>
                    <a:lnTo>
                      <a:pt x="8" y="248"/>
                    </a:lnTo>
                    <a:lnTo>
                      <a:pt x="8" y="244"/>
                    </a:lnTo>
                    <a:lnTo>
                      <a:pt x="4" y="240"/>
                    </a:lnTo>
                    <a:lnTo>
                      <a:pt x="4" y="236"/>
                    </a:lnTo>
                    <a:lnTo>
                      <a:pt x="4" y="232"/>
                    </a:lnTo>
                    <a:lnTo>
                      <a:pt x="8" y="232"/>
                    </a:lnTo>
                    <a:lnTo>
                      <a:pt x="4" y="232"/>
                    </a:lnTo>
                    <a:lnTo>
                      <a:pt x="0" y="236"/>
                    </a:lnTo>
                    <a:lnTo>
                      <a:pt x="0" y="232"/>
                    </a:lnTo>
                    <a:close/>
                    <a:moveTo>
                      <a:pt x="303" y="268"/>
                    </a:moveTo>
                    <a:lnTo>
                      <a:pt x="303" y="272"/>
                    </a:lnTo>
                    <a:lnTo>
                      <a:pt x="299" y="272"/>
                    </a:lnTo>
                    <a:lnTo>
                      <a:pt x="299" y="268"/>
                    </a:lnTo>
                    <a:lnTo>
                      <a:pt x="303" y="268"/>
                    </a:lnTo>
                    <a:close/>
                    <a:moveTo>
                      <a:pt x="371" y="451"/>
                    </a:moveTo>
                    <a:lnTo>
                      <a:pt x="371" y="447"/>
                    </a:lnTo>
                    <a:lnTo>
                      <a:pt x="375" y="447"/>
                    </a:lnTo>
                    <a:lnTo>
                      <a:pt x="371" y="451"/>
                    </a:lnTo>
                    <a:close/>
                    <a:moveTo>
                      <a:pt x="371" y="463"/>
                    </a:moveTo>
                    <a:lnTo>
                      <a:pt x="367" y="463"/>
                    </a:lnTo>
                    <a:lnTo>
                      <a:pt x="371" y="463"/>
                    </a:lnTo>
                    <a:close/>
                    <a:moveTo>
                      <a:pt x="371" y="503"/>
                    </a:moveTo>
                    <a:lnTo>
                      <a:pt x="371" y="507"/>
                    </a:lnTo>
                    <a:lnTo>
                      <a:pt x="371" y="503"/>
                    </a:lnTo>
                    <a:close/>
                    <a:moveTo>
                      <a:pt x="72" y="519"/>
                    </a:moveTo>
                    <a:lnTo>
                      <a:pt x="72" y="523"/>
                    </a:lnTo>
                    <a:lnTo>
                      <a:pt x="72" y="519"/>
                    </a:lnTo>
                    <a:close/>
                    <a:moveTo>
                      <a:pt x="383" y="523"/>
                    </a:moveTo>
                    <a:lnTo>
                      <a:pt x="383" y="527"/>
                    </a:lnTo>
                    <a:lnTo>
                      <a:pt x="383" y="523"/>
                    </a:lnTo>
                    <a:close/>
                    <a:moveTo>
                      <a:pt x="379" y="527"/>
                    </a:moveTo>
                    <a:lnTo>
                      <a:pt x="383" y="527"/>
                    </a:lnTo>
                    <a:lnTo>
                      <a:pt x="379" y="527"/>
                    </a:lnTo>
                    <a:close/>
                    <a:moveTo>
                      <a:pt x="387" y="539"/>
                    </a:moveTo>
                    <a:lnTo>
                      <a:pt x="383" y="539"/>
                    </a:lnTo>
                    <a:lnTo>
                      <a:pt x="387" y="539"/>
                    </a:lnTo>
                    <a:lnTo>
                      <a:pt x="387" y="535"/>
                    </a:lnTo>
                    <a:lnTo>
                      <a:pt x="387" y="539"/>
                    </a:lnTo>
                    <a:close/>
                    <a:moveTo>
                      <a:pt x="371" y="435"/>
                    </a:moveTo>
                    <a:lnTo>
                      <a:pt x="371" y="431"/>
                    </a:lnTo>
                    <a:lnTo>
                      <a:pt x="371" y="427"/>
                    </a:lnTo>
                    <a:lnTo>
                      <a:pt x="375" y="427"/>
                    </a:lnTo>
                    <a:lnTo>
                      <a:pt x="375" y="423"/>
                    </a:lnTo>
                    <a:lnTo>
                      <a:pt x="375" y="427"/>
                    </a:lnTo>
                    <a:lnTo>
                      <a:pt x="375" y="431"/>
                    </a:lnTo>
                    <a:lnTo>
                      <a:pt x="375" y="435"/>
                    </a:lnTo>
                    <a:lnTo>
                      <a:pt x="375" y="431"/>
                    </a:lnTo>
                    <a:lnTo>
                      <a:pt x="371" y="435"/>
                    </a:lnTo>
                    <a:close/>
                    <a:moveTo>
                      <a:pt x="371" y="447"/>
                    </a:moveTo>
                    <a:lnTo>
                      <a:pt x="371" y="443"/>
                    </a:lnTo>
                    <a:lnTo>
                      <a:pt x="371" y="439"/>
                    </a:lnTo>
                    <a:lnTo>
                      <a:pt x="371" y="435"/>
                    </a:lnTo>
                    <a:lnTo>
                      <a:pt x="375" y="435"/>
                    </a:lnTo>
                    <a:lnTo>
                      <a:pt x="375" y="439"/>
                    </a:lnTo>
                    <a:lnTo>
                      <a:pt x="375" y="443"/>
                    </a:lnTo>
                    <a:lnTo>
                      <a:pt x="371" y="443"/>
                    </a:lnTo>
                    <a:lnTo>
                      <a:pt x="371" y="447"/>
                    </a:lnTo>
                    <a:lnTo>
                      <a:pt x="375" y="447"/>
                    </a:lnTo>
                    <a:lnTo>
                      <a:pt x="371" y="447"/>
                    </a:lnTo>
                    <a:close/>
                    <a:moveTo>
                      <a:pt x="371" y="451"/>
                    </a:moveTo>
                    <a:lnTo>
                      <a:pt x="371" y="455"/>
                    </a:lnTo>
                    <a:lnTo>
                      <a:pt x="371" y="459"/>
                    </a:lnTo>
                    <a:lnTo>
                      <a:pt x="371" y="463"/>
                    </a:lnTo>
                    <a:lnTo>
                      <a:pt x="367" y="459"/>
                    </a:lnTo>
                    <a:lnTo>
                      <a:pt x="367" y="455"/>
                    </a:lnTo>
                    <a:lnTo>
                      <a:pt x="371" y="455"/>
                    </a:lnTo>
                    <a:lnTo>
                      <a:pt x="371" y="451"/>
                    </a:lnTo>
                    <a:lnTo>
                      <a:pt x="371" y="447"/>
                    </a:lnTo>
                    <a:lnTo>
                      <a:pt x="371" y="451"/>
                    </a:lnTo>
                    <a:lnTo>
                      <a:pt x="371" y="447"/>
                    </a:lnTo>
                    <a:lnTo>
                      <a:pt x="371" y="451"/>
                    </a:lnTo>
                    <a:close/>
                    <a:moveTo>
                      <a:pt x="367" y="475"/>
                    </a:moveTo>
                    <a:lnTo>
                      <a:pt x="367" y="479"/>
                    </a:lnTo>
                    <a:lnTo>
                      <a:pt x="363" y="479"/>
                    </a:lnTo>
                    <a:lnTo>
                      <a:pt x="363" y="475"/>
                    </a:lnTo>
                    <a:lnTo>
                      <a:pt x="367" y="475"/>
                    </a:lnTo>
                    <a:lnTo>
                      <a:pt x="367" y="471"/>
                    </a:lnTo>
                    <a:lnTo>
                      <a:pt x="367" y="475"/>
                    </a:lnTo>
                    <a:close/>
                    <a:moveTo>
                      <a:pt x="387" y="543"/>
                    </a:moveTo>
                    <a:lnTo>
                      <a:pt x="387" y="547"/>
                    </a:lnTo>
                    <a:lnTo>
                      <a:pt x="387" y="551"/>
                    </a:lnTo>
                    <a:lnTo>
                      <a:pt x="387" y="547"/>
                    </a:lnTo>
                    <a:lnTo>
                      <a:pt x="387" y="543"/>
                    </a:lnTo>
                    <a:lnTo>
                      <a:pt x="383" y="543"/>
                    </a:lnTo>
                    <a:lnTo>
                      <a:pt x="387" y="539"/>
                    </a:lnTo>
                    <a:lnTo>
                      <a:pt x="387" y="54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3" name="Freeform 18">
                <a:extLst>
                  <a:ext uri="{FF2B5EF4-FFF2-40B4-BE49-F238E27FC236}">
                    <a16:creationId xmlns:a16="http://schemas.microsoft.com/office/drawing/2014/main" id="{25B19652-2651-4CCB-A34E-8910A42AD448}"/>
                  </a:ext>
                </a:extLst>
              </p:cNvPr>
              <p:cNvSpPr>
                <a:spLocks noEditPoint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632586" y="5011384"/>
                <a:ext cx="366835" cy="368096"/>
              </a:xfrm>
              <a:custGeom>
                <a:avLst/>
                <a:gdLst/>
                <a:ahLst/>
                <a:cxnLst>
                  <a:cxn ang="0">
                    <a:pos x="267" y="168"/>
                  </a:cxn>
                  <a:cxn ang="0">
                    <a:pos x="259" y="192"/>
                  </a:cxn>
                  <a:cxn ang="0">
                    <a:pos x="263" y="212"/>
                  </a:cxn>
                  <a:cxn ang="0">
                    <a:pos x="283" y="228"/>
                  </a:cxn>
                  <a:cxn ang="0">
                    <a:pos x="287" y="248"/>
                  </a:cxn>
                  <a:cxn ang="0">
                    <a:pos x="283" y="260"/>
                  </a:cxn>
                  <a:cxn ang="0">
                    <a:pos x="275" y="268"/>
                  </a:cxn>
                  <a:cxn ang="0">
                    <a:pos x="267" y="284"/>
                  </a:cxn>
                  <a:cxn ang="0">
                    <a:pos x="255" y="288"/>
                  </a:cxn>
                  <a:cxn ang="0">
                    <a:pos x="243" y="284"/>
                  </a:cxn>
                  <a:cxn ang="0">
                    <a:pos x="219" y="280"/>
                  </a:cxn>
                  <a:cxn ang="0">
                    <a:pos x="203" y="276"/>
                  </a:cxn>
                  <a:cxn ang="0">
                    <a:pos x="195" y="252"/>
                  </a:cxn>
                  <a:cxn ang="0">
                    <a:pos x="175" y="256"/>
                  </a:cxn>
                  <a:cxn ang="0">
                    <a:pos x="155" y="260"/>
                  </a:cxn>
                  <a:cxn ang="0">
                    <a:pos x="135" y="252"/>
                  </a:cxn>
                  <a:cxn ang="0">
                    <a:pos x="123" y="240"/>
                  </a:cxn>
                  <a:cxn ang="0">
                    <a:pos x="108" y="224"/>
                  </a:cxn>
                  <a:cxn ang="0">
                    <a:pos x="100" y="208"/>
                  </a:cxn>
                  <a:cxn ang="0">
                    <a:pos x="92" y="192"/>
                  </a:cxn>
                  <a:cxn ang="0">
                    <a:pos x="80" y="188"/>
                  </a:cxn>
                  <a:cxn ang="0">
                    <a:pos x="72" y="196"/>
                  </a:cxn>
                  <a:cxn ang="0">
                    <a:pos x="60" y="176"/>
                  </a:cxn>
                  <a:cxn ang="0">
                    <a:pos x="56" y="160"/>
                  </a:cxn>
                  <a:cxn ang="0">
                    <a:pos x="48" y="144"/>
                  </a:cxn>
                  <a:cxn ang="0">
                    <a:pos x="32" y="128"/>
                  </a:cxn>
                  <a:cxn ang="0">
                    <a:pos x="20" y="116"/>
                  </a:cxn>
                  <a:cxn ang="0">
                    <a:pos x="28" y="104"/>
                  </a:cxn>
                  <a:cxn ang="0">
                    <a:pos x="28" y="96"/>
                  </a:cxn>
                  <a:cxn ang="0">
                    <a:pos x="32" y="80"/>
                  </a:cxn>
                  <a:cxn ang="0">
                    <a:pos x="20" y="72"/>
                  </a:cxn>
                  <a:cxn ang="0">
                    <a:pos x="12" y="56"/>
                  </a:cxn>
                  <a:cxn ang="0">
                    <a:pos x="4" y="36"/>
                  </a:cxn>
                  <a:cxn ang="0">
                    <a:pos x="4" y="16"/>
                  </a:cxn>
                  <a:cxn ang="0">
                    <a:pos x="4" y="4"/>
                  </a:cxn>
                  <a:cxn ang="0">
                    <a:pos x="16" y="8"/>
                  </a:cxn>
                  <a:cxn ang="0">
                    <a:pos x="36" y="16"/>
                  </a:cxn>
                  <a:cxn ang="0">
                    <a:pos x="52" y="4"/>
                  </a:cxn>
                  <a:cxn ang="0">
                    <a:pos x="64" y="12"/>
                  </a:cxn>
                  <a:cxn ang="0">
                    <a:pos x="68" y="28"/>
                  </a:cxn>
                  <a:cxn ang="0">
                    <a:pos x="96" y="28"/>
                  </a:cxn>
                  <a:cxn ang="0">
                    <a:pos x="115" y="28"/>
                  </a:cxn>
                  <a:cxn ang="0">
                    <a:pos x="131" y="40"/>
                  </a:cxn>
                  <a:cxn ang="0">
                    <a:pos x="151" y="48"/>
                  </a:cxn>
                  <a:cxn ang="0">
                    <a:pos x="167" y="36"/>
                  </a:cxn>
                  <a:cxn ang="0">
                    <a:pos x="187" y="32"/>
                  </a:cxn>
                  <a:cxn ang="0">
                    <a:pos x="199" y="28"/>
                  </a:cxn>
                  <a:cxn ang="0">
                    <a:pos x="223" y="40"/>
                  </a:cxn>
                  <a:cxn ang="0">
                    <a:pos x="231" y="48"/>
                  </a:cxn>
                  <a:cxn ang="0">
                    <a:pos x="251" y="64"/>
                  </a:cxn>
                  <a:cxn ang="0">
                    <a:pos x="259" y="80"/>
                  </a:cxn>
                  <a:cxn ang="0">
                    <a:pos x="259" y="100"/>
                  </a:cxn>
                  <a:cxn ang="0">
                    <a:pos x="251" y="116"/>
                  </a:cxn>
                  <a:cxn ang="0">
                    <a:pos x="251" y="132"/>
                  </a:cxn>
                  <a:cxn ang="0">
                    <a:pos x="255" y="156"/>
                  </a:cxn>
                  <a:cxn ang="0">
                    <a:pos x="187" y="256"/>
                  </a:cxn>
                  <a:cxn ang="0">
                    <a:pos x="171" y="260"/>
                  </a:cxn>
                  <a:cxn ang="0">
                    <a:pos x="187" y="256"/>
                  </a:cxn>
                </a:cxnLst>
                <a:rect l="0" t="0" r="r" b="b"/>
                <a:pathLst>
                  <a:path w="291" h="292">
                    <a:moveTo>
                      <a:pt x="255" y="156"/>
                    </a:moveTo>
                    <a:lnTo>
                      <a:pt x="255" y="160"/>
                    </a:lnTo>
                    <a:lnTo>
                      <a:pt x="255" y="164"/>
                    </a:lnTo>
                    <a:lnTo>
                      <a:pt x="259" y="168"/>
                    </a:lnTo>
                    <a:lnTo>
                      <a:pt x="263" y="168"/>
                    </a:lnTo>
                    <a:lnTo>
                      <a:pt x="267" y="168"/>
                    </a:lnTo>
                    <a:lnTo>
                      <a:pt x="267" y="172"/>
                    </a:lnTo>
                    <a:lnTo>
                      <a:pt x="271" y="172"/>
                    </a:lnTo>
                    <a:lnTo>
                      <a:pt x="271" y="176"/>
                    </a:lnTo>
                    <a:lnTo>
                      <a:pt x="267" y="180"/>
                    </a:lnTo>
                    <a:lnTo>
                      <a:pt x="263" y="188"/>
                    </a:lnTo>
                    <a:lnTo>
                      <a:pt x="259" y="192"/>
                    </a:lnTo>
                    <a:lnTo>
                      <a:pt x="259" y="196"/>
                    </a:lnTo>
                    <a:lnTo>
                      <a:pt x="255" y="196"/>
                    </a:lnTo>
                    <a:lnTo>
                      <a:pt x="255" y="200"/>
                    </a:lnTo>
                    <a:lnTo>
                      <a:pt x="259" y="200"/>
                    </a:lnTo>
                    <a:lnTo>
                      <a:pt x="263" y="208"/>
                    </a:lnTo>
                    <a:lnTo>
                      <a:pt x="263" y="212"/>
                    </a:lnTo>
                    <a:lnTo>
                      <a:pt x="267" y="216"/>
                    </a:lnTo>
                    <a:lnTo>
                      <a:pt x="267" y="220"/>
                    </a:lnTo>
                    <a:lnTo>
                      <a:pt x="271" y="224"/>
                    </a:lnTo>
                    <a:lnTo>
                      <a:pt x="275" y="224"/>
                    </a:lnTo>
                    <a:lnTo>
                      <a:pt x="279" y="228"/>
                    </a:lnTo>
                    <a:lnTo>
                      <a:pt x="283" y="228"/>
                    </a:lnTo>
                    <a:lnTo>
                      <a:pt x="283" y="232"/>
                    </a:lnTo>
                    <a:lnTo>
                      <a:pt x="283" y="236"/>
                    </a:lnTo>
                    <a:lnTo>
                      <a:pt x="283" y="240"/>
                    </a:lnTo>
                    <a:lnTo>
                      <a:pt x="283" y="244"/>
                    </a:lnTo>
                    <a:lnTo>
                      <a:pt x="283" y="248"/>
                    </a:lnTo>
                    <a:lnTo>
                      <a:pt x="287" y="248"/>
                    </a:lnTo>
                    <a:lnTo>
                      <a:pt x="291" y="248"/>
                    </a:lnTo>
                    <a:lnTo>
                      <a:pt x="291" y="252"/>
                    </a:lnTo>
                    <a:lnTo>
                      <a:pt x="291" y="256"/>
                    </a:lnTo>
                    <a:lnTo>
                      <a:pt x="291" y="260"/>
                    </a:lnTo>
                    <a:lnTo>
                      <a:pt x="287" y="260"/>
                    </a:lnTo>
                    <a:lnTo>
                      <a:pt x="283" y="260"/>
                    </a:lnTo>
                    <a:lnTo>
                      <a:pt x="283" y="264"/>
                    </a:lnTo>
                    <a:lnTo>
                      <a:pt x="279" y="264"/>
                    </a:lnTo>
                    <a:lnTo>
                      <a:pt x="275" y="264"/>
                    </a:lnTo>
                    <a:lnTo>
                      <a:pt x="275" y="268"/>
                    </a:lnTo>
                    <a:lnTo>
                      <a:pt x="275" y="264"/>
                    </a:lnTo>
                    <a:lnTo>
                      <a:pt x="275" y="268"/>
                    </a:lnTo>
                    <a:lnTo>
                      <a:pt x="271" y="268"/>
                    </a:lnTo>
                    <a:lnTo>
                      <a:pt x="271" y="272"/>
                    </a:lnTo>
                    <a:lnTo>
                      <a:pt x="271" y="276"/>
                    </a:lnTo>
                    <a:lnTo>
                      <a:pt x="267" y="276"/>
                    </a:lnTo>
                    <a:lnTo>
                      <a:pt x="267" y="280"/>
                    </a:lnTo>
                    <a:lnTo>
                      <a:pt x="267" y="284"/>
                    </a:lnTo>
                    <a:lnTo>
                      <a:pt x="267" y="288"/>
                    </a:lnTo>
                    <a:lnTo>
                      <a:pt x="263" y="288"/>
                    </a:lnTo>
                    <a:lnTo>
                      <a:pt x="263" y="292"/>
                    </a:lnTo>
                    <a:lnTo>
                      <a:pt x="259" y="292"/>
                    </a:lnTo>
                    <a:lnTo>
                      <a:pt x="259" y="288"/>
                    </a:lnTo>
                    <a:lnTo>
                      <a:pt x="255" y="288"/>
                    </a:lnTo>
                    <a:lnTo>
                      <a:pt x="251" y="288"/>
                    </a:lnTo>
                    <a:lnTo>
                      <a:pt x="251" y="284"/>
                    </a:lnTo>
                    <a:lnTo>
                      <a:pt x="247" y="284"/>
                    </a:lnTo>
                    <a:lnTo>
                      <a:pt x="247" y="288"/>
                    </a:lnTo>
                    <a:lnTo>
                      <a:pt x="247" y="284"/>
                    </a:lnTo>
                    <a:lnTo>
                      <a:pt x="243" y="284"/>
                    </a:lnTo>
                    <a:lnTo>
                      <a:pt x="239" y="284"/>
                    </a:lnTo>
                    <a:lnTo>
                      <a:pt x="235" y="284"/>
                    </a:lnTo>
                    <a:lnTo>
                      <a:pt x="231" y="284"/>
                    </a:lnTo>
                    <a:lnTo>
                      <a:pt x="227" y="284"/>
                    </a:lnTo>
                    <a:lnTo>
                      <a:pt x="223" y="280"/>
                    </a:lnTo>
                    <a:lnTo>
                      <a:pt x="219" y="280"/>
                    </a:lnTo>
                    <a:lnTo>
                      <a:pt x="215" y="280"/>
                    </a:lnTo>
                    <a:lnTo>
                      <a:pt x="215" y="284"/>
                    </a:lnTo>
                    <a:lnTo>
                      <a:pt x="211" y="280"/>
                    </a:lnTo>
                    <a:lnTo>
                      <a:pt x="207" y="280"/>
                    </a:lnTo>
                    <a:lnTo>
                      <a:pt x="203" y="280"/>
                    </a:lnTo>
                    <a:lnTo>
                      <a:pt x="203" y="276"/>
                    </a:lnTo>
                    <a:lnTo>
                      <a:pt x="199" y="276"/>
                    </a:lnTo>
                    <a:lnTo>
                      <a:pt x="199" y="272"/>
                    </a:lnTo>
                    <a:lnTo>
                      <a:pt x="199" y="264"/>
                    </a:lnTo>
                    <a:lnTo>
                      <a:pt x="199" y="260"/>
                    </a:lnTo>
                    <a:lnTo>
                      <a:pt x="195" y="256"/>
                    </a:lnTo>
                    <a:lnTo>
                      <a:pt x="195" y="252"/>
                    </a:lnTo>
                    <a:lnTo>
                      <a:pt x="191" y="252"/>
                    </a:lnTo>
                    <a:lnTo>
                      <a:pt x="187" y="252"/>
                    </a:lnTo>
                    <a:lnTo>
                      <a:pt x="183" y="252"/>
                    </a:lnTo>
                    <a:lnTo>
                      <a:pt x="179" y="252"/>
                    </a:lnTo>
                    <a:lnTo>
                      <a:pt x="175" y="252"/>
                    </a:lnTo>
                    <a:lnTo>
                      <a:pt x="175" y="256"/>
                    </a:lnTo>
                    <a:lnTo>
                      <a:pt x="175" y="260"/>
                    </a:lnTo>
                    <a:lnTo>
                      <a:pt x="171" y="260"/>
                    </a:lnTo>
                    <a:lnTo>
                      <a:pt x="167" y="260"/>
                    </a:lnTo>
                    <a:lnTo>
                      <a:pt x="163" y="264"/>
                    </a:lnTo>
                    <a:lnTo>
                      <a:pt x="159" y="260"/>
                    </a:lnTo>
                    <a:lnTo>
                      <a:pt x="155" y="260"/>
                    </a:lnTo>
                    <a:lnTo>
                      <a:pt x="151" y="260"/>
                    </a:lnTo>
                    <a:lnTo>
                      <a:pt x="147" y="260"/>
                    </a:lnTo>
                    <a:lnTo>
                      <a:pt x="143" y="256"/>
                    </a:lnTo>
                    <a:lnTo>
                      <a:pt x="143" y="252"/>
                    </a:lnTo>
                    <a:lnTo>
                      <a:pt x="139" y="252"/>
                    </a:lnTo>
                    <a:lnTo>
                      <a:pt x="135" y="252"/>
                    </a:lnTo>
                    <a:lnTo>
                      <a:pt x="135" y="248"/>
                    </a:lnTo>
                    <a:lnTo>
                      <a:pt x="131" y="248"/>
                    </a:lnTo>
                    <a:lnTo>
                      <a:pt x="131" y="244"/>
                    </a:lnTo>
                    <a:lnTo>
                      <a:pt x="127" y="244"/>
                    </a:lnTo>
                    <a:lnTo>
                      <a:pt x="127" y="240"/>
                    </a:lnTo>
                    <a:lnTo>
                      <a:pt x="123" y="240"/>
                    </a:lnTo>
                    <a:lnTo>
                      <a:pt x="119" y="236"/>
                    </a:lnTo>
                    <a:lnTo>
                      <a:pt x="115" y="236"/>
                    </a:lnTo>
                    <a:lnTo>
                      <a:pt x="112" y="236"/>
                    </a:lnTo>
                    <a:lnTo>
                      <a:pt x="112" y="232"/>
                    </a:lnTo>
                    <a:lnTo>
                      <a:pt x="108" y="228"/>
                    </a:lnTo>
                    <a:lnTo>
                      <a:pt x="108" y="224"/>
                    </a:lnTo>
                    <a:lnTo>
                      <a:pt x="108" y="220"/>
                    </a:lnTo>
                    <a:lnTo>
                      <a:pt x="104" y="220"/>
                    </a:lnTo>
                    <a:lnTo>
                      <a:pt x="104" y="216"/>
                    </a:lnTo>
                    <a:lnTo>
                      <a:pt x="104" y="212"/>
                    </a:lnTo>
                    <a:lnTo>
                      <a:pt x="100" y="212"/>
                    </a:lnTo>
                    <a:lnTo>
                      <a:pt x="100" y="208"/>
                    </a:lnTo>
                    <a:lnTo>
                      <a:pt x="100" y="204"/>
                    </a:lnTo>
                    <a:lnTo>
                      <a:pt x="96" y="204"/>
                    </a:lnTo>
                    <a:lnTo>
                      <a:pt x="96" y="200"/>
                    </a:lnTo>
                    <a:lnTo>
                      <a:pt x="96" y="196"/>
                    </a:lnTo>
                    <a:lnTo>
                      <a:pt x="92" y="196"/>
                    </a:lnTo>
                    <a:lnTo>
                      <a:pt x="92" y="192"/>
                    </a:lnTo>
                    <a:lnTo>
                      <a:pt x="88" y="192"/>
                    </a:lnTo>
                    <a:lnTo>
                      <a:pt x="84" y="196"/>
                    </a:lnTo>
                    <a:lnTo>
                      <a:pt x="84" y="192"/>
                    </a:lnTo>
                    <a:lnTo>
                      <a:pt x="80" y="192"/>
                    </a:lnTo>
                    <a:lnTo>
                      <a:pt x="76" y="188"/>
                    </a:lnTo>
                    <a:lnTo>
                      <a:pt x="80" y="188"/>
                    </a:lnTo>
                    <a:lnTo>
                      <a:pt x="80" y="184"/>
                    </a:lnTo>
                    <a:lnTo>
                      <a:pt x="76" y="184"/>
                    </a:lnTo>
                    <a:lnTo>
                      <a:pt x="72" y="188"/>
                    </a:lnTo>
                    <a:lnTo>
                      <a:pt x="76" y="192"/>
                    </a:lnTo>
                    <a:lnTo>
                      <a:pt x="76" y="196"/>
                    </a:lnTo>
                    <a:lnTo>
                      <a:pt x="72" y="196"/>
                    </a:lnTo>
                    <a:lnTo>
                      <a:pt x="68" y="196"/>
                    </a:lnTo>
                    <a:lnTo>
                      <a:pt x="68" y="192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60" y="184"/>
                    </a:lnTo>
                    <a:lnTo>
                      <a:pt x="60" y="176"/>
                    </a:lnTo>
                    <a:lnTo>
                      <a:pt x="56" y="176"/>
                    </a:lnTo>
                    <a:lnTo>
                      <a:pt x="56" y="172"/>
                    </a:lnTo>
                    <a:lnTo>
                      <a:pt x="56" y="168"/>
                    </a:lnTo>
                    <a:lnTo>
                      <a:pt x="56" y="164"/>
                    </a:lnTo>
                    <a:lnTo>
                      <a:pt x="60" y="160"/>
                    </a:lnTo>
                    <a:lnTo>
                      <a:pt x="56" y="160"/>
                    </a:lnTo>
                    <a:lnTo>
                      <a:pt x="56" y="156"/>
                    </a:lnTo>
                    <a:lnTo>
                      <a:pt x="56" y="152"/>
                    </a:lnTo>
                    <a:lnTo>
                      <a:pt x="52" y="152"/>
                    </a:lnTo>
                    <a:lnTo>
                      <a:pt x="52" y="148"/>
                    </a:lnTo>
                    <a:lnTo>
                      <a:pt x="48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0" y="140"/>
                    </a:lnTo>
                    <a:lnTo>
                      <a:pt x="36" y="136"/>
                    </a:lnTo>
                    <a:lnTo>
                      <a:pt x="32" y="136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24"/>
                    </a:lnTo>
                    <a:lnTo>
                      <a:pt x="24" y="124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0" y="116"/>
                    </a:lnTo>
                    <a:lnTo>
                      <a:pt x="24" y="116"/>
                    </a:lnTo>
                    <a:lnTo>
                      <a:pt x="24" y="112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24" y="104"/>
                    </a:lnTo>
                    <a:lnTo>
                      <a:pt x="28" y="104"/>
                    </a:lnTo>
                    <a:lnTo>
                      <a:pt x="24" y="104"/>
                    </a:lnTo>
                    <a:lnTo>
                      <a:pt x="24" y="100"/>
                    </a:lnTo>
                    <a:lnTo>
                      <a:pt x="28" y="100"/>
                    </a:lnTo>
                    <a:lnTo>
                      <a:pt x="28" y="96"/>
                    </a:lnTo>
                    <a:lnTo>
                      <a:pt x="28" y="100"/>
                    </a:lnTo>
                    <a:lnTo>
                      <a:pt x="28" y="96"/>
                    </a:lnTo>
                    <a:lnTo>
                      <a:pt x="32" y="96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28" y="84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6" y="80"/>
                    </a:lnTo>
                    <a:lnTo>
                      <a:pt x="32" y="80"/>
                    </a:lnTo>
                    <a:lnTo>
                      <a:pt x="28" y="80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4" y="4"/>
                    </a:lnTo>
                    <a:lnTo>
                      <a:pt x="68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0" y="16"/>
                    </a:lnTo>
                    <a:lnTo>
                      <a:pt x="64" y="20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8"/>
                    </a:lnTo>
                    <a:lnTo>
                      <a:pt x="72" y="28"/>
                    </a:lnTo>
                    <a:lnTo>
                      <a:pt x="72" y="24"/>
                    </a:lnTo>
                    <a:lnTo>
                      <a:pt x="76" y="24"/>
                    </a:lnTo>
                    <a:lnTo>
                      <a:pt x="88" y="28"/>
                    </a:lnTo>
                    <a:lnTo>
                      <a:pt x="92" y="28"/>
                    </a:lnTo>
                    <a:lnTo>
                      <a:pt x="96" y="28"/>
                    </a:lnTo>
                    <a:lnTo>
                      <a:pt x="100" y="24"/>
                    </a:lnTo>
                    <a:lnTo>
                      <a:pt x="104" y="24"/>
                    </a:lnTo>
                    <a:lnTo>
                      <a:pt x="108" y="24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15" y="28"/>
                    </a:lnTo>
                    <a:lnTo>
                      <a:pt x="119" y="32"/>
                    </a:lnTo>
                    <a:lnTo>
                      <a:pt x="119" y="36"/>
                    </a:lnTo>
                    <a:lnTo>
                      <a:pt x="123" y="36"/>
                    </a:lnTo>
                    <a:lnTo>
                      <a:pt x="123" y="40"/>
                    </a:lnTo>
                    <a:lnTo>
                      <a:pt x="127" y="40"/>
                    </a:lnTo>
                    <a:lnTo>
                      <a:pt x="131" y="40"/>
                    </a:lnTo>
                    <a:lnTo>
                      <a:pt x="135" y="40"/>
                    </a:lnTo>
                    <a:lnTo>
                      <a:pt x="135" y="44"/>
                    </a:lnTo>
                    <a:lnTo>
                      <a:pt x="139" y="44"/>
                    </a:lnTo>
                    <a:lnTo>
                      <a:pt x="143" y="48"/>
                    </a:lnTo>
                    <a:lnTo>
                      <a:pt x="147" y="48"/>
                    </a:lnTo>
                    <a:lnTo>
                      <a:pt x="151" y="48"/>
                    </a:lnTo>
                    <a:lnTo>
                      <a:pt x="155" y="48"/>
                    </a:lnTo>
                    <a:lnTo>
                      <a:pt x="159" y="48"/>
                    </a:lnTo>
                    <a:lnTo>
                      <a:pt x="163" y="44"/>
                    </a:lnTo>
                    <a:lnTo>
                      <a:pt x="163" y="40"/>
                    </a:lnTo>
                    <a:lnTo>
                      <a:pt x="167" y="40"/>
                    </a:lnTo>
                    <a:lnTo>
                      <a:pt x="167" y="36"/>
                    </a:lnTo>
                    <a:lnTo>
                      <a:pt x="171" y="36"/>
                    </a:lnTo>
                    <a:lnTo>
                      <a:pt x="171" y="32"/>
                    </a:lnTo>
                    <a:lnTo>
                      <a:pt x="175" y="32"/>
                    </a:lnTo>
                    <a:lnTo>
                      <a:pt x="179" y="32"/>
                    </a:lnTo>
                    <a:lnTo>
                      <a:pt x="183" y="32"/>
                    </a:lnTo>
                    <a:lnTo>
                      <a:pt x="187" y="32"/>
                    </a:lnTo>
                    <a:lnTo>
                      <a:pt x="187" y="28"/>
                    </a:lnTo>
                    <a:lnTo>
                      <a:pt x="191" y="28"/>
                    </a:lnTo>
                    <a:lnTo>
                      <a:pt x="195" y="28"/>
                    </a:lnTo>
                    <a:lnTo>
                      <a:pt x="195" y="32"/>
                    </a:lnTo>
                    <a:lnTo>
                      <a:pt x="199" y="32"/>
                    </a:lnTo>
                    <a:lnTo>
                      <a:pt x="199" y="28"/>
                    </a:lnTo>
                    <a:lnTo>
                      <a:pt x="203" y="32"/>
                    </a:lnTo>
                    <a:lnTo>
                      <a:pt x="203" y="36"/>
                    </a:lnTo>
                    <a:lnTo>
                      <a:pt x="207" y="36"/>
                    </a:lnTo>
                    <a:lnTo>
                      <a:pt x="215" y="40"/>
                    </a:lnTo>
                    <a:lnTo>
                      <a:pt x="219" y="44"/>
                    </a:lnTo>
                    <a:lnTo>
                      <a:pt x="223" y="40"/>
                    </a:lnTo>
                    <a:lnTo>
                      <a:pt x="223" y="44"/>
                    </a:lnTo>
                    <a:lnTo>
                      <a:pt x="223" y="40"/>
                    </a:lnTo>
                    <a:lnTo>
                      <a:pt x="227" y="40"/>
                    </a:lnTo>
                    <a:lnTo>
                      <a:pt x="227" y="44"/>
                    </a:lnTo>
                    <a:lnTo>
                      <a:pt x="231" y="44"/>
                    </a:lnTo>
                    <a:lnTo>
                      <a:pt x="231" y="48"/>
                    </a:lnTo>
                    <a:lnTo>
                      <a:pt x="235" y="52"/>
                    </a:lnTo>
                    <a:lnTo>
                      <a:pt x="239" y="52"/>
                    </a:lnTo>
                    <a:lnTo>
                      <a:pt x="243" y="56"/>
                    </a:lnTo>
                    <a:lnTo>
                      <a:pt x="243" y="60"/>
                    </a:lnTo>
                    <a:lnTo>
                      <a:pt x="247" y="64"/>
                    </a:lnTo>
                    <a:lnTo>
                      <a:pt x="251" y="64"/>
                    </a:lnTo>
                    <a:lnTo>
                      <a:pt x="255" y="64"/>
                    </a:lnTo>
                    <a:lnTo>
                      <a:pt x="259" y="64"/>
                    </a:lnTo>
                    <a:lnTo>
                      <a:pt x="259" y="68"/>
                    </a:lnTo>
                    <a:lnTo>
                      <a:pt x="259" y="72"/>
                    </a:lnTo>
                    <a:lnTo>
                      <a:pt x="259" y="76"/>
                    </a:lnTo>
                    <a:lnTo>
                      <a:pt x="259" y="80"/>
                    </a:lnTo>
                    <a:lnTo>
                      <a:pt x="259" y="84"/>
                    </a:lnTo>
                    <a:lnTo>
                      <a:pt x="263" y="84"/>
                    </a:lnTo>
                    <a:lnTo>
                      <a:pt x="259" y="88"/>
                    </a:lnTo>
                    <a:lnTo>
                      <a:pt x="259" y="92"/>
                    </a:lnTo>
                    <a:lnTo>
                      <a:pt x="259" y="96"/>
                    </a:lnTo>
                    <a:lnTo>
                      <a:pt x="259" y="100"/>
                    </a:lnTo>
                    <a:lnTo>
                      <a:pt x="255" y="104"/>
                    </a:lnTo>
                    <a:lnTo>
                      <a:pt x="251" y="104"/>
                    </a:lnTo>
                    <a:lnTo>
                      <a:pt x="255" y="108"/>
                    </a:lnTo>
                    <a:lnTo>
                      <a:pt x="251" y="108"/>
                    </a:lnTo>
                    <a:lnTo>
                      <a:pt x="251" y="112"/>
                    </a:lnTo>
                    <a:lnTo>
                      <a:pt x="251" y="116"/>
                    </a:lnTo>
                    <a:lnTo>
                      <a:pt x="251" y="120"/>
                    </a:lnTo>
                    <a:lnTo>
                      <a:pt x="251" y="124"/>
                    </a:lnTo>
                    <a:lnTo>
                      <a:pt x="255" y="124"/>
                    </a:lnTo>
                    <a:lnTo>
                      <a:pt x="255" y="128"/>
                    </a:lnTo>
                    <a:lnTo>
                      <a:pt x="251" y="128"/>
                    </a:lnTo>
                    <a:lnTo>
                      <a:pt x="251" y="132"/>
                    </a:lnTo>
                    <a:lnTo>
                      <a:pt x="251" y="136"/>
                    </a:lnTo>
                    <a:lnTo>
                      <a:pt x="251" y="140"/>
                    </a:lnTo>
                    <a:lnTo>
                      <a:pt x="251" y="144"/>
                    </a:lnTo>
                    <a:lnTo>
                      <a:pt x="255" y="148"/>
                    </a:lnTo>
                    <a:lnTo>
                      <a:pt x="255" y="152"/>
                    </a:lnTo>
                    <a:lnTo>
                      <a:pt x="255" y="156"/>
                    </a:lnTo>
                    <a:close/>
                    <a:moveTo>
                      <a:pt x="175" y="256"/>
                    </a:moveTo>
                    <a:lnTo>
                      <a:pt x="175" y="260"/>
                    </a:lnTo>
                    <a:lnTo>
                      <a:pt x="175" y="256"/>
                    </a:lnTo>
                    <a:lnTo>
                      <a:pt x="179" y="256"/>
                    </a:lnTo>
                    <a:lnTo>
                      <a:pt x="175" y="256"/>
                    </a:lnTo>
                    <a:close/>
                    <a:moveTo>
                      <a:pt x="187" y="256"/>
                    </a:moveTo>
                    <a:lnTo>
                      <a:pt x="183" y="256"/>
                    </a:lnTo>
                    <a:lnTo>
                      <a:pt x="183" y="260"/>
                    </a:lnTo>
                    <a:lnTo>
                      <a:pt x="179" y="260"/>
                    </a:lnTo>
                    <a:lnTo>
                      <a:pt x="175" y="260"/>
                    </a:lnTo>
                    <a:lnTo>
                      <a:pt x="171" y="264"/>
                    </a:lnTo>
                    <a:lnTo>
                      <a:pt x="171" y="260"/>
                    </a:lnTo>
                    <a:lnTo>
                      <a:pt x="175" y="260"/>
                    </a:lnTo>
                    <a:lnTo>
                      <a:pt x="179" y="260"/>
                    </a:lnTo>
                    <a:lnTo>
                      <a:pt x="179" y="256"/>
                    </a:lnTo>
                    <a:lnTo>
                      <a:pt x="183" y="256"/>
                    </a:lnTo>
                    <a:lnTo>
                      <a:pt x="183" y="252"/>
                    </a:lnTo>
                    <a:lnTo>
                      <a:pt x="187" y="25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4" name="Freeform 19">
                <a:extLst>
                  <a:ext uri="{FF2B5EF4-FFF2-40B4-BE49-F238E27FC236}">
                    <a16:creationId xmlns:a16="http://schemas.microsoft.com/office/drawing/2014/main" id="{91AB27D0-B2EF-49F2-979B-11F4FCF61444}"/>
                  </a:ext>
                </a:extLst>
              </p:cNvPr>
              <p:cNvSpPr>
                <a:spLocks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531737" y="5071893"/>
                <a:ext cx="186569" cy="206739"/>
              </a:xfrm>
              <a:custGeom>
                <a:avLst/>
                <a:gdLst/>
                <a:ahLst/>
                <a:cxnLst>
                  <a:cxn ang="0">
                    <a:pos x="4" y="96"/>
                  </a:cxn>
                  <a:cxn ang="0">
                    <a:pos x="16" y="72"/>
                  </a:cxn>
                  <a:cxn ang="0">
                    <a:pos x="36" y="60"/>
                  </a:cxn>
                  <a:cxn ang="0">
                    <a:pos x="36" y="44"/>
                  </a:cxn>
                  <a:cxn ang="0">
                    <a:pos x="40" y="40"/>
                  </a:cxn>
                  <a:cxn ang="0">
                    <a:pos x="40" y="36"/>
                  </a:cxn>
                  <a:cxn ang="0">
                    <a:pos x="40" y="20"/>
                  </a:cxn>
                  <a:cxn ang="0">
                    <a:pos x="56" y="4"/>
                  </a:cxn>
                  <a:cxn ang="0">
                    <a:pos x="60" y="0"/>
                  </a:cxn>
                  <a:cxn ang="0">
                    <a:pos x="64" y="0"/>
                  </a:cxn>
                  <a:cxn ang="0">
                    <a:pos x="80" y="4"/>
                  </a:cxn>
                  <a:cxn ang="0">
                    <a:pos x="80" y="0"/>
                  </a:cxn>
                  <a:cxn ang="0">
                    <a:pos x="84" y="4"/>
                  </a:cxn>
                  <a:cxn ang="0">
                    <a:pos x="88" y="4"/>
                  </a:cxn>
                  <a:cxn ang="0">
                    <a:pos x="92" y="4"/>
                  </a:cxn>
                  <a:cxn ang="0">
                    <a:pos x="92" y="8"/>
                  </a:cxn>
                  <a:cxn ang="0">
                    <a:pos x="92" y="12"/>
                  </a:cxn>
                  <a:cxn ang="0">
                    <a:pos x="96" y="16"/>
                  </a:cxn>
                  <a:cxn ang="0">
                    <a:pos x="96" y="20"/>
                  </a:cxn>
                  <a:cxn ang="0">
                    <a:pos x="100" y="20"/>
                  </a:cxn>
                  <a:cxn ang="0">
                    <a:pos x="104" y="28"/>
                  </a:cxn>
                  <a:cxn ang="0">
                    <a:pos x="108" y="32"/>
                  </a:cxn>
                  <a:cxn ang="0">
                    <a:pos x="112" y="32"/>
                  </a:cxn>
                  <a:cxn ang="0">
                    <a:pos x="116" y="32"/>
                  </a:cxn>
                  <a:cxn ang="0">
                    <a:pos x="112" y="32"/>
                  </a:cxn>
                  <a:cxn ang="0">
                    <a:pos x="112" y="40"/>
                  </a:cxn>
                  <a:cxn ang="0">
                    <a:pos x="112" y="44"/>
                  </a:cxn>
                  <a:cxn ang="0">
                    <a:pos x="108" y="48"/>
                  </a:cxn>
                  <a:cxn ang="0">
                    <a:pos x="104" y="52"/>
                  </a:cxn>
                  <a:cxn ang="0">
                    <a:pos x="108" y="56"/>
                  </a:cxn>
                  <a:cxn ang="0">
                    <a:pos x="104" y="60"/>
                  </a:cxn>
                  <a:cxn ang="0">
                    <a:pos x="104" y="64"/>
                  </a:cxn>
                  <a:cxn ang="0">
                    <a:pos x="104" y="68"/>
                  </a:cxn>
                  <a:cxn ang="0">
                    <a:pos x="108" y="76"/>
                  </a:cxn>
                  <a:cxn ang="0">
                    <a:pos x="108" y="80"/>
                  </a:cxn>
                  <a:cxn ang="0">
                    <a:pos x="112" y="80"/>
                  </a:cxn>
                  <a:cxn ang="0">
                    <a:pos x="112" y="84"/>
                  </a:cxn>
                  <a:cxn ang="0">
                    <a:pos x="112" y="88"/>
                  </a:cxn>
                  <a:cxn ang="0">
                    <a:pos x="116" y="88"/>
                  </a:cxn>
                  <a:cxn ang="0">
                    <a:pos x="120" y="92"/>
                  </a:cxn>
                  <a:cxn ang="0">
                    <a:pos x="124" y="96"/>
                  </a:cxn>
                  <a:cxn ang="0">
                    <a:pos x="128" y="100"/>
                  </a:cxn>
                  <a:cxn ang="0">
                    <a:pos x="136" y="104"/>
                  </a:cxn>
                  <a:cxn ang="0">
                    <a:pos x="140" y="112"/>
                  </a:cxn>
                  <a:cxn ang="0">
                    <a:pos x="136" y="124"/>
                  </a:cxn>
                  <a:cxn ang="0">
                    <a:pos x="140" y="128"/>
                  </a:cxn>
                  <a:cxn ang="0">
                    <a:pos x="140" y="140"/>
                  </a:cxn>
                  <a:cxn ang="0">
                    <a:pos x="148" y="144"/>
                  </a:cxn>
                  <a:cxn ang="0">
                    <a:pos x="148" y="148"/>
                  </a:cxn>
                  <a:cxn ang="0">
                    <a:pos x="144" y="148"/>
                  </a:cxn>
                  <a:cxn ang="0">
                    <a:pos x="140" y="148"/>
                  </a:cxn>
                  <a:cxn ang="0">
                    <a:pos x="132" y="144"/>
                  </a:cxn>
                  <a:cxn ang="0">
                    <a:pos x="128" y="148"/>
                  </a:cxn>
                  <a:cxn ang="0">
                    <a:pos x="124" y="160"/>
                  </a:cxn>
                  <a:cxn ang="0">
                    <a:pos x="120" y="164"/>
                  </a:cxn>
                  <a:cxn ang="0">
                    <a:pos x="112" y="164"/>
                  </a:cxn>
                  <a:cxn ang="0">
                    <a:pos x="40" y="120"/>
                  </a:cxn>
                </a:cxnLst>
                <a:rect l="0" t="0" r="r" b="b"/>
                <a:pathLst>
                  <a:path w="148" h="164">
                    <a:moveTo>
                      <a:pt x="8" y="104"/>
                    </a:moveTo>
                    <a:lnTo>
                      <a:pt x="8" y="104"/>
                    </a:lnTo>
                    <a:lnTo>
                      <a:pt x="8" y="100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4" y="80"/>
                    </a:lnTo>
                    <a:lnTo>
                      <a:pt x="8" y="76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20" y="68"/>
                    </a:lnTo>
                    <a:lnTo>
                      <a:pt x="20" y="68"/>
                    </a:lnTo>
                    <a:lnTo>
                      <a:pt x="24" y="68"/>
                    </a:lnTo>
                    <a:lnTo>
                      <a:pt x="28" y="64"/>
                    </a:lnTo>
                    <a:lnTo>
                      <a:pt x="36" y="60"/>
                    </a:lnTo>
                    <a:lnTo>
                      <a:pt x="36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16"/>
                    </a:lnTo>
                    <a:lnTo>
                      <a:pt x="48" y="16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12"/>
                    </a:lnTo>
                    <a:lnTo>
                      <a:pt x="92" y="12"/>
                    </a:lnTo>
                    <a:lnTo>
                      <a:pt x="92" y="12"/>
                    </a:lnTo>
                    <a:lnTo>
                      <a:pt x="92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100" y="20"/>
                    </a:lnTo>
                    <a:lnTo>
                      <a:pt x="100" y="20"/>
                    </a:lnTo>
                    <a:lnTo>
                      <a:pt x="100" y="20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4" y="28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6" y="32"/>
                    </a:lnTo>
                    <a:lnTo>
                      <a:pt x="116" y="32"/>
                    </a:lnTo>
                    <a:lnTo>
                      <a:pt x="116" y="32"/>
                    </a:lnTo>
                    <a:lnTo>
                      <a:pt x="116" y="32"/>
                    </a:lnTo>
                    <a:lnTo>
                      <a:pt x="116" y="32"/>
                    </a:lnTo>
                    <a:lnTo>
                      <a:pt x="116" y="32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12" y="36"/>
                    </a:lnTo>
                    <a:lnTo>
                      <a:pt x="108" y="36"/>
                    </a:lnTo>
                    <a:lnTo>
                      <a:pt x="112" y="40"/>
                    </a:lnTo>
                    <a:lnTo>
                      <a:pt x="112" y="40"/>
                    </a:lnTo>
                    <a:lnTo>
                      <a:pt x="112" y="40"/>
                    </a:lnTo>
                    <a:lnTo>
                      <a:pt x="112" y="40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6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4" y="56"/>
                    </a:lnTo>
                    <a:lnTo>
                      <a:pt x="104" y="56"/>
                    </a:lnTo>
                    <a:lnTo>
                      <a:pt x="104" y="56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0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4" y="76"/>
                    </a:lnTo>
                    <a:lnTo>
                      <a:pt x="108" y="76"/>
                    </a:lnTo>
                    <a:lnTo>
                      <a:pt x="108" y="76"/>
                    </a:lnTo>
                    <a:lnTo>
                      <a:pt x="108" y="76"/>
                    </a:lnTo>
                    <a:lnTo>
                      <a:pt x="108" y="76"/>
                    </a:lnTo>
                    <a:lnTo>
                      <a:pt x="108" y="76"/>
                    </a:lnTo>
                    <a:lnTo>
                      <a:pt x="108" y="76"/>
                    </a:lnTo>
                    <a:lnTo>
                      <a:pt x="108" y="76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2" y="84"/>
                    </a:lnTo>
                    <a:lnTo>
                      <a:pt x="112" y="84"/>
                    </a:lnTo>
                    <a:lnTo>
                      <a:pt x="112" y="84"/>
                    </a:lnTo>
                    <a:lnTo>
                      <a:pt x="112" y="84"/>
                    </a:lnTo>
                    <a:lnTo>
                      <a:pt x="112" y="88"/>
                    </a:lnTo>
                    <a:lnTo>
                      <a:pt x="112" y="88"/>
                    </a:lnTo>
                    <a:lnTo>
                      <a:pt x="112" y="88"/>
                    </a:lnTo>
                    <a:lnTo>
                      <a:pt x="112" y="88"/>
                    </a:lnTo>
                    <a:lnTo>
                      <a:pt x="112" y="88"/>
                    </a:lnTo>
                    <a:lnTo>
                      <a:pt x="112" y="88"/>
                    </a:lnTo>
                    <a:lnTo>
                      <a:pt x="112" y="88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20" y="92"/>
                    </a:lnTo>
                    <a:lnTo>
                      <a:pt x="120" y="92"/>
                    </a:lnTo>
                    <a:lnTo>
                      <a:pt x="120" y="92"/>
                    </a:lnTo>
                    <a:lnTo>
                      <a:pt x="120" y="92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4" y="96"/>
                    </a:lnTo>
                    <a:lnTo>
                      <a:pt x="128" y="96"/>
                    </a:lnTo>
                    <a:lnTo>
                      <a:pt x="128" y="96"/>
                    </a:lnTo>
                    <a:lnTo>
                      <a:pt x="128" y="100"/>
                    </a:lnTo>
                    <a:lnTo>
                      <a:pt x="128" y="100"/>
                    </a:lnTo>
                    <a:lnTo>
                      <a:pt x="128" y="100"/>
                    </a:lnTo>
                    <a:lnTo>
                      <a:pt x="128" y="100"/>
                    </a:lnTo>
                    <a:lnTo>
                      <a:pt x="128" y="100"/>
                    </a:lnTo>
                    <a:lnTo>
                      <a:pt x="132" y="100"/>
                    </a:lnTo>
                    <a:lnTo>
                      <a:pt x="132" y="100"/>
                    </a:lnTo>
                    <a:lnTo>
                      <a:pt x="132" y="100"/>
                    </a:lnTo>
                    <a:lnTo>
                      <a:pt x="132" y="104"/>
                    </a:lnTo>
                    <a:lnTo>
                      <a:pt x="136" y="104"/>
                    </a:lnTo>
                    <a:lnTo>
                      <a:pt x="136" y="108"/>
                    </a:lnTo>
                    <a:lnTo>
                      <a:pt x="136" y="108"/>
                    </a:lnTo>
                    <a:lnTo>
                      <a:pt x="136" y="112"/>
                    </a:lnTo>
                    <a:lnTo>
                      <a:pt x="140" y="112"/>
                    </a:lnTo>
                    <a:lnTo>
                      <a:pt x="140" y="112"/>
                    </a:lnTo>
                    <a:lnTo>
                      <a:pt x="140" y="112"/>
                    </a:lnTo>
                    <a:lnTo>
                      <a:pt x="136" y="116"/>
                    </a:lnTo>
                    <a:lnTo>
                      <a:pt x="136" y="116"/>
                    </a:lnTo>
                    <a:lnTo>
                      <a:pt x="136" y="120"/>
                    </a:lnTo>
                    <a:lnTo>
                      <a:pt x="136" y="120"/>
                    </a:lnTo>
                    <a:lnTo>
                      <a:pt x="136" y="120"/>
                    </a:lnTo>
                    <a:lnTo>
                      <a:pt x="136" y="124"/>
                    </a:lnTo>
                    <a:lnTo>
                      <a:pt x="136" y="124"/>
                    </a:lnTo>
                    <a:lnTo>
                      <a:pt x="136" y="124"/>
                    </a:lnTo>
                    <a:lnTo>
                      <a:pt x="136" y="124"/>
                    </a:lnTo>
                    <a:lnTo>
                      <a:pt x="136" y="128"/>
                    </a:lnTo>
                    <a:lnTo>
                      <a:pt x="140" y="128"/>
                    </a:lnTo>
                    <a:lnTo>
                      <a:pt x="140" y="128"/>
                    </a:lnTo>
                    <a:lnTo>
                      <a:pt x="140" y="128"/>
                    </a:lnTo>
                    <a:lnTo>
                      <a:pt x="140" y="128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40" y="136"/>
                    </a:lnTo>
                    <a:lnTo>
                      <a:pt x="140" y="140"/>
                    </a:lnTo>
                    <a:lnTo>
                      <a:pt x="144" y="140"/>
                    </a:lnTo>
                    <a:lnTo>
                      <a:pt x="144" y="140"/>
                    </a:lnTo>
                    <a:lnTo>
                      <a:pt x="144" y="140"/>
                    </a:lnTo>
                    <a:lnTo>
                      <a:pt x="144" y="140"/>
                    </a:lnTo>
                    <a:lnTo>
                      <a:pt x="148" y="144"/>
                    </a:lnTo>
                    <a:lnTo>
                      <a:pt x="148" y="144"/>
                    </a:lnTo>
                    <a:lnTo>
                      <a:pt x="148" y="144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48" y="148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4" y="148"/>
                    </a:lnTo>
                    <a:lnTo>
                      <a:pt x="140" y="148"/>
                    </a:lnTo>
                    <a:lnTo>
                      <a:pt x="140" y="148"/>
                    </a:lnTo>
                    <a:lnTo>
                      <a:pt x="140" y="148"/>
                    </a:lnTo>
                    <a:lnTo>
                      <a:pt x="140" y="148"/>
                    </a:lnTo>
                    <a:lnTo>
                      <a:pt x="136" y="144"/>
                    </a:lnTo>
                    <a:lnTo>
                      <a:pt x="132" y="144"/>
                    </a:lnTo>
                    <a:lnTo>
                      <a:pt x="132" y="144"/>
                    </a:lnTo>
                    <a:lnTo>
                      <a:pt x="132" y="144"/>
                    </a:lnTo>
                    <a:lnTo>
                      <a:pt x="128" y="148"/>
                    </a:lnTo>
                    <a:lnTo>
                      <a:pt x="128" y="148"/>
                    </a:lnTo>
                    <a:lnTo>
                      <a:pt x="128" y="148"/>
                    </a:lnTo>
                    <a:lnTo>
                      <a:pt x="128" y="148"/>
                    </a:lnTo>
                    <a:lnTo>
                      <a:pt x="128" y="148"/>
                    </a:lnTo>
                    <a:lnTo>
                      <a:pt x="128" y="148"/>
                    </a:lnTo>
                    <a:lnTo>
                      <a:pt x="128" y="152"/>
                    </a:lnTo>
                    <a:lnTo>
                      <a:pt x="124" y="156"/>
                    </a:lnTo>
                    <a:lnTo>
                      <a:pt x="124" y="156"/>
                    </a:lnTo>
                    <a:lnTo>
                      <a:pt x="124" y="156"/>
                    </a:lnTo>
                    <a:lnTo>
                      <a:pt x="124" y="156"/>
                    </a:lnTo>
                    <a:lnTo>
                      <a:pt x="124" y="160"/>
                    </a:lnTo>
                    <a:lnTo>
                      <a:pt x="124" y="160"/>
                    </a:lnTo>
                    <a:lnTo>
                      <a:pt x="120" y="160"/>
                    </a:lnTo>
                    <a:lnTo>
                      <a:pt x="120" y="164"/>
                    </a:lnTo>
                    <a:lnTo>
                      <a:pt x="120" y="164"/>
                    </a:lnTo>
                    <a:lnTo>
                      <a:pt x="120" y="164"/>
                    </a:lnTo>
                    <a:lnTo>
                      <a:pt x="120" y="164"/>
                    </a:lnTo>
                    <a:lnTo>
                      <a:pt x="120" y="164"/>
                    </a:lnTo>
                    <a:lnTo>
                      <a:pt x="120" y="164"/>
                    </a:lnTo>
                    <a:lnTo>
                      <a:pt x="120" y="164"/>
                    </a:lnTo>
                    <a:lnTo>
                      <a:pt x="120" y="164"/>
                    </a:lnTo>
                    <a:lnTo>
                      <a:pt x="116" y="164"/>
                    </a:lnTo>
                    <a:lnTo>
                      <a:pt x="112" y="164"/>
                    </a:lnTo>
                    <a:lnTo>
                      <a:pt x="92" y="164"/>
                    </a:lnTo>
                    <a:lnTo>
                      <a:pt x="76" y="148"/>
                    </a:lnTo>
                    <a:lnTo>
                      <a:pt x="64" y="140"/>
                    </a:lnTo>
                    <a:lnTo>
                      <a:pt x="64" y="136"/>
                    </a:lnTo>
                    <a:lnTo>
                      <a:pt x="52" y="124"/>
                    </a:lnTo>
                    <a:lnTo>
                      <a:pt x="40" y="120"/>
                    </a:lnTo>
                    <a:lnTo>
                      <a:pt x="24" y="108"/>
                    </a:lnTo>
                    <a:lnTo>
                      <a:pt x="20" y="108"/>
                    </a:lnTo>
                    <a:lnTo>
                      <a:pt x="12" y="104"/>
                    </a:lnTo>
                    <a:lnTo>
                      <a:pt x="8" y="10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5" name="Freeform 20">
                <a:extLst>
                  <a:ext uri="{FF2B5EF4-FFF2-40B4-BE49-F238E27FC236}">
                    <a16:creationId xmlns:a16="http://schemas.microsoft.com/office/drawing/2014/main" id="{74A48C1F-0B74-4FB6-839A-CA3112897E21}"/>
                  </a:ext>
                </a:extLst>
              </p:cNvPr>
              <p:cNvSpPr>
                <a:spLocks noEditPoint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46016" y="5177784"/>
                <a:ext cx="25212" cy="90763"/>
              </a:xfrm>
              <a:custGeom>
                <a:avLst/>
                <a:gdLst/>
                <a:ahLst/>
                <a:cxnLst>
                  <a:cxn ang="0">
                    <a:pos x="16" y="48"/>
                  </a:cxn>
                  <a:cxn ang="0">
                    <a:pos x="16" y="52"/>
                  </a:cxn>
                  <a:cxn ang="0">
                    <a:pos x="12" y="60"/>
                  </a:cxn>
                  <a:cxn ang="0">
                    <a:pos x="12" y="64"/>
                  </a:cxn>
                  <a:cxn ang="0">
                    <a:pos x="12" y="64"/>
                  </a:cxn>
                  <a:cxn ang="0">
                    <a:pos x="12" y="72"/>
                  </a:cxn>
                  <a:cxn ang="0">
                    <a:pos x="8" y="72"/>
                  </a:cxn>
                  <a:cxn ang="0">
                    <a:pos x="8" y="72"/>
                  </a:cxn>
                  <a:cxn ang="0">
                    <a:pos x="4" y="56"/>
                  </a:cxn>
                  <a:cxn ang="0">
                    <a:pos x="4" y="48"/>
                  </a:cxn>
                  <a:cxn ang="0">
                    <a:pos x="0" y="40"/>
                  </a:cxn>
                  <a:cxn ang="0">
                    <a:pos x="4" y="36"/>
                  </a:cxn>
                  <a:cxn ang="0">
                    <a:pos x="4" y="32"/>
                  </a:cxn>
                  <a:cxn ang="0">
                    <a:pos x="4" y="28"/>
                  </a:cxn>
                  <a:cxn ang="0">
                    <a:pos x="8" y="24"/>
                  </a:cxn>
                  <a:cxn ang="0">
                    <a:pos x="8" y="20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20" y="4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12" y="16"/>
                  </a:cxn>
                  <a:cxn ang="0">
                    <a:pos x="12" y="20"/>
                  </a:cxn>
                  <a:cxn ang="0">
                    <a:pos x="12" y="24"/>
                  </a:cxn>
                  <a:cxn ang="0">
                    <a:pos x="12" y="28"/>
                  </a:cxn>
                  <a:cxn ang="0">
                    <a:pos x="12" y="28"/>
                  </a:cxn>
                  <a:cxn ang="0">
                    <a:pos x="12" y="28"/>
                  </a:cxn>
                  <a:cxn ang="0">
                    <a:pos x="12" y="32"/>
                  </a:cxn>
                  <a:cxn ang="0">
                    <a:pos x="8" y="36"/>
                  </a:cxn>
                  <a:cxn ang="0">
                    <a:pos x="12" y="36"/>
                  </a:cxn>
                  <a:cxn ang="0">
                    <a:pos x="16" y="36"/>
                  </a:cxn>
                  <a:cxn ang="0">
                    <a:pos x="20" y="32"/>
                  </a:cxn>
                  <a:cxn ang="0">
                    <a:pos x="20" y="36"/>
                  </a:cxn>
                  <a:cxn ang="0">
                    <a:pos x="20" y="40"/>
                  </a:cxn>
                  <a:cxn ang="0">
                    <a:pos x="16" y="28"/>
                  </a:cxn>
                  <a:cxn ang="0">
                    <a:pos x="16" y="28"/>
                  </a:cxn>
                  <a:cxn ang="0">
                    <a:pos x="16" y="28"/>
                  </a:cxn>
                </a:cxnLst>
                <a:rect l="0" t="0" r="r" b="b"/>
                <a:pathLst>
                  <a:path w="20" h="72">
                    <a:moveTo>
                      <a:pt x="16" y="44"/>
                    </a:moveTo>
                    <a:lnTo>
                      <a:pt x="16" y="44"/>
                    </a:lnTo>
                    <a:lnTo>
                      <a:pt x="16" y="44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16" y="44"/>
                    </a:lnTo>
                    <a:lnTo>
                      <a:pt x="16" y="44"/>
                    </a:lnTo>
                    <a:close/>
                    <a:moveTo>
                      <a:pt x="16" y="28"/>
                    </a:move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6" name="Freeform 22">
                <a:extLst>
                  <a:ext uri="{FF2B5EF4-FFF2-40B4-BE49-F238E27FC236}">
                    <a16:creationId xmlns:a16="http://schemas.microsoft.com/office/drawing/2014/main" id="{39F98307-F7C8-421D-9723-3A7F4B3FB5FC}"/>
                  </a:ext>
                </a:extLst>
              </p:cNvPr>
              <p:cNvSpPr>
                <a:spLocks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61144" y="5172742"/>
                <a:ext cx="80679" cy="105891"/>
              </a:xfrm>
              <a:custGeom>
                <a:avLst/>
                <a:gdLst/>
                <a:ahLst/>
                <a:cxnLst>
                  <a:cxn ang="0">
                    <a:pos x="8" y="36"/>
                  </a:cxn>
                  <a:cxn ang="0">
                    <a:pos x="8" y="36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8" y="24"/>
                  </a:cxn>
                  <a:cxn ang="0">
                    <a:pos x="8" y="20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2"/>
                  </a:cxn>
                  <a:cxn ang="0">
                    <a:pos x="12" y="12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20"/>
                  </a:cxn>
                  <a:cxn ang="0">
                    <a:pos x="24" y="20"/>
                  </a:cxn>
                  <a:cxn ang="0">
                    <a:pos x="28" y="20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44" y="8"/>
                  </a:cxn>
                  <a:cxn ang="0">
                    <a:pos x="52" y="4"/>
                  </a:cxn>
                  <a:cxn ang="0">
                    <a:pos x="56" y="0"/>
                  </a:cxn>
                  <a:cxn ang="0">
                    <a:pos x="60" y="20"/>
                  </a:cxn>
                  <a:cxn ang="0">
                    <a:pos x="64" y="20"/>
                  </a:cxn>
                  <a:cxn ang="0">
                    <a:pos x="64" y="24"/>
                  </a:cxn>
                  <a:cxn ang="0">
                    <a:pos x="60" y="28"/>
                  </a:cxn>
                  <a:cxn ang="0">
                    <a:pos x="44" y="32"/>
                  </a:cxn>
                  <a:cxn ang="0">
                    <a:pos x="40" y="36"/>
                  </a:cxn>
                  <a:cxn ang="0">
                    <a:pos x="32" y="36"/>
                  </a:cxn>
                  <a:cxn ang="0">
                    <a:pos x="36" y="44"/>
                  </a:cxn>
                  <a:cxn ang="0">
                    <a:pos x="40" y="48"/>
                  </a:cxn>
                  <a:cxn ang="0">
                    <a:pos x="40" y="60"/>
                  </a:cxn>
                  <a:cxn ang="0">
                    <a:pos x="36" y="68"/>
                  </a:cxn>
                  <a:cxn ang="0">
                    <a:pos x="24" y="72"/>
                  </a:cxn>
                  <a:cxn ang="0">
                    <a:pos x="20" y="80"/>
                  </a:cxn>
                  <a:cxn ang="0">
                    <a:pos x="8" y="80"/>
                  </a:cxn>
                  <a:cxn ang="0">
                    <a:pos x="0" y="80"/>
                  </a:cxn>
                  <a:cxn ang="0">
                    <a:pos x="0" y="80"/>
                  </a:cxn>
                  <a:cxn ang="0">
                    <a:pos x="0" y="76"/>
                  </a:cxn>
                  <a:cxn ang="0">
                    <a:pos x="0" y="76"/>
                  </a:cxn>
                  <a:cxn ang="0">
                    <a:pos x="0" y="76"/>
                  </a:cxn>
                  <a:cxn ang="0">
                    <a:pos x="0" y="68"/>
                  </a:cxn>
                  <a:cxn ang="0">
                    <a:pos x="0" y="68"/>
                  </a:cxn>
                  <a:cxn ang="0">
                    <a:pos x="0" y="68"/>
                  </a:cxn>
                  <a:cxn ang="0">
                    <a:pos x="0" y="64"/>
                  </a:cxn>
                  <a:cxn ang="0">
                    <a:pos x="0" y="60"/>
                  </a:cxn>
                  <a:cxn ang="0">
                    <a:pos x="0" y="60"/>
                  </a:cxn>
                  <a:cxn ang="0">
                    <a:pos x="4" y="56"/>
                  </a:cxn>
                  <a:cxn ang="0">
                    <a:pos x="4" y="52"/>
                  </a:cxn>
                  <a:cxn ang="0">
                    <a:pos x="4" y="48"/>
                  </a:cxn>
                  <a:cxn ang="0">
                    <a:pos x="4" y="48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4" y="44"/>
                  </a:cxn>
                  <a:cxn ang="0">
                    <a:pos x="8" y="40"/>
                  </a:cxn>
                  <a:cxn ang="0">
                    <a:pos x="8" y="40"/>
                  </a:cxn>
                </a:cxnLst>
                <a:rect l="0" t="0" r="r" b="b"/>
                <a:pathLst>
                  <a:path w="64" h="84">
                    <a:moveTo>
                      <a:pt x="8" y="36"/>
                    </a:move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16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52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28" y="36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40" y="48"/>
                    </a:lnTo>
                    <a:lnTo>
                      <a:pt x="44" y="56"/>
                    </a:lnTo>
                    <a:lnTo>
                      <a:pt x="40" y="60"/>
                    </a:lnTo>
                    <a:lnTo>
                      <a:pt x="36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24" y="72"/>
                    </a:lnTo>
                    <a:lnTo>
                      <a:pt x="24" y="76"/>
                    </a:lnTo>
                    <a:lnTo>
                      <a:pt x="20" y="80"/>
                    </a:lnTo>
                    <a:lnTo>
                      <a:pt x="16" y="84"/>
                    </a:lnTo>
                    <a:lnTo>
                      <a:pt x="8" y="80"/>
                    </a:lnTo>
                    <a:lnTo>
                      <a:pt x="4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0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7" name="Freeform 24">
                <a:extLst>
                  <a:ext uri="{FF2B5EF4-FFF2-40B4-BE49-F238E27FC236}">
                    <a16:creationId xmlns:a16="http://schemas.microsoft.com/office/drawing/2014/main" id="{03EA20DE-252C-43BF-A473-F53B62C5C7A6}"/>
                  </a:ext>
                </a:extLst>
              </p:cNvPr>
              <p:cNvSpPr>
                <a:spLocks noEditPoint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683010" y="5253420"/>
                <a:ext cx="35297" cy="40339"/>
              </a:xfrm>
              <a:custGeom>
                <a:avLst/>
                <a:gdLst/>
                <a:ahLst/>
                <a:cxnLst>
                  <a:cxn ang="0">
                    <a:pos x="12" y="24"/>
                  </a:cxn>
                  <a:cxn ang="0">
                    <a:pos x="4" y="20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4" y="16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12" y="0"/>
                  </a:cxn>
                  <a:cxn ang="0">
                    <a:pos x="16" y="0"/>
                  </a:cxn>
                  <a:cxn ang="0">
                    <a:pos x="20" y="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12"/>
                  </a:cxn>
                  <a:cxn ang="0">
                    <a:pos x="24" y="12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0" y="20"/>
                  </a:cxn>
                  <a:cxn ang="0">
                    <a:pos x="24" y="20"/>
                  </a:cxn>
                  <a:cxn ang="0">
                    <a:pos x="24" y="24"/>
                  </a:cxn>
                  <a:cxn ang="0">
                    <a:pos x="24" y="28"/>
                  </a:cxn>
                  <a:cxn ang="0">
                    <a:pos x="28" y="28"/>
                  </a:cxn>
                  <a:cxn ang="0">
                    <a:pos x="28" y="28"/>
                  </a:cxn>
                  <a:cxn ang="0">
                    <a:pos x="24" y="32"/>
                  </a:cxn>
                  <a:cxn ang="0">
                    <a:pos x="16" y="32"/>
                  </a:cxn>
                  <a:cxn ang="0">
                    <a:pos x="16" y="28"/>
                  </a:cxn>
                  <a:cxn ang="0">
                    <a:pos x="16" y="28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24" y="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8" y="8"/>
                  </a:cxn>
                  <a:cxn ang="0">
                    <a:pos x="28" y="8"/>
                  </a:cxn>
                  <a:cxn ang="0">
                    <a:pos x="24" y="8"/>
                  </a:cxn>
                  <a:cxn ang="0">
                    <a:pos x="24" y="12"/>
                  </a:cxn>
                  <a:cxn ang="0">
                    <a:pos x="24" y="12"/>
                  </a:cxn>
                  <a:cxn ang="0">
                    <a:pos x="24" y="12"/>
                  </a:cxn>
                  <a:cxn ang="0">
                    <a:pos x="24" y="12"/>
                  </a:cxn>
                  <a:cxn ang="0">
                    <a:pos x="24" y="12"/>
                  </a:cxn>
                  <a:cxn ang="0">
                    <a:pos x="24" y="12"/>
                  </a:cxn>
                  <a:cxn ang="0">
                    <a:pos x="24" y="4"/>
                  </a:cxn>
                  <a:cxn ang="0">
                    <a:pos x="24" y="4"/>
                  </a:cxn>
                  <a:cxn ang="0">
                    <a:pos x="24" y="4"/>
                  </a:cxn>
                </a:cxnLst>
                <a:rect l="0" t="0" r="r" b="b"/>
                <a:pathLst>
                  <a:path w="28" h="32">
                    <a:moveTo>
                      <a:pt x="12" y="24"/>
                    </a:moveTo>
                    <a:lnTo>
                      <a:pt x="12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close/>
                    <a:moveTo>
                      <a:pt x="24" y="4"/>
                    </a:move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0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8" name="Freeform 25">
                <a:extLst>
                  <a:ext uri="{FF2B5EF4-FFF2-40B4-BE49-F238E27FC236}">
                    <a16:creationId xmlns:a16="http://schemas.microsoft.com/office/drawing/2014/main" id="{636D01EC-0CD9-4186-AE04-EFAAD5A9E6D0}"/>
                  </a:ext>
                </a:extLst>
              </p:cNvPr>
              <p:cNvSpPr>
                <a:spLocks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5115398" y="4921882"/>
                <a:ext cx="210521" cy="104630"/>
              </a:xfrm>
              <a:custGeom>
                <a:avLst/>
                <a:gdLst/>
                <a:ahLst/>
                <a:cxnLst>
                  <a:cxn ang="0">
                    <a:pos x="80" y="59"/>
                  </a:cxn>
                  <a:cxn ang="0">
                    <a:pos x="72" y="63"/>
                  </a:cxn>
                  <a:cxn ang="0">
                    <a:pos x="72" y="71"/>
                  </a:cxn>
                  <a:cxn ang="0">
                    <a:pos x="64" y="75"/>
                  </a:cxn>
                  <a:cxn ang="0">
                    <a:pos x="56" y="79"/>
                  </a:cxn>
                  <a:cxn ang="0">
                    <a:pos x="44" y="79"/>
                  </a:cxn>
                  <a:cxn ang="0">
                    <a:pos x="40" y="79"/>
                  </a:cxn>
                  <a:cxn ang="0">
                    <a:pos x="32" y="75"/>
                  </a:cxn>
                  <a:cxn ang="0">
                    <a:pos x="32" y="75"/>
                  </a:cxn>
                  <a:cxn ang="0">
                    <a:pos x="24" y="75"/>
                  </a:cxn>
                  <a:cxn ang="0">
                    <a:pos x="16" y="71"/>
                  </a:cxn>
                  <a:cxn ang="0">
                    <a:pos x="8" y="75"/>
                  </a:cxn>
                  <a:cxn ang="0">
                    <a:pos x="0" y="71"/>
                  </a:cxn>
                  <a:cxn ang="0">
                    <a:pos x="0" y="67"/>
                  </a:cxn>
                  <a:cxn ang="0">
                    <a:pos x="8" y="63"/>
                  </a:cxn>
                  <a:cxn ang="0">
                    <a:pos x="20" y="63"/>
                  </a:cxn>
                  <a:cxn ang="0">
                    <a:pos x="20" y="67"/>
                  </a:cxn>
                  <a:cxn ang="0">
                    <a:pos x="24" y="59"/>
                  </a:cxn>
                  <a:cxn ang="0">
                    <a:pos x="36" y="63"/>
                  </a:cxn>
                  <a:cxn ang="0">
                    <a:pos x="48" y="55"/>
                  </a:cxn>
                  <a:cxn ang="0">
                    <a:pos x="52" y="55"/>
                  </a:cxn>
                  <a:cxn ang="0">
                    <a:pos x="56" y="47"/>
                  </a:cxn>
                  <a:cxn ang="0">
                    <a:pos x="52" y="47"/>
                  </a:cxn>
                  <a:cxn ang="0">
                    <a:pos x="44" y="39"/>
                  </a:cxn>
                  <a:cxn ang="0">
                    <a:pos x="36" y="31"/>
                  </a:cxn>
                  <a:cxn ang="0">
                    <a:pos x="32" y="39"/>
                  </a:cxn>
                  <a:cxn ang="0">
                    <a:pos x="32" y="43"/>
                  </a:cxn>
                  <a:cxn ang="0">
                    <a:pos x="24" y="35"/>
                  </a:cxn>
                  <a:cxn ang="0">
                    <a:pos x="12" y="35"/>
                  </a:cxn>
                  <a:cxn ang="0">
                    <a:pos x="16" y="27"/>
                  </a:cxn>
                  <a:cxn ang="0">
                    <a:pos x="24" y="23"/>
                  </a:cxn>
                  <a:cxn ang="0">
                    <a:pos x="24" y="19"/>
                  </a:cxn>
                  <a:cxn ang="0">
                    <a:pos x="28" y="8"/>
                  </a:cxn>
                  <a:cxn ang="0">
                    <a:pos x="40" y="8"/>
                  </a:cxn>
                  <a:cxn ang="0">
                    <a:pos x="52" y="8"/>
                  </a:cxn>
                  <a:cxn ang="0">
                    <a:pos x="60" y="12"/>
                  </a:cxn>
                  <a:cxn ang="0">
                    <a:pos x="64" y="12"/>
                  </a:cxn>
                  <a:cxn ang="0">
                    <a:pos x="64" y="0"/>
                  </a:cxn>
                  <a:cxn ang="0">
                    <a:pos x="76" y="0"/>
                  </a:cxn>
                  <a:cxn ang="0">
                    <a:pos x="87" y="4"/>
                  </a:cxn>
                  <a:cxn ang="0">
                    <a:pos x="95" y="8"/>
                  </a:cxn>
                  <a:cxn ang="0">
                    <a:pos x="107" y="4"/>
                  </a:cxn>
                  <a:cxn ang="0">
                    <a:pos x="119" y="4"/>
                  </a:cxn>
                  <a:cxn ang="0">
                    <a:pos x="131" y="4"/>
                  </a:cxn>
                  <a:cxn ang="0">
                    <a:pos x="143" y="8"/>
                  </a:cxn>
                  <a:cxn ang="0">
                    <a:pos x="151" y="12"/>
                  </a:cxn>
                  <a:cxn ang="0">
                    <a:pos x="159" y="15"/>
                  </a:cxn>
                  <a:cxn ang="0">
                    <a:pos x="167" y="19"/>
                  </a:cxn>
                  <a:cxn ang="0">
                    <a:pos x="159" y="23"/>
                  </a:cxn>
                  <a:cxn ang="0">
                    <a:pos x="151" y="27"/>
                  </a:cxn>
                  <a:cxn ang="0">
                    <a:pos x="143" y="31"/>
                  </a:cxn>
                  <a:cxn ang="0">
                    <a:pos x="135" y="39"/>
                  </a:cxn>
                  <a:cxn ang="0">
                    <a:pos x="127" y="43"/>
                  </a:cxn>
                  <a:cxn ang="0">
                    <a:pos x="115" y="43"/>
                  </a:cxn>
                  <a:cxn ang="0">
                    <a:pos x="111" y="55"/>
                  </a:cxn>
                  <a:cxn ang="0">
                    <a:pos x="107" y="55"/>
                  </a:cxn>
                  <a:cxn ang="0">
                    <a:pos x="95" y="59"/>
                  </a:cxn>
                  <a:cxn ang="0">
                    <a:pos x="91" y="51"/>
                  </a:cxn>
                  <a:cxn ang="0">
                    <a:pos x="83" y="55"/>
                  </a:cxn>
                </a:cxnLst>
                <a:rect l="0" t="0" r="r" b="b"/>
                <a:pathLst>
                  <a:path w="167" h="83">
                    <a:moveTo>
                      <a:pt x="83" y="55"/>
                    </a:moveTo>
                    <a:lnTo>
                      <a:pt x="83" y="59"/>
                    </a:lnTo>
                    <a:lnTo>
                      <a:pt x="80" y="59"/>
                    </a:lnTo>
                    <a:lnTo>
                      <a:pt x="80" y="63"/>
                    </a:lnTo>
                    <a:lnTo>
                      <a:pt x="76" y="63"/>
                    </a:lnTo>
                    <a:lnTo>
                      <a:pt x="72" y="63"/>
                    </a:lnTo>
                    <a:lnTo>
                      <a:pt x="68" y="67"/>
                    </a:lnTo>
                    <a:lnTo>
                      <a:pt x="68" y="71"/>
                    </a:lnTo>
                    <a:lnTo>
                      <a:pt x="72" y="71"/>
                    </a:lnTo>
                    <a:lnTo>
                      <a:pt x="72" y="75"/>
                    </a:lnTo>
                    <a:lnTo>
                      <a:pt x="68" y="75"/>
                    </a:lnTo>
                    <a:lnTo>
                      <a:pt x="64" y="75"/>
                    </a:lnTo>
                    <a:lnTo>
                      <a:pt x="60" y="75"/>
                    </a:lnTo>
                    <a:lnTo>
                      <a:pt x="60" y="79"/>
                    </a:lnTo>
                    <a:lnTo>
                      <a:pt x="56" y="79"/>
                    </a:lnTo>
                    <a:lnTo>
                      <a:pt x="52" y="79"/>
                    </a:lnTo>
                    <a:lnTo>
                      <a:pt x="48" y="79"/>
                    </a:lnTo>
                    <a:lnTo>
                      <a:pt x="44" y="79"/>
                    </a:lnTo>
                    <a:lnTo>
                      <a:pt x="44" y="83"/>
                    </a:lnTo>
                    <a:lnTo>
                      <a:pt x="44" y="79"/>
                    </a:lnTo>
                    <a:lnTo>
                      <a:pt x="40" y="79"/>
                    </a:lnTo>
                    <a:lnTo>
                      <a:pt x="36" y="79"/>
                    </a:lnTo>
                    <a:lnTo>
                      <a:pt x="36" y="75"/>
                    </a:lnTo>
                    <a:lnTo>
                      <a:pt x="32" y="75"/>
                    </a:lnTo>
                    <a:lnTo>
                      <a:pt x="36" y="75"/>
                    </a:lnTo>
                    <a:lnTo>
                      <a:pt x="32" y="71"/>
                    </a:lnTo>
                    <a:lnTo>
                      <a:pt x="32" y="75"/>
                    </a:lnTo>
                    <a:lnTo>
                      <a:pt x="28" y="75"/>
                    </a:lnTo>
                    <a:lnTo>
                      <a:pt x="24" y="79"/>
                    </a:lnTo>
                    <a:lnTo>
                      <a:pt x="24" y="75"/>
                    </a:lnTo>
                    <a:lnTo>
                      <a:pt x="20" y="75"/>
                    </a:lnTo>
                    <a:lnTo>
                      <a:pt x="20" y="71"/>
                    </a:lnTo>
                    <a:lnTo>
                      <a:pt x="16" y="71"/>
                    </a:lnTo>
                    <a:lnTo>
                      <a:pt x="16" y="75"/>
                    </a:lnTo>
                    <a:lnTo>
                      <a:pt x="12" y="75"/>
                    </a:lnTo>
                    <a:lnTo>
                      <a:pt x="8" y="75"/>
                    </a:lnTo>
                    <a:lnTo>
                      <a:pt x="4" y="75"/>
                    </a:lnTo>
                    <a:lnTo>
                      <a:pt x="0" y="75"/>
                    </a:lnTo>
                    <a:lnTo>
                      <a:pt x="0" y="71"/>
                    </a:lnTo>
                    <a:lnTo>
                      <a:pt x="0" y="67"/>
                    </a:lnTo>
                    <a:lnTo>
                      <a:pt x="0" y="63"/>
                    </a:lnTo>
                    <a:lnTo>
                      <a:pt x="0" y="67"/>
                    </a:lnTo>
                    <a:lnTo>
                      <a:pt x="4" y="67"/>
                    </a:lnTo>
                    <a:lnTo>
                      <a:pt x="4" y="63"/>
                    </a:lnTo>
                    <a:lnTo>
                      <a:pt x="8" y="63"/>
                    </a:lnTo>
                    <a:lnTo>
                      <a:pt x="12" y="59"/>
                    </a:lnTo>
                    <a:lnTo>
                      <a:pt x="16" y="63"/>
                    </a:lnTo>
                    <a:lnTo>
                      <a:pt x="20" y="63"/>
                    </a:lnTo>
                    <a:lnTo>
                      <a:pt x="20" y="67"/>
                    </a:lnTo>
                    <a:lnTo>
                      <a:pt x="16" y="67"/>
                    </a:lnTo>
                    <a:lnTo>
                      <a:pt x="20" y="67"/>
                    </a:lnTo>
                    <a:lnTo>
                      <a:pt x="20" y="63"/>
                    </a:lnTo>
                    <a:lnTo>
                      <a:pt x="24" y="63"/>
                    </a:lnTo>
                    <a:lnTo>
                      <a:pt x="24" y="59"/>
                    </a:lnTo>
                    <a:lnTo>
                      <a:pt x="28" y="59"/>
                    </a:lnTo>
                    <a:lnTo>
                      <a:pt x="32" y="59"/>
                    </a:lnTo>
                    <a:lnTo>
                      <a:pt x="36" y="63"/>
                    </a:lnTo>
                    <a:lnTo>
                      <a:pt x="40" y="59"/>
                    </a:lnTo>
                    <a:lnTo>
                      <a:pt x="44" y="55"/>
                    </a:lnTo>
                    <a:lnTo>
                      <a:pt x="48" y="55"/>
                    </a:lnTo>
                    <a:lnTo>
                      <a:pt x="48" y="51"/>
                    </a:lnTo>
                    <a:lnTo>
                      <a:pt x="48" y="55"/>
                    </a:lnTo>
                    <a:lnTo>
                      <a:pt x="52" y="55"/>
                    </a:lnTo>
                    <a:lnTo>
                      <a:pt x="52" y="51"/>
                    </a:lnTo>
                    <a:lnTo>
                      <a:pt x="56" y="51"/>
                    </a:lnTo>
                    <a:lnTo>
                      <a:pt x="56" y="47"/>
                    </a:lnTo>
                    <a:lnTo>
                      <a:pt x="60" y="47"/>
                    </a:lnTo>
                    <a:lnTo>
                      <a:pt x="56" y="47"/>
                    </a:lnTo>
                    <a:lnTo>
                      <a:pt x="52" y="47"/>
                    </a:lnTo>
                    <a:lnTo>
                      <a:pt x="48" y="43"/>
                    </a:lnTo>
                    <a:lnTo>
                      <a:pt x="44" y="43"/>
                    </a:lnTo>
                    <a:lnTo>
                      <a:pt x="44" y="39"/>
                    </a:lnTo>
                    <a:lnTo>
                      <a:pt x="40" y="39"/>
                    </a:lnTo>
                    <a:lnTo>
                      <a:pt x="40" y="35"/>
                    </a:lnTo>
                    <a:lnTo>
                      <a:pt x="36" y="31"/>
                    </a:lnTo>
                    <a:lnTo>
                      <a:pt x="36" y="35"/>
                    </a:lnTo>
                    <a:lnTo>
                      <a:pt x="36" y="39"/>
                    </a:lnTo>
                    <a:lnTo>
                      <a:pt x="32" y="39"/>
                    </a:lnTo>
                    <a:lnTo>
                      <a:pt x="32" y="35"/>
                    </a:lnTo>
                    <a:lnTo>
                      <a:pt x="32" y="39"/>
                    </a:lnTo>
                    <a:lnTo>
                      <a:pt x="32" y="43"/>
                    </a:lnTo>
                    <a:lnTo>
                      <a:pt x="28" y="39"/>
                    </a:lnTo>
                    <a:lnTo>
                      <a:pt x="24" y="39"/>
                    </a:lnTo>
                    <a:lnTo>
                      <a:pt x="24" y="35"/>
                    </a:lnTo>
                    <a:lnTo>
                      <a:pt x="20" y="35"/>
                    </a:lnTo>
                    <a:lnTo>
                      <a:pt x="16" y="35"/>
                    </a:lnTo>
                    <a:lnTo>
                      <a:pt x="12" y="35"/>
                    </a:lnTo>
                    <a:lnTo>
                      <a:pt x="12" y="31"/>
                    </a:lnTo>
                    <a:lnTo>
                      <a:pt x="16" y="31"/>
                    </a:lnTo>
                    <a:lnTo>
                      <a:pt x="16" y="27"/>
                    </a:lnTo>
                    <a:lnTo>
                      <a:pt x="20" y="27"/>
                    </a:lnTo>
                    <a:lnTo>
                      <a:pt x="20" y="23"/>
                    </a:lnTo>
                    <a:lnTo>
                      <a:pt x="24" y="23"/>
                    </a:lnTo>
                    <a:lnTo>
                      <a:pt x="28" y="19"/>
                    </a:lnTo>
                    <a:lnTo>
                      <a:pt x="28" y="15"/>
                    </a:lnTo>
                    <a:lnTo>
                      <a:pt x="24" y="19"/>
                    </a:lnTo>
                    <a:lnTo>
                      <a:pt x="24" y="15"/>
                    </a:lnTo>
                    <a:lnTo>
                      <a:pt x="28" y="12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5"/>
                    </a:lnTo>
                    <a:lnTo>
                      <a:pt x="64" y="15"/>
                    </a:lnTo>
                    <a:lnTo>
                      <a:pt x="64" y="12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3" y="4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1" y="8"/>
                    </a:lnTo>
                    <a:lnTo>
                      <a:pt x="95" y="8"/>
                    </a:lnTo>
                    <a:lnTo>
                      <a:pt x="99" y="4"/>
                    </a:lnTo>
                    <a:lnTo>
                      <a:pt x="103" y="4"/>
                    </a:lnTo>
                    <a:lnTo>
                      <a:pt x="107" y="4"/>
                    </a:lnTo>
                    <a:lnTo>
                      <a:pt x="111" y="4"/>
                    </a:lnTo>
                    <a:lnTo>
                      <a:pt x="115" y="4"/>
                    </a:lnTo>
                    <a:lnTo>
                      <a:pt x="119" y="4"/>
                    </a:lnTo>
                    <a:lnTo>
                      <a:pt x="123" y="4"/>
                    </a:lnTo>
                    <a:lnTo>
                      <a:pt x="127" y="4"/>
                    </a:lnTo>
                    <a:lnTo>
                      <a:pt x="131" y="4"/>
                    </a:lnTo>
                    <a:lnTo>
                      <a:pt x="135" y="4"/>
                    </a:lnTo>
                    <a:lnTo>
                      <a:pt x="139" y="4"/>
                    </a:lnTo>
                    <a:lnTo>
                      <a:pt x="143" y="8"/>
                    </a:lnTo>
                    <a:lnTo>
                      <a:pt x="147" y="8"/>
                    </a:lnTo>
                    <a:lnTo>
                      <a:pt x="151" y="8"/>
                    </a:lnTo>
                    <a:lnTo>
                      <a:pt x="151" y="12"/>
                    </a:lnTo>
                    <a:lnTo>
                      <a:pt x="151" y="15"/>
                    </a:lnTo>
                    <a:lnTo>
                      <a:pt x="155" y="15"/>
                    </a:lnTo>
                    <a:lnTo>
                      <a:pt x="159" y="15"/>
                    </a:lnTo>
                    <a:lnTo>
                      <a:pt x="163" y="15"/>
                    </a:lnTo>
                    <a:lnTo>
                      <a:pt x="163" y="19"/>
                    </a:lnTo>
                    <a:lnTo>
                      <a:pt x="167" y="19"/>
                    </a:lnTo>
                    <a:lnTo>
                      <a:pt x="167" y="23"/>
                    </a:lnTo>
                    <a:lnTo>
                      <a:pt x="163" y="23"/>
                    </a:lnTo>
                    <a:lnTo>
                      <a:pt x="159" y="23"/>
                    </a:lnTo>
                    <a:lnTo>
                      <a:pt x="159" y="27"/>
                    </a:lnTo>
                    <a:lnTo>
                      <a:pt x="155" y="27"/>
                    </a:lnTo>
                    <a:lnTo>
                      <a:pt x="151" y="27"/>
                    </a:lnTo>
                    <a:lnTo>
                      <a:pt x="147" y="27"/>
                    </a:lnTo>
                    <a:lnTo>
                      <a:pt x="147" y="31"/>
                    </a:lnTo>
                    <a:lnTo>
                      <a:pt x="143" y="31"/>
                    </a:lnTo>
                    <a:lnTo>
                      <a:pt x="139" y="35"/>
                    </a:lnTo>
                    <a:lnTo>
                      <a:pt x="135" y="35"/>
                    </a:lnTo>
                    <a:lnTo>
                      <a:pt x="135" y="39"/>
                    </a:lnTo>
                    <a:lnTo>
                      <a:pt x="135" y="43"/>
                    </a:lnTo>
                    <a:lnTo>
                      <a:pt x="131" y="43"/>
                    </a:lnTo>
                    <a:lnTo>
                      <a:pt x="127" y="43"/>
                    </a:lnTo>
                    <a:lnTo>
                      <a:pt x="123" y="43"/>
                    </a:lnTo>
                    <a:lnTo>
                      <a:pt x="119" y="43"/>
                    </a:lnTo>
                    <a:lnTo>
                      <a:pt x="115" y="43"/>
                    </a:lnTo>
                    <a:lnTo>
                      <a:pt x="111" y="43"/>
                    </a:lnTo>
                    <a:lnTo>
                      <a:pt x="111" y="51"/>
                    </a:lnTo>
                    <a:lnTo>
                      <a:pt x="111" y="55"/>
                    </a:lnTo>
                    <a:lnTo>
                      <a:pt x="107" y="55"/>
                    </a:lnTo>
                    <a:lnTo>
                      <a:pt x="107" y="59"/>
                    </a:lnTo>
                    <a:lnTo>
                      <a:pt x="107" y="55"/>
                    </a:lnTo>
                    <a:lnTo>
                      <a:pt x="103" y="55"/>
                    </a:lnTo>
                    <a:lnTo>
                      <a:pt x="99" y="59"/>
                    </a:lnTo>
                    <a:lnTo>
                      <a:pt x="95" y="59"/>
                    </a:lnTo>
                    <a:lnTo>
                      <a:pt x="95" y="55"/>
                    </a:lnTo>
                    <a:lnTo>
                      <a:pt x="95" y="51"/>
                    </a:lnTo>
                    <a:lnTo>
                      <a:pt x="91" y="51"/>
                    </a:lnTo>
                    <a:lnTo>
                      <a:pt x="91" y="55"/>
                    </a:lnTo>
                    <a:lnTo>
                      <a:pt x="87" y="55"/>
                    </a:lnTo>
                    <a:lnTo>
                      <a:pt x="83" y="55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72E545BA-FE2D-4F75-9E5E-445C9DAF7D3C}"/>
                  </a:ext>
                </a:extLst>
              </p:cNvPr>
              <p:cNvSpPr>
                <a:spLocks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61144" y="5142487"/>
                <a:ext cx="30255" cy="40339"/>
              </a:xfrm>
              <a:custGeom>
                <a:avLst/>
                <a:gdLst/>
                <a:ahLst/>
                <a:cxnLst>
                  <a:cxn ang="0">
                    <a:pos x="16" y="0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4" y="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16" y="16"/>
                  </a:cxn>
                  <a:cxn ang="0">
                    <a:pos x="12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12" y="24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8" y="32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4" y="2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2" y="4"/>
                  </a:cxn>
                  <a:cxn ang="0">
                    <a:pos x="16" y="0"/>
                  </a:cxn>
                  <a:cxn ang="0">
                    <a:pos x="16" y="0"/>
                  </a:cxn>
                </a:cxnLst>
                <a:rect l="0" t="0" r="r" b="b"/>
                <a:pathLst>
                  <a:path w="24" h="32">
                    <a:moveTo>
                      <a:pt x="16" y="0"/>
                    </a:move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3BA82C2F-2F6F-43BC-9504-C8C81FBED78A}"/>
                  </a:ext>
                </a:extLst>
              </p:cNvPr>
              <p:cNvSpPr>
                <a:spLocks noEditPoint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5185991" y="5801784"/>
                <a:ext cx="10085" cy="176485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4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8" y="24"/>
                  </a:cxn>
                  <a:cxn ang="0">
                    <a:pos x="4" y="24"/>
                  </a:cxn>
                  <a:cxn ang="0">
                    <a:pos x="8" y="24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0" y="40"/>
                  </a:cxn>
                  <a:cxn ang="0">
                    <a:pos x="0" y="40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0" y="48"/>
                  </a:cxn>
                  <a:cxn ang="0">
                    <a:pos x="8" y="52"/>
                  </a:cxn>
                  <a:cxn ang="0">
                    <a:pos x="8" y="52"/>
                  </a:cxn>
                  <a:cxn ang="0">
                    <a:pos x="8" y="68"/>
                  </a:cxn>
                  <a:cxn ang="0">
                    <a:pos x="8" y="68"/>
                  </a:cxn>
                  <a:cxn ang="0">
                    <a:pos x="8" y="68"/>
                  </a:cxn>
                  <a:cxn ang="0">
                    <a:pos x="8" y="68"/>
                  </a:cxn>
                  <a:cxn ang="0">
                    <a:pos x="8" y="68"/>
                  </a:cxn>
                  <a:cxn ang="0">
                    <a:pos x="0" y="72"/>
                  </a:cxn>
                  <a:cxn ang="0">
                    <a:pos x="0" y="72"/>
                  </a:cxn>
                  <a:cxn ang="0">
                    <a:pos x="0" y="72"/>
                  </a:cxn>
                  <a:cxn ang="0">
                    <a:pos x="0" y="72"/>
                  </a:cxn>
                  <a:cxn ang="0">
                    <a:pos x="0" y="72"/>
                  </a:cxn>
                  <a:cxn ang="0">
                    <a:pos x="0" y="76"/>
                  </a:cxn>
                  <a:cxn ang="0">
                    <a:pos x="0" y="76"/>
                  </a:cxn>
                  <a:cxn ang="0">
                    <a:pos x="8" y="76"/>
                  </a:cxn>
                  <a:cxn ang="0">
                    <a:pos x="8" y="76"/>
                  </a:cxn>
                  <a:cxn ang="0">
                    <a:pos x="4" y="84"/>
                  </a:cxn>
                  <a:cxn ang="0">
                    <a:pos x="4" y="88"/>
                  </a:cxn>
                  <a:cxn ang="0">
                    <a:pos x="4" y="84"/>
                  </a:cxn>
                  <a:cxn ang="0">
                    <a:pos x="8" y="96"/>
                  </a:cxn>
                  <a:cxn ang="0">
                    <a:pos x="8" y="96"/>
                  </a:cxn>
                  <a:cxn ang="0">
                    <a:pos x="8" y="96"/>
                  </a:cxn>
                  <a:cxn ang="0">
                    <a:pos x="8" y="124"/>
                  </a:cxn>
                  <a:cxn ang="0">
                    <a:pos x="8" y="124"/>
                  </a:cxn>
                  <a:cxn ang="0">
                    <a:pos x="0" y="124"/>
                  </a:cxn>
                  <a:cxn ang="0">
                    <a:pos x="0" y="124"/>
                  </a:cxn>
                  <a:cxn ang="0">
                    <a:pos x="8" y="136"/>
                  </a:cxn>
                  <a:cxn ang="0">
                    <a:pos x="8" y="136"/>
                  </a:cxn>
                  <a:cxn ang="0">
                    <a:pos x="8" y="136"/>
                  </a:cxn>
                  <a:cxn ang="0">
                    <a:pos x="0" y="140"/>
                  </a:cxn>
                  <a:cxn ang="0">
                    <a:pos x="0" y="140"/>
                  </a:cxn>
                  <a:cxn ang="0">
                    <a:pos x="0" y="140"/>
                  </a:cxn>
                </a:cxnLst>
                <a:rect l="0" t="0" r="r" b="b"/>
                <a:pathLst>
                  <a:path w="8" h="140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  <a:moveTo>
                      <a:pt x="4" y="4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  <a:moveTo>
                      <a:pt x="0" y="12"/>
                    </a:move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close/>
                    <a:moveTo>
                      <a:pt x="0" y="20"/>
                    </a:move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  <a:moveTo>
                      <a:pt x="8" y="24"/>
                    </a:moveTo>
                    <a:lnTo>
                      <a:pt x="8" y="24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8" y="24"/>
                    </a:lnTo>
                    <a:close/>
                    <a:moveTo>
                      <a:pt x="8" y="32"/>
                    </a:move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close/>
                    <a:moveTo>
                      <a:pt x="0" y="40"/>
                    </a:moveTo>
                    <a:lnTo>
                      <a:pt x="0" y="40"/>
                    </a:lnTo>
                    <a:lnTo>
                      <a:pt x="0" y="40"/>
                    </a:lnTo>
                    <a:lnTo>
                      <a:pt x="0" y="40"/>
                    </a:lnTo>
                    <a:close/>
                    <a:moveTo>
                      <a:pt x="0" y="48"/>
                    </a:move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close/>
                    <a:moveTo>
                      <a:pt x="8" y="52"/>
                    </a:move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close/>
                    <a:moveTo>
                      <a:pt x="8" y="68"/>
                    </a:move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close/>
                    <a:moveTo>
                      <a:pt x="0" y="72"/>
                    </a:move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lnTo>
                      <a:pt x="0" y="72"/>
                    </a:lnTo>
                    <a:close/>
                    <a:moveTo>
                      <a:pt x="0" y="76"/>
                    </a:move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close/>
                    <a:moveTo>
                      <a:pt x="8" y="76"/>
                    </a:moveTo>
                    <a:lnTo>
                      <a:pt x="8" y="76"/>
                    </a:lnTo>
                    <a:lnTo>
                      <a:pt x="8" y="76"/>
                    </a:lnTo>
                    <a:lnTo>
                      <a:pt x="8" y="76"/>
                    </a:lnTo>
                    <a:close/>
                    <a:moveTo>
                      <a:pt x="4" y="84"/>
                    </a:moveTo>
                    <a:lnTo>
                      <a:pt x="4" y="84"/>
                    </a:lnTo>
                    <a:lnTo>
                      <a:pt x="4" y="84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4"/>
                    </a:lnTo>
                    <a:close/>
                    <a:moveTo>
                      <a:pt x="8" y="96"/>
                    </a:move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close/>
                    <a:moveTo>
                      <a:pt x="8" y="124"/>
                    </a:moveTo>
                    <a:lnTo>
                      <a:pt x="8" y="124"/>
                    </a:lnTo>
                    <a:lnTo>
                      <a:pt x="8" y="124"/>
                    </a:lnTo>
                    <a:lnTo>
                      <a:pt x="8" y="124"/>
                    </a:lnTo>
                    <a:close/>
                    <a:moveTo>
                      <a:pt x="0" y="124"/>
                    </a:moveTo>
                    <a:lnTo>
                      <a:pt x="0" y="124"/>
                    </a:lnTo>
                    <a:lnTo>
                      <a:pt x="0" y="128"/>
                    </a:lnTo>
                    <a:lnTo>
                      <a:pt x="0" y="124"/>
                    </a:lnTo>
                    <a:lnTo>
                      <a:pt x="0" y="124"/>
                    </a:lnTo>
                    <a:close/>
                    <a:moveTo>
                      <a:pt x="8" y="136"/>
                    </a:moveTo>
                    <a:lnTo>
                      <a:pt x="8" y="136"/>
                    </a:lnTo>
                    <a:lnTo>
                      <a:pt x="8" y="136"/>
                    </a:lnTo>
                    <a:lnTo>
                      <a:pt x="8" y="136"/>
                    </a:lnTo>
                    <a:lnTo>
                      <a:pt x="8" y="136"/>
                    </a:lnTo>
                    <a:close/>
                    <a:moveTo>
                      <a:pt x="0" y="140"/>
                    </a:moveTo>
                    <a:lnTo>
                      <a:pt x="0" y="14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40"/>
                    </a:lnTo>
                    <a:lnTo>
                      <a:pt x="0" y="14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1" name="Freeform 32">
                <a:extLst>
                  <a:ext uri="{FF2B5EF4-FFF2-40B4-BE49-F238E27FC236}">
                    <a16:creationId xmlns:a16="http://schemas.microsoft.com/office/drawing/2014/main" id="{A3719062-D0DA-49C1-B994-F4672764391E}"/>
                  </a:ext>
                </a:extLst>
              </p:cNvPr>
              <p:cNvSpPr>
                <a:spLocks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5320876" y="5248378"/>
                <a:ext cx="156315" cy="100848"/>
              </a:xfrm>
              <a:custGeom>
                <a:avLst/>
                <a:gdLst/>
                <a:ahLst/>
                <a:cxnLst>
                  <a:cxn ang="0">
                    <a:pos x="36" y="52"/>
                  </a:cxn>
                  <a:cxn ang="0">
                    <a:pos x="32" y="48"/>
                  </a:cxn>
                  <a:cxn ang="0">
                    <a:pos x="28" y="48"/>
                  </a:cxn>
                  <a:cxn ang="0">
                    <a:pos x="20" y="44"/>
                  </a:cxn>
                  <a:cxn ang="0">
                    <a:pos x="16" y="40"/>
                  </a:cxn>
                  <a:cxn ang="0">
                    <a:pos x="8" y="32"/>
                  </a:cxn>
                  <a:cxn ang="0">
                    <a:pos x="4" y="32"/>
                  </a:cxn>
                  <a:cxn ang="0">
                    <a:pos x="0" y="24"/>
                  </a:cxn>
                  <a:cxn ang="0">
                    <a:pos x="0" y="20"/>
                  </a:cxn>
                  <a:cxn ang="0">
                    <a:pos x="4" y="16"/>
                  </a:cxn>
                  <a:cxn ang="0">
                    <a:pos x="8" y="12"/>
                  </a:cxn>
                  <a:cxn ang="0">
                    <a:pos x="8" y="8"/>
                  </a:cxn>
                  <a:cxn ang="0">
                    <a:pos x="16" y="4"/>
                  </a:cxn>
                  <a:cxn ang="0">
                    <a:pos x="16" y="8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28" y="0"/>
                  </a:cxn>
                  <a:cxn ang="0">
                    <a:pos x="36" y="8"/>
                  </a:cxn>
                  <a:cxn ang="0">
                    <a:pos x="44" y="12"/>
                  </a:cxn>
                  <a:cxn ang="0">
                    <a:pos x="48" y="16"/>
                  </a:cxn>
                  <a:cxn ang="0">
                    <a:pos x="52" y="24"/>
                  </a:cxn>
                  <a:cxn ang="0">
                    <a:pos x="56" y="24"/>
                  </a:cxn>
                  <a:cxn ang="0">
                    <a:pos x="60" y="24"/>
                  </a:cxn>
                  <a:cxn ang="0">
                    <a:pos x="64" y="28"/>
                  </a:cxn>
                  <a:cxn ang="0">
                    <a:pos x="68" y="32"/>
                  </a:cxn>
                  <a:cxn ang="0">
                    <a:pos x="72" y="36"/>
                  </a:cxn>
                  <a:cxn ang="0">
                    <a:pos x="76" y="36"/>
                  </a:cxn>
                  <a:cxn ang="0">
                    <a:pos x="76" y="40"/>
                  </a:cxn>
                  <a:cxn ang="0">
                    <a:pos x="80" y="40"/>
                  </a:cxn>
                  <a:cxn ang="0">
                    <a:pos x="88" y="44"/>
                  </a:cxn>
                  <a:cxn ang="0">
                    <a:pos x="88" y="48"/>
                  </a:cxn>
                  <a:cxn ang="0">
                    <a:pos x="92" y="44"/>
                  </a:cxn>
                  <a:cxn ang="0">
                    <a:pos x="96" y="48"/>
                  </a:cxn>
                  <a:cxn ang="0">
                    <a:pos x="100" y="44"/>
                  </a:cxn>
                  <a:cxn ang="0">
                    <a:pos x="104" y="48"/>
                  </a:cxn>
                  <a:cxn ang="0">
                    <a:pos x="108" y="48"/>
                  </a:cxn>
                  <a:cxn ang="0">
                    <a:pos x="116" y="52"/>
                  </a:cxn>
                  <a:cxn ang="0">
                    <a:pos x="116" y="48"/>
                  </a:cxn>
                  <a:cxn ang="0">
                    <a:pos x="120" y="48"/>
                  </a:cxn>
                  <a:cxn ang="0">
                    <a:pos x="124" y="52"/>
                  </a:cxn>
                  <a:cxn ang="0">
                    <a:pos x="120" y="60"/>
                  </a:cxn>
                  <a:cxn ang="0">
                    <a:pos x="120" y="68"/>
                  </a:cxn>
                  <a:cxn ang="0">
                    <a:pos x="120" y="76"/>
                  </a:cxn>
                  <a:cxn ang="0">
                    <a:pos x="120" y="76"/>
                  </a:cxn>
                  <a:cxn ang="0">
                    <a:pos x="116" y="76"/>
                  </a:cxn>
                  <a:cxn ang="0">
                    <a:pos x="112" y="76"/>
                  </a:cxn>
                  <a:cxn ang="0">
                    <a:pos x="104" y="76"/>
                  </a:cxn>
                  <a:cxn ang="0">
                    <a:pos x="96" y="76"/>
                  </a:cxn>
                  <a:cxn ang="0">
                    <a:pos x="92" y="72"/>
                  </a:cxn>
                  <a:cxn ang="0">
                    <a:pos x="84" y="72"/>
                  </a:cxn>
                  <a:cxn ang="0">
                    <a:pos x="84" y="68"/>
                  </a:cxn>
                  <a:cxn ang="0">
                    <a:pos x="80" y="72"/>
                  </a:cxn>
                  <a:cxn ang="0">
                    <a:pos x="72" y="64"/>
                  </a:cxn>
                  <a:cxn ang="0">
                    <a:pos x="68" y="64"/>
                  </a:cxn>
                  <a:cxn ang="0">
                    <a:pos x="68" y="60"/>
                  </a:cxn>
                  <a:cxn ang="0">
                    <a:pos x="60" y="56"/>
                  </a:cxn>
                  <a:cxn ang="0">
                    <a:pos x="56" y="60"/>
                  </a:cxn>
                  <a:cxn ang="0">
                    <a:pos x="52" y="56"/>
                  </a:cxn>
                  <a:cxn ang="0">
                    <a:pos x="48" y="60"/>
                  </a:cxn>
                  <a:cxn ang="0">
                    <a:pos x="48" y="56"/>
                  </a:cxn>
                  <a:cxn ang="0">
                    <a:pos x="40" y="56"/>
                  </a:cxn>
                </a:cxnLst>
                <a:rect l="0" t="0" r="r" b="b"/>
                <a:pathLst>
                  <a:path w="124" h="80">
                    <a:moveTo>
                      <a:pt x="40" y="52"/>
                    </a:moveTo>
                    <a:lnTo>
                      <a:pt x="40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2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0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52" y="20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52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4"/>
                    </a:lnTo>
                    <a:lnTo>
                      <a:pt x="56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2"/>
                    </a:lnTo>
                    <a:lnTo>
                      <a:pt x="68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2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4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0" y="44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52"/>
                    </a:lnTo>
                    <a:lnTo>
                      <a:pt x="108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52"/>
                    </a:lnTo>
                    <a:lnTo>
                      <a:pt x="116" y="52"/>
                    </a:lnTo>
                    <a:lnTo>
                      <a:pt x="116" y="48"/>
                    </a:lnTo>
                    <a:lnTo>
                      <a:pt x="116" y="52"/>
                    </a:lnTo>
                    <a:lnTo>
                      <a:pt x="116" y="52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20" y="48"/>
                    </a:lnTo>
                    <a:lnTo>
                      <a:pt x="120" y="48"/>
                    </a:lnTo>
                    <a:lnTo>
                      <a:pt x="120" y="48"/>
                    </a:lnTo>
                    <a:lnTo>
                      <a:pt x="120" y="48"/>
                    </a:lnTo>
                    <a:lnTo>
                      <a:pt x="120" y="48"/>
                    </a:lnTo>
                    <a:lnTo>
                      <a:pt x="120" y="48"/>
                    </a:lnTo>
                    <a:lnTo>
                      <a:pt x="124" y="48"/>
                    </a:lnTo>
                    <a:lnTo>
                      <a:pt x="124" y="48"/>
                    </a:lnTo>
                    <a:lnTo>
                      <a:pt x="124" y="52"/>
                    </a:lnTo>
                    <a:lnTo>
                      <a:pt x="124" y="52"/>
                    </a:lnTo>
                    <a:lnTo>
                      <a:pt x="120" y="56"/>
                    </a:lnTo>
                    <a:lnTo>
                      <a:pt x="120" y="56"/>
                    </a:lnTo>
                    <a:lnTo>
                      <a:pt x="120" y="56"/>
                    </a:lnTo>
                    <a:lnTo>
                      <a:pt x="120" y="56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4" y="68"/>
                    </a:lnTo>
                    <a:lnTo>
                      <a:pt x="124" y="72"/>
                    </a:lnTo>
                    <a:lnTo>
                      <a:pt x="124" y="72"/>
                    </a:lnTo>
                    <a:lnTo>
                      <a:pt x="124" y="72"/>
                    </a:lnTo>
                    <a:lnTo>
                      <a:pt x="124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80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16" y="76"/>
                    </a:lnTo>
                    <a:lnTo>
                      <a:pt x="116" y="76"/>
                    </a:lnTo>
                    <a:lnTo>
                      <a:pt x="116" y="76"/>
                    </a:lnTo>
                    <a:lnTo>
                      <a:pt x="116" y="76"/>
                    </a:lnTo>
                    <a:lnTo>
                      <a:pt x="112" y="76"/>
                    </a:lnTo>
                    <a:lnTo>
                      <a:pt x="112" y="76"/>
                    </a:lnTo>
                    <a:lnTo>
                      <a:pt x="112" y="76"/>
                    </a:lnTo>
                    <a:lnTo>
                      <a:pt x="112" y="76"/>
                    </a:lnTo>
                    <a:lnTo>
                      <a:pt x="112" y="76"/>
                    </a:lnTo>
                    <a:lnTo>
                      <a:pt x="112" y="76"/>
                    </a:lnTo>
                    <a:lnTo>
                      <a:pt x="108" y="80"/>
                    </a:lnTo>
                    <a:lnTo>
                      <a:pt x="108" y="76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4" y="76"/>
                    </a:lnTo>
                    <a:lnTo>
                      <a:pt x="100" y="76"/>
                    </a:lnTo>
                    <a:lnTo>
                      <a:pt x="100" y="76"/>
                    </a:lnTo>
                    <a:lnTo>
                      <a:pt x="100" y="76"/>
                    </a:lnTo>
                    <a:lnTo>
                      <a:pt x="96" y="76"/>
                    </a:lnTo>
                    <a:lnTo>
                      <a:pt x="96" y="72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92" y="72"/>
                    </a:lnTo>
                    <a:lnTo>
                      <a:pt x="88" y="72"/>
                    </a:lnTo>
                    <a:lnTo>
                      <a:pt x="88" y="72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4" y="72"/>
                    </a:lnTo>
                    <a:lnTo>
                      <a:pt x="84" y="72"/>
                    </a:lnTo>
                    <a:lnTo>
                      <a:pt x="84" y="72"/>
                    </a:lnTo>
                    <a:lnTo>
                      <a:pt x="84" y="72"/>
                    </a:lnTo>
                    <a:lnTo>
                      <a:pt x="84" y="72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0" y="68"/>
                    </a:lnTo>
                    <a:lnTo>
                      <a:pt x="80" y="72"/>
                    </a:lnTo>
                    <a:lnTo>
                      <a:pt x="80" y="72"/>
                    </a:lnTo>
                    <a:lnTo>
                      <a:pt x="80" y="72"/>
                    </a:lnTo>
                    <a:lnTo>
                      <a:pt x="80" y="72"/>
                    </a:lnTo>
                    <a:lnTo>
                      <a:pt x="76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72" y="68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72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2" name="Freeform 31">
                <a:extLst>
                  <a:ext uri="{FF2B5EF4-FFF2-40B4-BE49-F238E27FC236}">
                    <a16:creationId xmlns:a16="http://schemas.microsoft.com/office/drawing/2014/main" id="{47109314-E810-4709-A5ED-270C6CF571A9}"/>
                  </a:ext>
                </a:extLst>
              </p:cNvPr>
              <p:cNvSpPr>
                <a:spLocks noEditPoint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782598" y="5349226"/>
                <a:ext cx="151273" cy="230690"/>
              </a:xfrm>
              <a:custGeom>
                <a:avLst/>
                <a:gdLst/>
                <a:ahLst/>
                <a:cxnLst>
                  <a:cxn ang="0">
                    <a:pos x="68" y="0"/>
                  </a:cxn>
                  <a:cxn ang="0">
                    <a:pos x="68" y="8"/>
                  </a:cxn>
                  <a:cxn ang="0">
                    <a:pos x="64" y="12"/>
                  </a:cxn>
                  <a:cxn ang="0">
                    <a:pos x="64" y="4"/>
                  </a:cxn>
                  <a:cxn ang="0">
                    <a:pos x="64" y="0"/>
                  </a:cxn>
                  <a:cxn ang="0">
                    <a:pos x="68" y="0"/>
                  </a:cxn>
                  <a:cxn ang="0">
                    <a:pos x="48" y="68"/>
                  </a:cxn>
                  <a:cxn ang="0">
                    <a:pos x="52" y="60"/>
                  </a:cxn>
                  <a:cxn ang="0">
                    <a:pos x="56" y="52"/>
                  </a:cxn>
                  <a:cxn ang="0">
                    <a:pos x="60" y="44"/>
                  </a:cxn>
                  <a:cxn ang="0">
                    <a:pos x="60" y="40"/>
                  </a:cxn>
                  <a:cxn ang="0">
                    <a:pos x="60" y="32"/>
                  </a:cxn>
                  <a:cxn ang="0">
                    <a:pos x="60" y="24"/>
                  </a:cxn>
                  <a:cxn ang="0">
                    <a:pos x="64" y="28"/>
                  </a:cxn>
                  <a:cxn ang="0">
                    <a:pos x="64" y="28"/>
                  </a:cxn>
                  <a:cxn ang="0">
                    <a:pos x="68" y="28"/>
                  </a:cxn>
                  <a:cxn ang="0">
                    <a:pos x="68" y="24"/>
                  </a:cxn>
                  <a:cxn ang="0">
                    <a:pos x="72" y="36"/>
                  </a:cxn>
                  <a:cxn ang="0">
                    <a:pos x="76" y="40"/>
                  </a:cxn>
                  <a:cxn ang="0">
                    <a:pos x="88" y="48"/>
                  </a:cxn>
                  <a:cxn ang="0">
                    <a:pos x="92" y="48"/>
                  </a:cxn>
                  <a:cxn ang="0">
                    <a:pos x="96" y="52"/>
                  </a:cxn>
                  <a:cxn ang="0">
                    <a:pos x="100" y="52"/>
                  </a:cxn>
                  <a:cxn ang="0">
                    <a:pos x="108" y="60"/>
                  </a:cxn>
                  <a:cxn ang="0">
                    <a:pos x="112" y="68"/>
                  </a:cxn>
                  <a:cxn ang="0">
                    <a:pos x="116" y="72"/>
                  </a:cxn>
                  <a:cxn ang="0">
                    <a:pos x="120" y="80"/>
                  </a:cxn>
                  <a:cxn ang="0">
                    <a:pos x="116" y="88"/>
                  </a:cxn>
                  <a:cxn ang="0">
                    <a:pos x="112" y="96"/>
                  </a:cxn>
                  <a:cxn ang="0">
                    <a:pos x="104" y="104"/>
                  </a:cxn>
                  <a:cxn ang="0">
                    <a:pos x="100" y="111"/>
                  </a:cxn>
                  <a:cxn ang="0">
                    <a:pos x="96" y="111"/>
                  </a:cxn>
                  <a:cxn ang="0">
                    <a:pos x="96" y="108"/>
                  </a:cxn>
                  <a:cxn ang="0">
                    <a:pos x="88" y="115"/>
                  </a:cxn>
                  <a:cxn ang="0">
                    <a:pos x="88" y="123"/>
                  </a:cxn>
                  <a:cxn ang="0">
                    <a:pos x="88" y="131"/>
                  </a:cxn>
                  <a:cxn ang="0">
                    <a:pos x="88" y="139"/>
                  </a:cxn>
                  <a:cxn ang="0">
                    <a:pos x="80" y="139"/>
                  </a:cxn>
                  <a:cxn ang="0">
                    <a:pos x="72" y="143"/>
                  </a:cxn>
                  <a:cxn ang="0">
                    <a:pos x="72" y="151"/>
                  </a:cxn>
                  <a:cxn ang="0">
                    <a:pos x="68" y="155"/>
                  </a:cxn>
                  <a:cxn ang="0">
                    <a:pos x="64" y="159"/>
                  </a:cxn>
                  <a:cxn ang="0">
                    <a:pos x="52" y="159"/>
                  </a:cxn>
                  <a:cxn ang="0">
                    <a:pos x="52" y="163"/>
                  </a:cxn>
                  <a:cxn ang="0">
                    <a:pos x="52" y="167"/>
                  </a:cxn>
                  <a:cxn ang="0">
                    <a:pos x="44" y="175"/>
                  </a:cxn>
                  <a:cxn ang="0">
                    <a:pos x="40" y="175"/>
                  </a:cxn>
                  <a:cxn ang="0">
                    <a:pos x="28" y="179"/>
                  </a:cxn>
                  <a:cxn ang="0">
                    <a:pos x="24" y="179"/>
                  </a:cxn>
                  <a:cxn ang="0">
                    <a:pos x="0" y="139"/>
                  </a:cxn>
                  <a:cxn ang="0">
                    <a:pos x="104" y="115"/>
                  </a:cxn>
                  <a:cxn ang="0">
                    <a:pos x="104" y="111"/>
                  </a:cxn>
                  <a:cxn ang="0">
                    <a:pos x="108" y="108"/>
                  </a:cxn>
                  <a:cxn ang="0">
                    <a:pos x="104" y="111"/>
                  </a:cxn>
                  <a:cxn ang="0">
                    <a:pos x="104" y="115"/>
                  </a:cxn>
                </a:cxnLst>
                <a:rect l="0" t="0" r="r" b="b"/>
                <a:pathLst>
                  <a:path w="120" h="183">
                    <a:moveTo>
                      <a:pt x="68" y="0"/>
                    </a:move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close/>
                    <a:moveTo>
                      <a:pt x="52" y="96"/>
                    </a:moveTo>
                    <a:lnTo>
                      <a:pt x="56" y="80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48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4" y="44"/>
                    </a:lnTo>
                    <a:lnTo>
                      <a:pt x="64" y="44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60" y="32"/>
                    </a:lnTo>
                    <a:lnTo>
                      <a:pt x="60" y="32"/>
                    </a:lnTo>
                    <a:lnTo>
                      <a:pt x="60" y="32"/>
                    </a:lnTo>
                    <a:lnTo>
                      <a:pt x="60" y="32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8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0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8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8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2" y="36"/>
                    </a:lnTo>
                    <a:lnTo>
                      <a:pt x="76" y="36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4" y="48"/>
                    </a:lnTo>
                    <a:lnTo>
                      <a:pt x="88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52"/>
                    </a:lnTo>
                    <a:lnTo>
                      <a:pt x="100" y="52"/>
                    </a:lnTo>
                    <a:lnTo>
                      <a:pt x="100" y="52"/>
                    </a:lnTo>
                    <a:lnTo>
                      <a:pt x="100" y="52"/>
                    </a:lnTo>
                    <a:lnTo>
                      <a:pt x="100" y="52"/>
                    </a:lnTo>
                    <a:lnTo>
                      <a:pt x="104" y="52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8" y="60"/>
                    </a:lnTo>
                    <a:lnTo>
                      <a:pt x="108" y="60"/>
                    </a:lnTo>
                    <a:lnTo>
                      <a:pt x="108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4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16" y="72"/>
                    </a:lnTo>
                    <a:lnTo>
                      <a:pt x="120" y="72"/>
                    </a:lnTo>
                    <a:lnTo>
                      <a:pt x="120" y="72"/>
                    </a:lnTo>
                    <a:lnTo>
                      <a:pt x="120" y="72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76"/>
                    </a:lnTo>
                    <a:lnTo>
                      <a:pt x="120" y="80"/>
                    </a:lnTo>
                    <a:lnTo>
                      <a:pt x="120" y="80"/>
                    </a:lnTo>
                    <a:lnTo>
                      <a:pt x="116" y="84"/>
                    </a:lnTo>
                    <a:lnTo>
                      <a:pt x="116" y="84"/>
                    </a:lnTo>
                    <a:lnTo>
                      <a:pt x="116" y="84"/>
                    </a:lnTo>
                    <a:lnTo>
                      <a:pt x="116" y="84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6" y="88"/>
                    </a:lnTo>
                    <a:lnTo>
                      <a:pt x="112" y="92"/>
                    </a:lnTo>
                    <a:lnTo>
                      <a:pt x="112" y="92"/>
                    </a:lnTo>
                    <a:lnTo>
                      <a:pt x="112" y="92"/>
                    </a:lnTo>
                    <a:lnTo>
                      <a:pt x="112" y="92"/>
                    </a:lnTo>
                    <a:lnTo>
                      <a:pt x="112" y="96"/>
                    </a:lnTo>
                    <a:lnTo>
                      <a:pt x="108" y="96"/>
                    </a:lnTo>
                    <a:lnTo>
                      <a:pt x="108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4"/>
                    </a:lnTo>
                    <a:lnTo>
                      <a:pt x="104" y="108"/>
                    </a:lnTo>
                    <a:lnTo>
                      <a:pt x="100" y="108"/>
                    </a:lnTo>
                    <a:lnTo>
                      <a:pt x="100" y="108"/>
                    </a:lnTo>
                    <a:lnTo>
                      <a:pt x="100" y="108"/>
                    </a:lnTo>
                    <a:lnTo>
                      <a:pt x="100" y="111"/>
                    </a:lnTo>
                    <a:lnTo>
                      <a:pt x="100" y="111"/>
                    </a:lnTo>
                    <a:lnTo>
                      <a:pt x="100" y="111"/>
                    </a:lnTo>
                    <a:lnTo>
                      <a:pt x="96" y="111"/>
                    </a:lnTo>
                    <a:lnTo>
                      <a:pt x="96" y="111"/>
                    </a:lnTo>
                    <a:lnTo>
                      <a:pt x="96" y="111"/>
                    </a:lnTo>
                    <a:lnTo>
                      <a:pt x="96" y="111"/>
                    </a:lnTo>
                    <a:lnTo>
                      <a:pt x="96" y="111"/>
                    </a:lnTo>
                    <a:lnTo>
                      <a:pt x="96" y="111"/>
                    </a:lnTo>
                    <a:lnTo>
                      <a:pt x="96" y="111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2" y="108"/>
                    </a:lnTo>
                    <a:lnTo>
                      <a:pt x="92" y="111"/>
                    </a:lnTo>
                    <a:lnTo>
                      <a:pt x="92" y="111"/>
                    </a:lnTo>
                    <a:lnTo>
                      <a:pt x="92" y="111"/>
                    </a:lnTo>
                    <a:lnTo>
                      <a:pt x="92" y="115"/>
                    </a:lnTo>
                    <a:lnTo>
                      <a:pt x="88" y="115"/>
                    </a:lnTo>
                    <a:lnTo>
                      <a:pt x="88" y="115"/>
                    </a:lnTo>
                    <a:lnTo>
                      <a:pt x="88" y="115"/>
                    </a:lnTo>
                    <a:lnTo>
                      <a:pt x="88" y="115"/>
                    </a:lnTo>
                    <a:lnTo>
                      <a:pt x="88" y="115"/>
                    </a:lnTo>
                    <a:lnTo>
                      <a:pt x="88" y="119"/>
                    </a:lnTo>
                    <a:lnTo>
                      <a:pt x="88" y="123"/>
                    </a:lnTo>
                    <a:lnTo>
                      <a:pt x="88" y="123"/>
                    </a:lnTo>
                    <a:lnTo>
                      <a:pt x="88" y="123"/>
                    </a:lnTo>
                    <a:lnTo>
                      <a:pt x="88" y="123"/>
                    </a:lnTo>
                    <a:lnTo>
                      <a:pt x="88" y="123"/>
                    </a:lnTo>
                    <a:lnTo>
                      <a:pt x="88" y="127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1"/>
                    </a:lnTo>
                    <a:lnTo>
                      <a:pt x="88" y="135"/>
                    </a:lnTo>
                    <a:lnTo>
                      <a:pt x="88" y="139"/>
                    </a:lnTo>
                    <a:lnTo>
                      <a:pt x="88" y="139"/>
                    </a:lnTo>
                    <a:lnTo>
                      <a:pt x="88" y="139"/>
                    </a:lnTo>
                    <a:lnTo>
                      <a:pt x="88" y="139"/>
                    </a:lnTo>
                    <a:lnTo>
                      <a:pt x="88" y="139"/>
                    </a:lnTo>
                    <a:lnTo>
                      <a:pt x="84" y="139"/>
                    </a:lnTo>
                    <a:lnTo>
                      <a:pt x="84" y="139"/>
                    </a:lnTo>
                    <a:lnTo>
                      <a:pt x="84" y="139"/>
                    </a:lnTo>
                    <a:lnTo>
                      <a:pt x="80" y="139"/>
                    </a:lnTo>
                    <a:lnTo>
                      <a:pt x="80" y="139"/>
                    </a:lnTo>
                    <a:lnTo>
                      <a:pt x="80" y="139"/>
                    </a:lnTo>
                    <a:lnTo>
                      <a:pt x="76" y="139"/>
                    </a:lnTo>
                    <a:lnTo>
                      <a:pt x="76" y="143"/>
                    </a:lnTo>
                    <a:lnTo>
                      <a:pt x="76" y="143"/>
                    </a:lnTo>
                    <a:lnTo>
                      <a:pt x="76" y="143"/>
                    </a:lnTo>
                    <a:lnTo>
                      <a:pt x="76" y="143"/>
                    </a:lnTo>
                    <a:lnTo>
                      <a:pt x="72" y="143"/>
                    </a:lnTo>
                    <a:lnTo>
                      <a:pt x="72" y="143"/>
                    </a:lnTo>
                    <a:lnTo>
                      <a:pt x="72" y="147"/>
                    </a:lnTo>
                    <a:lnTo>
                      <a:pt x="72" y="147"/>
                    </a:lnTo>
                    <a:lnTo>
                      <a:pt x="72" y="147"/>
                    </a:lnTo>
                    <a:lnTo>
                      <a:pt x="72" y="147"/>
                    </a:lnTo>
                    <a:lnTo>
                      <a:pt x="72" y="151"/>
                    </a:lnTo>
                    <a:lnTo>
                      <a:pt x="72" y="151"/>
                    </a:lnTo>
                    <a:lnTo>
                      <a:pt x="72" y="151"/>
                    </a:lnTo>
                    <a:lnTo>
                      <a:pt x="72" y="151"/>
                    </a:lnTo>
                    <a:lnTo>
                      <a:pt x="72" y="155"/>
                    </a:lnTo>
                    <a:lnTo>
                      <a:pt x="72" y="155"/>
                    </a:lnTo>
                    <a:lnTo>
                      <a:pt x="68" y="155"/>
                    </a:lnTo>
                    <a:lnTo>
                      <a:pt x="68" y="155"/>
                    </a:lnTo>
                    <a:lnTo>
                      <a:pt x="68" y="155"/>
                    </a:lnTo>
                    <a:lnTo>
                      <a:pt x="68" y="155"/>
                    </a:lnTo>
                    <a:lnTo>
                      <a:pt x="68" y="159"/>
                    </a:lnTo>
                    <a:lnTo>
                      <a:pt x="68" y="159"/>
                    </a:lnTo>
                    <a:lnTo>
                      <a:pt x="68" y="159"/>
                    </a:lnTo>
                    <a:lnTo>
                      <a:pt x="68" y="159"/>
                    </a:lnTo>
                    <a:lnTo>
                      <a:pt x="64" y="159"/>
                    </a:lnTo>
                    <a:lnTo>
                      <a:pt x="64" y="159"/>
                    </a:lnTo>
                    <a:lnTo>
                      <a:pt x="64" y="159"/>
                    </a:lnTo>
                    <a:lnTo>
                      <a:pt x="60" y="159"/>
                    </a:lnTo>
                    <a:lnTo>
                      <a:pt x="60" y="159"/>
                    </a:lnTo>
                    <a:lnTo>
                      <a:pt x="60" y="159"/>
                    </a:lnTo>
                    <a:lnTo>
                      <a:pt x="56" y="159"/>
                    </a:lnTo>
                    <a:lnTo>
                      <a:pt x="56" y="159"/>
                    </a:lnTo>
                    <a:lnTo>
                      <a:pt x="52" y="159"/>
                    </a:lnTo>
                    <a:lnTo>
                      <a:pt x="52" y="159"/>
                    </a:lnTo>
                    <a:lnTo>
                      <a:pt x="52" y="159"/>
                    </a:lnTo>
                    <a:lnTo>
                      <a:pt x="52" y="159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3"/>
                    </a:lnTo>
                    <a:lnTo>
                      <a:pt x="52" y="167"/>
                    </a:lnTo>
                    <a:lnTo>
                      <a:pt x="52" y="167"/>
                    </a:lnTo>
                    <a:lnTo>
                      <a:pt x="52" y="167"/>
                    </a:lnTo>
                    <a:lnTo>
                      <a:pt x="52" y="167"/>
                    </a:lnTo>
                    <a:lnTo>
                      <a:pt x="52" y="167"/>
                    </a:lnTo>
                    <a:lnTo>
                      <a:pt x="52" y="167"/>
                    </a:lnTo>
                    <a:lnTo>
                      <a:pt x="52" y="171"/>
                    </a:lnTo>
                    <a:lnTo>
                      <a:pt x="52" y="171"/>
                    </a:lnTo>
                    <a:lnTo>
                      <a:pt x="48" y="175"/>
                    </a:lnTo>
                    <a:lnTo>
                      <a:pt x="48" y="175"/>
                    </a:lnTo>
                    <a:lnTo>
                      <a:pt x="48" y="175"/>
                    </a:lnTo>
                    <a:lnTo>
                      <a:pt x="48" y="175"/>
                    </a:lnTo>
                    <a:lnTo>
                      <a:pt x="44" y="175"/>
                    </a:lnTo>
                    <a:lnTo>
                      <a:pt x="44" y="175"/>
                    </a:lnTo>
                    <a:lnTo>
                      <a:pt x="44" y="175"/>
                    </a:lnTo>
                    <a:lnTo>
                      <a:pt x="44" y="175"/>
                    </a:lnTo>
                    <a:lnTo>
                      <a:pt x="44" y="175"/>
                    </a:lnTo>
                    <a:lnTo>
                      <a:pt x="40" y="175"/>
                    </a:lnTo>
                    <a:lnTo>
                      <a:pt x="40" y="175"/>
                    </a:lnTo>
                    <a:lnTo>
                      <a:pt x="40" y="175"/>
                    </a:lnTo>
                    <a:lnTo>
                      <a:pt x="40" y="175"/>
                    </a:lnTo>
                    <a:lnTo>
                      <a:pt x="40" y="175"/>
                    </a:lnTo>
                    <a:lnTo>
                      <a:pt x="36" y="175"/>
                    </a:lnTo>
                    <a:lnTo>
                      <a:pt x="32" y="175"/>
                    </a:lnTo>
                    <a:lnTo>
                      <a:pt x="32" y="175"/>
                    </a:lnTo>
                    <a:lnTo>
                      <a:pt x="32" y="175"/>
                    </a:lnTo>
                    <a:lnTo>
                      <a:pt x="28" y="179"/>
                    </a:lnTo>
                    <a:lnTo>
                      <a:pt x="28" y="179"/>
                    </a:lnTo>
                    <a:lnTo>
                      <a:pt x="28" y="179"/>
                    </a:lnTo>
                    <a:lnTo>
                      <a:pt x="28" y="179"/>
                    </a:lnTo>
                    <a:lnTo>
                      <a:pt x="24" y="179"/>
                    </a:lnTo>
                    <a:lnTo>
                      <a:pt x="24" y="179"/>
                    </a:lnTo>
                    <a:lnTo>
                      <a:pt x="24" y="179"/>
                    </a:lnTo>
                    <a:lnTo>
                      <a:pt x="24" y="179"/>
                    </a:lnTo>
                    <a:lnTo>
                      <a:pt x="20" y="179"/>
                    </a:lnTo>
                    <a:lnTo>
                      <a:pt x="20" y="183"/>
                    </a:lnTo>
                    <a:lnTo>
                      <a:pt x="20" y="183"/>
                    </a:lnTo>
                    <a:lnTo>
                      <a:pt x="20" y="183"/>
                    </a:lnTo>
                    <a:lnTo>
                      <a:pt x="12" y="171"/>
                    </a:lnTo>
                    <a:lnTo>
                      <a:pt x="12" y="167"/>
                    </a:lnTo>
                    <a:lnTo>
                      <a:pt x="0" y="139"/>
                    </a:lnTo>
                    <a:lnTo>
                      <a:pt x="48" y="119"/>
                    </a:lnTo>
                    <a:lnTo>
                      <a:pt x="52" y="96"/>
                    </a:lnTo>
                    <a:close/>
                    <a:moveTo>
                      <a:pt x="104" y="115"/>
                    </a:moveTo>
                    <a:lnTo>
                      <a:pt x="104" y="115"/>
                    </a:lnTo>
                    <a:lnTo>
                      <a:pt x="104" y="115"/>
                    </a:lnTo>
                    <a:lnTo>
                      <a:pt x="104" y="115"/>
                    </a:lnTo>
                    <a:lnTo>
                      <a:pt x="104" y="115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08"/>
                    </a:lnTo>
                    <a:lnTo>
                      <a:pt x="104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11"/>
                    </a:lnTo>
                    <a:lnTo>
                      <a:pt x="108" y="111"/>
                    </a:lnTo>
                    <a:lnTo>
                      <a:pt x="108" y="111"/>
                    </a:lnTo>
                    <a:lnTo>
                      <a:pt x="108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1"/>
                    </a:lnTo>
                    <a:lnTo>
                      <a:pt x="104" y="115"/>
                    </a:lnTo>
                    <a:lnTo>
                      <a:pt x="104" y="115"/>
                    </a:lnTo>
                    <a:lnTo>
                      <a:pt x="104" y="115"/>
                    </a:lnTo>
                    <a:lnTo>
                      <a:pt x="104" y="115"/>
                    </a:lnTo>
                    <a:lnTo>
                      <a:pt x="104" y="115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3" name="Freeform 32">
                <a:extLst>
                  <a:ext uri="{FF2B5EF4-FFF2-40B4-BE49-F238E27FC236}">
                    <a16:creationId xmlns:a16="http://schemas.microsoft.com/office/drawing/2014/main" id="{3416507A-30CF-4A41-AC0C-B8F3A763BDEB}"/>
                  </a:ext>
                </a:extLst>
              </p:cNvPr>
              <p:cNvSpPr>
                <a:spLocks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954040" y="5081978"/>
                <a:ext cx="321454" cy="327757"/>
              </a:xfrm>
              <a:custGeom>
                <a:avLst/>
                <a:gdLst/>
                <a:ahLst/>
                <a:cxnLst>
                  <a:cxn ang="0">
                    <a:pos x="56" y="148"/>
                  </a:cxn>
                  <a:cxn ang="0">
                    <a:pos x="80" y="144"/>
                  </a:cxn>
                  <a:cxn ang="0">
                    <a:pos x="84" y="128"/>
                  </a:cxn>
                  <a:cxn ang="0">
                    <a:pos x="92" y="116"/>
                  </a:cxn>
                  <a:cxn ang="0">
                    <a:pos x="104" y="108"/>
                  </a:cxn>
                  <a:cxn ang="0">
                    <a:pos x="124" y="108"/>
                  </a:cxn>
                  <a:cxn ang="0">
                    <a:pos x="128" y="88"/>
                  </a:cxn>
                  <a:cxn ang="0">
                    <a:pos x="136" y="80"/>
                  </a:cxn>
                  <a:cxn ang="0">
                    <a:pos x="140" y="64"/>
                  </a:cxn>
                  <a:cxn ang="0">
                    <a:pos x="152" y="60"/>
                  </a:cxn>
                  <a:cxn ang="0">
                    <a:pos x="156" y="48"/>
                  </a:cxn>
                  <a:cxn ang="0">
                    <a:pos x="164" y="28"/>
                  </a:cxn>
                  <a:cxn ang="0">
                    <a:pos x="156" y="16"/>
                  </a:cxn>
                  <a:cxn ang="0">
                    <a:pos x="176" y="4"/>
                  </a:cxn>
                  <a:cxn ang="0">
                    <a:pos x="200" y="4"/>
                  </a:cxn>
                  <a:cxn ang="0">
                    <a:pos x="219" y="4"/>
                  </a:cxn>
                  <a:cxn ang="0">
                    <a:pos x="227" y="16"/>
                  </a:cxn>
                  <a:cxn ang="0">
                    <a:pos x="239" y="24"/>
                  </a:cxn>
                  <a:cxn ang="0">
                    <a:pos x="255" y="28"/>
                  </a:cxn>
                  <a:cxn ang="0">
                    <a:pos x="243" y="40"/>
                  </a:cxn>
                  <a:cxn ang="0">
                    <a:pos x="231" y="48"/>
                  </a:cxn>
                  <a:cxn ang="0">
                    <a:pos x="208" y="48"/>
                  </a:cxn>
                  <a:cxn ang="0">
                    <a:pos x="200" y="52"/>
                  </a:cxn>
                  <a:cxn ang="0">
                    <a:pos x="200" y="64"/>
                  </a:cxn>
                  <a:cxn ang="0">
                    <a:pos x="204" y="84"/>
                  </a:cxn>
                  <a:cxn ang="0">
                    <a:pos x="219" y="96"/>
                  </a:cxn>
                  <a:cxn ang="0">
                    <a:pos x="208" y="108"/>
                  </a:cxn>
                  <a:cxn ang="0">
                    <a:pos x="208" y="120"/>
                  </a:cxn>
                  <a:cxn ang="0">
                    <a:pos x="200" y="136"/>
                  </a:cxn>
                  <a:cxn ang="0">
                    <a:pos x="184" y="160"/>
                  </a:cxn>
                  <a:cxn ang="0">
                    <a:pos x="172" y="172"/>
                  </a:cxn>
                  <a:cxn ang="0">
                    <a:pos x="156" y="184"/>
                  </a:cxn>
                  <a:cxn ang="0">
                    <a:pos x="144" y="180"/>
                  </a:cxn>
                  <a:cxn ang="0">
                    <a:pos x="132" y="192"/>
                  </a:cxn>
                  <a:cxn ang="0">
                    <a:pos x="140" y="208"/>
                  </a:cxn>
                  <a:cxn ang="0">
                    <a:pos x="148" y="228"/>
                  </a:cxn>
                  <a:cxn ang="0">
                    <a:pos x="152" y="244"/>
                  </a:cxn>
                  <a:cxn ang="0">
                    <a:pos x="148" y="248"/>
                  </a:cxn>
                  <a:cxn ang="0">
                    <a:pos x="128" y="252"/>
                  </a:cxn>
                  <a:cxn ang="0">
                    <a:pos x="116" y="256"/>
                  </a:cxn>
                  <a:cxn ang="0">
                    <a:pos x="108" y="256"/>
                  </a:cxn>
                  <a:cxn ang="0">
                    <a:pos x="96" y="252"/>
                  </a:cxn>
                  <a:cxn ang="0">
                    <a:pos x="88" y="236"/>
                  </a:cxn>
                  <a:cxn ang="0">
                    <a:pos x="84" y="224"/>
                  </a:cxn>
                  <a:cxn ang="0">
                    <a:pos x="64" y="228"/>
                  </a:cxn>
                  <a:cxn ang="0">
                    <a:pos x="52" y="232"/>
                  </a:cxn>
                  <a:cxn ang="0">
                    <a:pos x="40" y="232"/>
                  </a:cxn>
                  <a:cxn ang="0">
                    <a:pos x="16" y="236"/>
                  </a:cxn>
                  <a:cxn ang="0">
                    <a:pos x="16" y="220"/>
                  </a:cxn>
                  <a:cxn ang="0">
                    <a:pos x="20" y="208"/>
                  </a:cxn>
                  <a:cxn ang="0">
                    <a:pos x="36" y="200"/>
                  </a:cxn>
                  <a:cxn ang="0">
                    <a:pos x="28" y="184"/>
                  </a:cxn>
                  <a:cxn ang="0">
                    <a:pos x="16" y="168"/>
                  </a:cxn>
                  <a:cxn ang="0">
                    <a:pos x="0" y="144"/>
                  </a:cxn>
                  <a:cxn ang="0">
                    <a:pos x="36" y="148"/>
                  </a:cxn>
                </a:cxnLst>
                <a:rect l="0" t="0" r="r" b="b"/>
                <a:pathLst>
                  <a:path w="255" h="260">
                    <a:moveTo>
                      <a:pt x="36" y="148"/>
                    </a:moveTo>
                    <a:lnTo>
                      <a:pt x="40" y="148"/>
                    </a:lnTo>
                    <a:lnTo>
                      <a:pt x="44" y="148"/>
                    </a:lnTo>
                    <a:lnTo>
                      <a:pt x="48" y="152"/>
                    </a:lnTo>
                    <a:lnTo>
                      <a:pt x="52" y="148"/>
                    </a:lnTo>
                    <a:lnTo>
                      <a:pt x="56" y="148"/>
                    </a:lnTo>
                    <a:lnTo>
                      <a:pt x="60" y="148"/>
                    </a:lnTo>
                    <a:lnTo>
                      <a:pt x="64" y="148"/>
                    </a:lnTo>
                    <a:lnTo>
                      <a:pt x="68" y="148"/>
                    </a:lnTo>
                    <a:lnTo>
                      <a:pt x="72" y="144"/>
                    </a:lnTo>
                    <a:lnTo>
                      <a:pt x="76" y="144"/>
                    </a:lnTo>
                    <a:lnTo>
                      <a:pt x="80" y="144"/>
                    </a:lnTo>
                    <a:lnTo>
                      <a:pt x="84" y="140"/>
                    </a:lnTo>
                    <a:lnTo>
                      <a:pt x="80" y="140"/>
                    </a:lnTo>
                    <a:lnTo>
                      <a:pt x="80" y="136"/>
                    </a:lnTo>
                    <a:lnTo>
                      <a:pt x="84" y="136"/>
                    </a:lnTo>
                    <a:lnTo>
                      <a:pt x="84" y="132"/>
                    </a:lnTo>
                    <a:lnTo>
                      <a:pt x="84" y="128"/>
                    </a:lnTo>
                    <a:lnTo>
                      <a:pt x="84" y="120"/>
                    </a:lnTo>
                    <a:lnTo>
                      <a:pt x="88" y="120"/>
                    </a:lnTo>
                    <a:lnTo>
                      <a:pt x="88" y="116"/>
                    </a:lnTo>
                    <a:lnTo>
                      <a:pt x="92" y="116"/>
                    </a:lnTo>
                    <a:lnTo>
                      <a:pt x="92" y="112"/>
                    </a:lnTo>
                    <a:lnTo>
                      <a:pt x="92" y="116"/>
                    </a:lnTo>
                    <a:lnTo>
                      <a:pt x="96" y="116"/>
                    </a:lnTo>
                    <a:lnTo>
                      <a:pt x="100" y="116"/>
                    </a:lnTo>
                    <a:lnTo>
                      <a:pt x="104" y="116"/>
                    </a:lnTo>
                    <a:lnTo>
                      <a:pt x="104" y="112"/>
                    </a:lnTo>
                    <a:lnTo>
                      <a:pt x="100" y="108"/>
                    </a:lnTo>
                    <a:lnTo>
                      <a:pt x="104" y="108"/>
                    </a:lnTo>
                    <a:lnTo>
                      <a:pt x="108" y="108"/>
                    </a:lnTo>
                    <a:lnTo>
                      <a:pt x="112" y="104"/>
                    </a:lnTo>
                    <a:lnTo>
                      <a:pt x="116" y="104"/>
                    </a:lnTo>
                    <a:lnTo>
                      <a:pt x="120" y="104"/>
                    </a:lnTo>
                    <a:lnTo>
                      <a:pt x="120" y="108"/>
                    </a:lnTo>
                    <a:lnTo>
                      <a:pt x="124" y="108"/>
                    </a:lnTo>
                    <a:lnTo>
                      <a:pt x="124" y="104"/>
                    </a:lnTo>
                    <a:lnTo>
                      <a:pt x="128" y="104"/>
                    </a:lnTo>
                    <a:lnTo>
                      <a:pt x="128" y="100"/>
                    </a:lnTo>
                    <a:lnTo>
                      <a:pt x="128" y="96"/>
                    </a:lnTo>
                    <a:lnTo>
                      <a:pt x="128" y="92"/>
                    </a:lnTo>
                    <a:lnTo>
                      <a:pt x="128" y="88"/>
                    </a:lnTo>
                    <a:lnTo>
                      <a:pt x="132" y="88"/>
                    </a:lnTo>
                    <a:lnTo>
                      <a:pt x="132" y="84"/>
                    </a:lnTo>
                    <a:lnTo>
                      <a:pt x="128" y="84"/>
                    </a:lnTo>
                    <a:lnTo>
                      <a:pt x="132" y="84"/>
                    </a:lnTo>
                    <a:lnTo>
                      <a:pt x="132" y="80"/>
                    </a:lnTo>
                    <a:lnTo>
                      <a:pt x="136" y="80"/>
                    </a:lnTo>
                    <a:lnTo>
                      <a:pt x="140" y="76"/>
                    </a:lnTo>
                    <a:lnTo>
                      <a:pt x="144" y="76"/>
                    </a:lnTo>
                    <a:lnTo>
                      <a:pt x="144" y="72"/>
                    </a:lnTo>
                    <a:lnTo>
                      <a:pt x="140" y="72"/>
                    </a:lnTo>
                    <a:lnTo>
                      <a:pt x="140" y="68"/>
                    </a:lnTo>
                    <a:lnTo>
                      <a:pt x="140" y="64"/>
                    </a:lnTo>
                    <a:lnTo>
                      <a:pt x="136" y="64"/>
                    </a:lnTo>
                    <a:lnTo>
                      <a:pt x="136" y="60"/>
                    </a:lnTo>
                    <a:lnTo>
                      <a:pt x="140" y="60"/>
                    </a:lnTo>
                    <a:lnTo>
                      <a:pt x="144" y="60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6" y="60"/>
                    </a:lnTo>
                    <a:lnTo>
                      <a:pt x="156" y="56"/>
                    </a:lnTo>
                    <a:lnTo>
                      <a:pt x="156" y="52"/>
                    </a:lnTo>
                    <a:lnTo>
                      <a:pt x="152" y="52"/>
                    </a:lnTo>
                    <a:lnTo>
                      <a:pt x="152" y="48"/>
                    </a:lnTo>
                    <a:lnTo>
                      <a:pt x="156" y="48"/>
                    </a:lnTo>
                    <a:lnTo>
                      <a:pt x="156" y="44"/>
                    </a:lnTo>
                    <a:lnTo>
                      <a:pt x="160" y="44"/>
                    </a:lnTo>
                    <a:lnTo>
                      <a:pt x="160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4" y="28"/>
                    </a:lnTo>
                    <a:lnTo>
                      <a:pt x="160" y="28"/>
                    </a:lnTo>
                    <a:lnTo>
                      <a:pt x="164" y="24"/>
                    </a:lnTo>
                    <a:lnTo>
                      <a:pt x="160" y="24"/>
                    </a:lnTo>
                    <a:lnTo>
                      <a:pt x="160" y="20"/>
                    </a:lnTo>
                    <a:lnTo>
                      <a:pt x="156" y="20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4" y="12"/>
                    </a:lnTo>
                    <a:lnTo>
                      <a:pt x="168" y="8"/>
                    </a:lnTo>
                    <a:lnTo>
                      <a:pt x="172" y="8"/>
                    </a:lnTo>
                    <a:lnTo>
                      <a:pt x="172" y="4"/>
                    </a:lnTo>
                    <a:lnTo>
                      <a:pt x="176" y="4"/>
                    </a:lnTo>
                    <a:lnTo>
                      <a:pt x="180" y="4"/>
                    </a:lnTo>
                    <a:lnTo>
                      <a:pt x="184" y="4"/>
                    </a:lnTo>
                    <a:lnTo>
                      <a:pt x="188" y="0"/>
                    </a:lnTo>
                    <a:lnTo>
                      <a:pt x="192" y="0"/>
                    </a:lnTo>
                    <a:lnTo>
                      <a:pt x="196" y="0"/>
                    </a:lnTo>
                    <a:lnTo>
                      <a:pt x="200" y="4"/>
                    </a:lnTo>
                    <a:lnTo>
                      <a:pt x="204" y="0"/>
                    </a:lnTo>
                    <a:lnTo>
                      <a:pt x="208" y="0"/>
                    </a:lnTo>
                    <a:lnTo>
                      <a:pt x="211" y="0"/>
                    </a:lnTo>
                    <a:lnTo>
                      <a:pt x="215" y="0"/>
                    </a:lnTo>
                    <a:lnTo>
                      <a:pt x="219" y="0"/>
                    </a:lnTo>
                    <a:lnTo>
                      <a:pt x="219" y="4"/>
                    </a:lnTo>
                    <a:lnTo>
                      <a:pt x="223" y="4"/>
                    </a:lnTo>
                    <a:lnTo>
                      <a:pt x="227" y="4"/>
                    </a:lnTo>
                    <a:lnTo>
                      <a:pt x="227" y="8"/>
                    </a:lnTo>
                    <a:lnTo>
                      <a:pt x="227" y="12"/>
                    </a:lnTo>
                    <a:lnTo>
                      <a:pt x="231" y="16"/>
                    </a:lnTo>
                    <a:lnTo>
                      <a:pt x="227" y="16"/>
                    </a:lnTo>
                    <a:lnTo>
                      <a:pt x="227" y="20"/>
                    </a:lnTo>
                    <a:lnTo>
                      <a:pt x="231" y="20"/>
                    </a:lnTo>
                    <a:lnTo>
                      <a:pt x="231" y="24"/>
                    </a:lnTo>
                    <a:lnTo>
                      <a:pt x="235" y="24"/>
                    </a:lnTo>
                    <a:lnTo>
                      <a:pt x="239" y="20"/>
                    </a:lnTo>
                    <a:lnTo>
                      <a:pt x="239" y="24"/>
                    </a:lnTo>
                    <a:lnTo>
                      <a:pt x="239" y="28"/>
                    </a:lnTo>
                    <a:lnTo>
                      <a:pt x="243" y="28"/>
                    </a:lnTo>
                    <a:lnTo>
                      <a:pt x="247" y="28"/>
                    </a:lnTo>
                    <a:lnTo>
                      <a:pt x="251" y="32"/>
                    </a:lnTo>
                    <a:lnTo>
                      <a:pt x="255" y="32"/>
                    </a:lnTo>
                    <a:lnTo>
                      <a:pt x="255" y="28"/>
                    </a:lnTo>
                    <a:lnTo>
                      <a:pt x="255" y="32"/>
                    </a:lnTo>
                    <a:lnTo>
                      <a:pt x="251" y="32"/>
                    </a:lnTo>
                    <a:lnTo>
                      <a:pt x="251" y="36"/>
                    </a:lnTo>
                    <a:lnTo>
                      <a:pt x="247" y="36"/>
                    </a:lnTo>
                    <a:lnTo>
                      <a:pt x="243" y="36"/>
                    </a:lnTo>
                    <a:lnTo>
                      <a:pt x="243" y="40"/>
                    </a:lnTo>
                    <a:lnTo>
                      <a:pt x="243" y="44"/>
                    </a:lnTo>
                    <a:lnTo>
                      <a:pt x="243" y="48"/>
                    </a:lnTo>
                    <a:lnTo>
                      <a:pt x="239" y="48"/>
                    </a:lnTo>
                    <a:lnTo>
                      <a:pt x="239" y="44"/>
                    </a:lnTo>
                    <a:lnTo>
                      <a:pt x="235" y="44"/>
                    </a:lnTo>
                    <a:lnTo>
                      <a:pt x="231" y="48"/>
                    </a:lnTo>
                    <a:lnTo>
                      <a:pt x="227" y="48"/>
                    </a:lnTo>
                    <a:lnTo>
                      <a:pt x="223" y="52"/>
                    </a:lnTo>
                    <a:lnTo>
                      <a:pt x="223" y="48"/>
                    </a:lnTo>
                    <a:lnTo>
                      <a:pt x="219" y="48"/>
                    </a:lnTo>
                    <a:lnTo>
                      <a:pt x="215" y="48"/>
                    </a:lnTo>
                    <a:lnTo>
                      <a:pt x="208" y="48"/>
                    </a:lnTo>
                    <a:lnTo>
                      <a:pt x="208" y="44"/>
                    </a:lnTo>
                    <a:lnTo>
                      <a:pt x="204" y="44"/>
                    </a:lnTo>
                    <a:lnTo>
                      <a:pt x="200" y="48"/>
                    </a:lnTo>
                    <a:lnTo>
                      <a:pt x="196" y="48"/>
                    </a:lnTo>
                    <a:lnTo>
                      <a:pt x="196" y="52"/>
                    </a:lnTo>
                    <a:lnTo>
                      <a:pt x="200" y="52"/>
                    </a:lnTo>
                    <a:lnTo>
                      <a:pt x="200" y="56"/>
                    </a:lnTo>
                    <a:lnTo>
                      <a:pt x="196" y="60"/>
                    </a:lnTo>
                    <a:lnTo>
                      <a:pt x="200" y="60"/>
                    </a:lnTo>
                    <a:lnTo>
                      <a:pt x="204" y="60"/>
                    </a:lnTo>
                    <a:lnTo>
                      <a:pt x="204" y="64"/>
                    </a:lnTo>
                    <a:lnTo>
                      <a:pt x="200" y="64"/>
                    </a:lnTo>
                    <a:lnTo>
                      <a:pt x="200" y="68"/>
                    </a:lnTo>
                    <a:lnTo>
                      <a:pt x="204" y="68"/>
                    </a:lnTo>
                    <a:lnTo>
                      <a:pt x="200" y="72"/>
                    </a:lnTo>
                    <a:lnTo>
                      <a:pt x="200" y="76"/>
                    </a:lnTo>
                    <a:lnTo>
                      <a:pt x="204" y="80"/>
                    </a:lnTo>
                    <a:lnTo>
                      <a:pt x="204" y="84"/>
                    </a:lnTo>
                    <a:lnTo>
                      <a:pt x="208" y="84"/>
                    </a:lnTo>
                    <a:lnTo>
                      <a:pt x="208" y="88"/>
                    </a:lnTo>
                    <a:lnTo>
                      <a:pt x="211" y="92"/>
                    </a:lnTo>
                    <a:lnTo>
                      <a:pt x="215" y="92"/>
                    </a:lnTo>
                    <a:lnTo>
                      <a:pt x="219" y="92"/>
                    </a:lnTo>
                    <a:lnTo>
                      <a:pt x="219" y="96"/>
                    </a:lnTo>
                    <a:lnTo>
                      <a:pt x="219" y="100"/>
                    </a:lnTo>
                    <a:lnTo>
                      <a:pt x="215" y="100"/>
                    </a:lnTo>
                    <a:lnTo>
                      <a:pt x="211" y="100"/>
                    </a:lnTo>
                    <a:lnTo>
                      <a:pt x="208" y="100"/>
                    </a:lnTo>
                    <a:lnTo>
                      <a:pt x="208" y="104"/>
                    </a:lnTo>
                    <a:lnTo>
                      <a:pt x="208" y="108"/>
                    </a:lnTo>
                    <a:lnTo>
                      <a:pt x="208" y="112"/>
                    </a:lnTo>
                    <a:lnTo>
                      <a:pt x="208" y="116"/>
                    </a:lnTo>
                    <a:lnTo>
                      <a:pt x="208" y="120"/>
                    </a:lnTo>
                    <a:lnTo>
                      <a:pt x="208" y="116"/>
                    </a:lnTo>
                    <a:lnTo>
                      <a:pt x="211" y="116"/>
                    </a:lnTo>
                    <a:lnTo>
                      <a:pt x="208" y="120"/>
                    </a:lnTo>
                    <a:lnTo>
                      <a:pt x="204" y="120"/>
                    </a:lnTo>
                    <a:lnTo>
                      <a:pt x="204" y="124"/>
                    </a:lnTo>
                    <a:lnTo>
                      <a:pt x="200" y="128"/>
                    </a:lnTo>
                    <a:lnTo>
                      <a:pt x="196" y="132"/>
                    </a:lnTo>
                    <a:lnTo>
                      <a:pt x="200" y="132"/>
                    </a:lnTo>
                    <a:lnTo>
                      <a:pt x="200" y="136"/>
                    </a:lnTo>
                    <a:lnTo>
                      <a:pt x="196" y="140"/>
                    </a:lnTo>
                    <a:lnTo>
                      <a:pt x="192" y="140"/>
                    </a:lnTo>
                    <a:lnTo>
                      <a:pt x="188" y="144"/>
                    </a:lnTo>
                    <a:lnTo>
                      <a:pt x="188" y="148"/>
                    </a:lnTo>
                    <a:lnTo>
                      <a:pt x="184" y="156"/>
                    </a:lnTo>
                    <a:lnTo>
                      <a:pt x="184" y="160"/>
                    </a:lnTo>
                    <a:lnTo>
                      <a:pt x="180" y="160"/>
                    </a:lnTo>
                    <a:lnTo>
                      <a:pt x="176" y="160"/>
                    </a:lnTo>
                    <a:lnTo>
                      <a:pt x="176" y="164"/>
                    </a:lnTo>
                    <a:lnTo>
                      <a:pt x="172" y="164"/>
                    </a:lnTo>
                    <a:lnTo>
                      <a:pt x="172" y="168"/>
                    </a:lnTo>
                    <a:lnTo>
                      <a:pt x="172" y="172"/>
                    </a:lnTo>
                    <a:lnTo>
                      <a:pt x="168" y="176"/>
                    </a:lnTo>
                    <a:lnTo>
                      <a:pt x="168" y="180"/>
                    </a:lnTo>
                    <a:lnTo>
                      <a:pt x="164" y="180"/>
                    </a:lnTo>
                    <a:lnTo>
                      <a:pt x="160" y="180"/>
                    </a:lnTo>
                    <a:lnTo>
                      <a:pt x="156" y="180"/>
                    </a:lnTo>
                    <a:lnTo>
                      <a:pt x="156" y="184"/>
                    </a:lnTo>
                    <a:lnTo>
                      <a:pt x="152" y="184"/>
                    </a:lnTo>
                    <a:lnTo>
                      <a:pt x="148" y="184"/>
                    </a:lnTo>
                    <a:lnTo>
                      <a:pt x="148" y="180"/>
                    </a:lnTo>
                    <a:lnTo>
                      <a:pt x="148" y="176"/>
                    </a:lnTo>
                    <a:lnTo>
                      <a:pt x="144" y="176"/>
                    </a:lnTo>
                    <a:lnTo>
                      <a:pt x="144" y="180"/>
                    </a:lnTo>
                    <a:lnTo>
                      <a:pt x="140" y="180"/>
                    </a:lnTo>
                    <a:lnTo>
                      <a:pt x="140" y="184"/>
                    </a:lnTo>
                    <a:lnTo>
                      <a:pt x="140" y="188"/>
                    </a:lnTo>
                    <a:lnTo>
                      <a:pt x="136" y="188"/>
                    </a:lnTo>
                    <a:lnTo>
                      <a:pt x="136" y="192"/>
                    </a:lnTo>
                    <a:lnTo>
                      <a:pt x="132" y="192"/>
                    </a:lnTo>
                    <a:lnTo>
                      <a:pt x="132" y="196"/>
                    </a:lnTo>
                    <a:lnTo>
                      <a:pt x="132" y="200"/>
                    </a:lnTo>
                    <a:lnTo>
                      <a:pt x="132" y="204"/>
                    </a:lnTo>
                    <a:lnTo>
                      <a:pt x="136" y="204"/>
                    </a:lnTo>
                    <a:lnTo>
                      <a:pt x="140" y="204"/>
                    </a:lnTo>
                    <a:lnTo>
                      <a:pt x="140" y="208"/>
                    </a:lnTo>
                    <a:lnTo>
                      <a:pt x="140" y="212"/>
                    </a:lnTo>
                    <a:lnTo>
                      <a:pt x="140" y="216"/>
                    </a:lnTo>
                    <a:lnTo>
                      <a:pt x="140" y="220"/>
                    </a:lnTo>
                    <a:lnTo>
                      <a:pt x="144" y="224"/>
                    </a:lnTo>
                    <a:lnTo>
                      <a:pt x="148" y="224"/>
                    </a:lnTo>
                    <a:lnTo>
                      <a:pt x="148" y="228"/>
                    </a:lnTo>
                    <a:lnTo>
                      <a:pt x="148" y="232"/>
                    </a:lnTo>
                    <a:lnTo>
                      <a:pt x="152" y="232"/>
                    </a:lnTo>
                    <a:lnTo>
                      <a:pt x="152" y="236"/>
                    </a:lnTo>
                    <a:lnTo>
                      <a:pt x="152" y="240"/>
                    </a:lnTo>
                    <a:lnTo>
                      <a:pt x="156" y="244"/>
                    </a:lnTo>
                    <a:lnTo>
                      <a:pt x="152" y="244"/>
                    </a:lnTo>
                    <a:lnTo>
                      <a:pt x="152" y="248"/>
                    </a:lnTo>
                    <a:lnTo>
                      <a:pt x="156" y="248"/>
                    </a:lnTo>
                    <a:lnTo>
                      <a:pt x="152" y="248"/>
                    </a:lnTo>
                    <a:lnTo>
                      <a:pt x="152" y="252"/>
                    </a:lnTo>
                    <a:lnTo>
                      <a:pt x="148" y="252"/>
                    </a:lnTo>
                    <a:lnTo>
                      <a:pt x="148" y="248"/>
                    </a:lnTo>
                    <a:lnTo>
                      <a:pt x="144" y="248"/>
                    </a:lnTo>
                    <a:lnTo>
                      <a:pt x="140" y="248"/>
                    </a:lnTo>
                    <a:lnTo>
                      <a:pt x="140" y="252"/>
                    </a:lnTo>
                    <a:lnTo>
                      <a:pt x="136" y="252"/>
                    </a:lnTo>
                    <a:lnTo>
                      <a:pt x="132" y="252"/>
                    </a:lnTo>
                    <a:lnTo>
                      <a:pt x="128" y="252"/>
                    </a:lnTo>
                    <a:lnTo>
                      <a:pt x="124" y="252"/>
                    </a:lnTo>
                    <a:lnTo>
                      <a:pt x="124" y="248"/>
                    </a:lnTo>
                    <a:lnTo>
                      <a:pt x="120" y="248"/>
                    </a:lnTo>
                    <a:lnTo>
                      <a:pt x="120" y="252"/>
                    </a:lnTo>
                    <a:lnTo>
                      <a:pt x="120" y="256"/>
                    </a:lnTo>
                    <a:lnTo>
                      <a:pt x="116" y="256"/>
                    </a:lnTo>
                    <a:lnTo>
                      <a:pt x="112" y="256"/>
                    </a:lnTo>
                    <a:lnTo>
                      <a:pt x="112" y="260"/>
                    </a:lnTo>
                    <a:lnTo>
                      <a:pt x="112" y="256"/>
                    </a:lnTo>
                    <a:lnTo>
                      <a:pt x="112" y="260"/>
                    </a:lnTo>
                    <a:lnTo>
                      <a:pt x="108" y="260"/>
                    </a:lnTo>
                    <a:lnTo>
                      <a:pt x="108" y="256"/>
                    </a:lnTo>
                    <a:lnTo>
                      <a:pt x="108" y="260"/>
                    </a:lnTo>
                    <a:lnTo>
                      <a:pt x="108" y="256"/>
                    </a:lnTo>
                    <a:lnTo>
                      <a:pt x="104" y="260"/>
                    </a:lnTo>
                    <a:lnTo>
                      <a:pt x="100" y="260"/>
                    </a:lnTo>
                    <a:lnTo>
                      <a:pt x="100" y="256"/>
                    </a:lnTo>
                    <a:lnTo>
                      <a:pt x="96" y="252"/>
                    </a:lnTo>
                    <a:lnTo>
                      <a:pt x="96" y="248"/>
                    </a:lnTo>
                    <a:lnTo>
                      <a:pt x="96" y="244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88" y="240"/>
                    </a:lnTo>
                    <a:lnTo>
                      <a:pt x="88" y="236"/>
                    </a:lnTo>
                    <a:lnTo>
                      <a:pt x="88" y="232"/>
                    </a:lnTo>
                    <a:lnTo>
                      <a:pt x="88" y="228"/>
                    </a:lnTo>
                    <a:lnTo>
                      <a:pt x="84" y="224"/>
                    </a:lnTo>
                    <a:lnTo>
                      <a:pt x="80" y="224"/>
                    </a:lnTo>
                    <a:lnTo>
                      <a:pt x="80" y="228"/>
                    </a:lnTo>
                    <a:lnTo>
                      <a:pt x="84" y="224"/>
                    </a:lnTo>
                    <a:lnTo>
                      <a:pt x="84" y="228"/>
                    </a:lnTo>
                    <a:lnTo>
                      <a:pt x="80" y="228"/>
                    </a:lnTo>
                    <a:lnTo>
                      <a:pt x="76" y="228"/>
                    </a:lnTo>
                    <a:lnTo>
                      <a:pt x="72" y="228"/>
                    </a:lnTo>
                    <a:lnTo>
                      <a:pt x="68" y="228"/>
                    </a:lnTo>
                    <a:lnTo>
                      <a:pt x="64" y="228"/>
                    </a:lnTo>
                    <a:lnTo>
                      <a:pt x="64" y="232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60" y="232"/>
                    </a:lnTo>
                    <a:lnTo>
                      <a:pt x="56" y="232"/>
                    </a:lnTo>
                    <a:lnTo>
                      <a:pt x="52" y="232"/>
                    </a:lnTo>
                    <a:lnTo>
                      <a:pt x="48" y="232"/>
                    </a:lnTo>
                    <a:lnTo>
                      <a:pt x="48" y="228"/>
                    </a:lnTo>
                    <a:lnTo>
                      <a:pt x="48" y="232"/>
                    </a:lnTo>
                    <a:lnTo>
                      <a:pt x="44" y="228"/>
                    </a:lnTo>
                    <a:lnTo>
                      <a:pt x="40" y="228"/>
                    </a:lnTo>
                    <a:lnTo>
                      <a:pt x="40" y="232"/>
                    </a:lnTo>
                    <a:lnTo>
                      <a:pt x="36" y="232"/>
                    </a:lnTo>
                    <a:lnTo>
                      <a:pt x="32" y="232"/>
                    </a:lnTo>
                    <a:lnTo>
                      <a:pt x="28" y="232"/>
                    </a:lnTo>
                    <a:lnTo>
                      <a:pt x="24" y="232"/>
                    </a:lnTo>
                    <a:lnTo>
                      <a:pt x="20" y="232"/>
                    </a:lnTo>
                    <a:lnTo>
                      <a:pt x="16" y="236"/>
                    </a:lnTo>
                    <a:lnTo>
                      <a:pt x="12" y="236"/>
                    </a:lnTo>
                    <a:lnTo>
                      <a:pt x="12" y="232"/>
                    </a:lnTo>
                    <a:lnTo>
                      <a:pt x="12" y="228"/>
                    </a:lnTo>
                    <a:lnTo>
                      <a:pt x="12" y="224"/>
                    </a:lnTo>
                    <a:lnTo>
                      <a:pt x="12" y="220"/>
                    </a:lnTo>
                    <a:lnTo>
                      <a:pt x="16" y="220"/>
                    </a:lnTo>
                    <a:lnTo>
                      <a:pt x="16" y="216"/>
                    </a:lnTo>
                    <a:lnTo>
                      <a:pt x="16" y="212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20" y="212"/>
                    </a:lnTo>
                    <a:lnTo>
                      <a:pt x="20" y="208"/>
                    </a:lnTo>
                    <a:lnTo>
                      <a:pt x="24" y="208"/>
                    </a:lnTo>
                    <a:lnTo>
                      <a:pt x="28" y="208"/>
                    </a:lnTo>
                    <a:lnTo>
                      <a:pt x="28" y="204"/>
                    </a:lnTo>
                    <a:lnTo>
                      <a:pt x="32" y="204"/>
                    </a:lnTo>
                    <a:lnTo>
                      <a:pt x="36" y="204"/>
                    </a:lnTo>
                    <a:lnTo>
                      <a:pt x="36" y="200"/>
                    </a:lnTo>
                    <a:lnTo>
                      <a:pt x="36" y="196"/>
                    </a:lnTo>
                    <a:lnTo>
                      <a:pt x="36" y="192"/>
                    </a:lnTo>
                    <a:lnTo>
                      <a:pt x="32" y="192"/>
                    </a:lnTo>
                    <a:lnTo>
                      <a:pt x="28" y="192"/>
                    </a:lnTo>
                    <a:lnTo>
                      <a:pt x="28" y="188"/>
                    </a:lnTo>
                    <a:lnTo>
                      <a:pt x="28" y="184"/>
                    </a:lnTo>
                    <a:lnTo>
                      <a:pt x="28" y="180"/>
                    </a:lnTo>
                    <a:lnTo>
                      <a:pt x="28" y="176"/>
                    </a:lnTo>
                    <a:lnTo>
                      <a:pt x="28" y="172"/>
                    </a:lnTo>
                    <a:lnTo>
                      <a:pt x="24" y="172"/>
                    </a:lnTo>
                    <a:lnTo>
                      <a:pt x="20" y="168"/>
                    </a:lnTo>
                    <a:lnTo>
                      <a:pt x="16" y="168"/>
                    </a:lnTo>
                    <a:lnTo>
                      <a:pt x="12" y="164"/>
                    </a:lnTo>
                    <a:lnTo>
                      <a:pt x="12" y="160"/>
                    </a:lnTo>
                    <a:lnTo>
                      <a:pt x="8" y="156"/>
                    </a:lnTo>
                    <a:lnTo>
                      <a:pt x="8" y="152"/>
                    </a:lnTo>
                    <a:lnTo>
                      <a:pt x="4" y="144"/>
                    </a:lnTo>
                    <a:lnTo>
                      <a:pt x="0" y="144"/>
                    </a:lnTo>
                    <a:lnTo>
                      <a:pt x="4" y="144"/>
                    </a:lnTo>
                    <a:lnTo>
                      <a:pt x="12" y="148"/>
                    </a:lnTo>
                    <a:lnTo>
                      <a:pt x="16" y="148"/>
                    </a:lnTo>
                    <a:lnTo>
                      <a:pt x="20" y="148"/>
                    </a:lnTo>
                    <a:lnTo>
                      <a:pt x="24" y="152"/>
                    </a:lnTo>
                    <a:lnTo>
                      <a:pt x="36" y="148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4" name="Freeform 38">
                <a:extLst>
                  <a:ext uri="{FF2B5EF4-FFF2-40B4-BE49-F238E27FC236}">
                    <a16:creationId xmlns:a16="http://schemas.microsoft.com/office/drawing/2014/main" id="{EF8388C5-A827-4A03-9B77-A451CA71F905}"/>
                  </a:ext>
                </a:extLst>
              </p:cNvPr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763689" y="5354269"/>
                <a:ext cx="13866" cy="35297"/>
              </a:xfrm>
              <a:custGeom>
                <a:avLst/>
                <a:gdLst/>
                <a:ahLst/>
                <a:cxnLst>
                  <a:cxn ang="0">
                    <a:pos x="8" y="2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0"/>
                  </a:cxn>
                  <a:cxn ang="0">
                    <a:pos x="0" y="16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11" y="4"/>
                  </a:cxn>
                  <a:cxn ang="0">
                    <a:pos x="11" y="8"/>
                  </a:cxn>
                  <a:cxn ang="0">
                    <a:pos x="11" y="8"/>
                  </a:cxn>
                  <a:cxn ang="0">
                    <a:pos x="8" y="8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11" y="12"/>
                  </a:cxn>
                  <a:cxn ang="0">
                    <a:pos x="8" y="16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1" y="16"/>
                  </a:cxn>
                  <a:cxn ang="0">
                    <a:pos x="11" y="24"/>
                  </a:cxn>
                  <a:cxn ang="0">
                    <a:pos x="8" y="24"/>
                  </a:cxn>
                  <a:cxn ang="0">
                    <a:pos x="8" y="24"/>
                  </a:cxn>
                </a:cxnLst>
                <a:rect l="0" t="0" r="r" b="b"/>
                <a:pathLst>
                  <a:path w="11" h="28">
                    <a:moveTo>
                      <a:pt x="8" y="24"/>
                    </a:move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4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11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1" y="12"/>
                    </a:lnTo>
                    <a:lnTo>
                      <a:pt x="11" y="12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1" y="16"/>
                    </a:lnTo>
                    <a:lnTo>
                      <a:pt x="11" y="20"/>
                    </a:lnTo>
                    <a:lnTo>
                      <a:pt x="11" y="24"/>
                    </a:lnTo>
                    <a:lnTo>
                      <a:pt x="11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5" name="Freeform 39">
                <a:extLst>
                  <a:ext uri="{FF2B5EF4-FFF2-40B4-BE49-F238E27FC236}">
                    <a16:creationId xmlns:a16="http://schemas.microsoft.com/office/drawing/2014/main" id="{9043BBDC-407F-4D4D-B1AA-3E694526A0AB}"/>
                  </a:ext>
                </a:extLst>
              </p:cNvPr>
              <p:cNvSpPr>
                <a:spLocks noEditPoints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451059" y="5202996"/>
                <a:ext cx="402132" cy="381963"/>
              </a:xfrm>
              <a:custGeom>
                <a:avLst/>
                <a:gdLst/>
                <a:ahLst/>
                <a:cxnLst>
                  <a:cxn ang="0">
                    <a:pos x="248" y="259"/>
                  </a:cxn>
                  <a:cxn ang="0">
                    <a:pos x="200" y="283"/>
                  </a:cxn>
                  <a:cxn ang="0">
                    <a:pos x="184" y="287"/>
                  </a:cxn>
                  <a:cxn ang="0">
                    <a:pos x="152" y="283"/>
                  </a:cxn>
                  <a:cxn ang="0">
                    <a:pos x="140" y="283"/>
                  </a:cxn>
                  <a:cxn ang="0">
                    <a:pos x="132" y="291"/>
                  </a:cxn>
                  <a:cxn ang="0">
                    <a:pos x="128" y="303"/>
                  </a:cxn>
                  <a:cxn ang="0">
                    <a:pos x="120" y="295"/>
                  </a:cxn>
                  <a:cxn ang="0">
                    <a:pos x="120" y="287"/>
                  </a:cxn>
                  <a:cxn ang="0">
                    <a:pos x="112" y="275"/>
                  </a:cxn>
                  <a:cxn ang="0">
                    <a:pos x="104" y="267"/>
                  </a:cxn>
                  <a:cxn ang="0">
                    <a:pos x="104" y="255"/>
                  </a:cxn>
                  <a:cxn ang="0">
                    <a:pos x="96" y="243"/>
                  </a:cxn>
                  <a:cxn ang="0">
                    <a:pos x="88" y="235"/>
                  </a:cxn>
                  <a:cxn ang="0">
                    <a:pos x="80" y="227"/>
                  </a:cxn>
                  <a:cxn ang="0">
                    <a:pos x="72" y="220"/>
                  </a:cxn>
                  <a:cxn ang="0">
                    <a:pos x="68" y="204"/>
                  </a:cxn>
                  <a:cxn ang="0">
                    <a:pos x="68" y="188"/>
                  </a:cxn>
                  <a:cxn ang="0">
                    <a:pos x="68" y="180"/>
                  </a:cxn>
                  <a:cxn ang="0">
                    <a:pos x="60" y="164"/>
                  </a:cxn>
                  <a:cxn ang="0">
                    <a:pos x="48" y="152"/>
                  </a:cxn>
                  <a:cxn ang="0">
                    <a:pos x="44" y="148"/>
                  </a:cxn>
                  <a:cxn ang="0">
                    <a:pos x="40" y="136"/>
                  </a:cxn>
                  <a:cxn ang="0">
                    <a:pos x="36" y="128"/>
                  </a:cxn>
                  <a:cxn ang="0">
                    <a:pos x="28" y="120"/>
                  </a:cxn>
                  <a:cxn ang="0">
                    <a:pos x="24" y="104"/>
                  </a:cxn>
                  <a:cxn ang="0">
                    <a:pos x="16" y="96"/>
                  </a:cxn>
                  <a:cxn ang="0">
                    <a:pos x="12" y="84"/>
                  </a:cxn>
                  <a:cxn ang="0">
                    <a:pos x="4" y="76"/>
                  </a:cxn>
                  <a:cxn ang="0">
                    <a:pos x="4" y="60"/>
                  </a:cxn>
                  <a:cxn ang="0">
                    <a:pos x="24" y="60"/>
                  </a:cxn>
                  <a:cxn ang="0">
                    <a:pos x="40" y="44"/>
                  </a:cxn>
                  <a:cxn ang="0">
                    <a:pos x="48" y="24"/>
                  </a:cxn>
                  <a:cxn ang="0">
                    <a:pos x="40" y="12"/>
                  </a:cxn>
                  <a:cxn ang="0">
                    <a:pos x="60" y="8"/>
                  </a:cxn>
                  <a:cxn ang="0">
                    <a:pos x="84" y="4"/>
                  </a:cxn>
                  <a:cxn ang="0">
                    <a:pos x="128" y="32"/>
                  </a:cxn>
                  <a:cxn ang="0">
                    <a:pos x="176" y="60"/>
                  </a:cxn>
                  <a:cxn ang="0">
                    <a:pos x="196" y="64"/>
                  </a:cxn>
                  <a:cxn ang="0">
                    <a:pos x="212" y="72"/>
                  </a:cxn>
                  <a:cxn ang="0">
                    <a:pos x="216" y="84"/>
                  </a:cxn>
                  <a:cxn ang="0">
                    <a:pos x="220" y="92"/>
                  </a:cxn>
                  <a:cxn ang="0">
                    <a:pos x="220" y="92"/>
                  </a:cxn>
                  <a:cxn ang="0">
                    <a:pos x="228" y="104"/>
                  </a:cxn>
                  <a:cxn ang="0">
                    <a:pos x="236" y="112"/>
                  </a:cxn>
                  <a:cxn ang="0">
                    <a:pos x="236" y="120"/>
                  </a:cxn>
                  <a:cxn ang="0">
                    <a:pos x="240" y="132"/>
                  </a:cxn>
                  <a:cxn ang="0">
                    <a:pos x="248" y="144"/>
                  </a:cxn>
                  <a:cxn ang="0">
                    <a:pos x="256" y="152"/>
                  </a:cxn>
                  <a:cxn ang="0">
                    <a:pos x="259" y="156"/>
                  </a:cxn>
                  <a:cxn ang="0">
                    <a:pos x="315" y="212"/>
                  </a:cxn>
                  <a:cxn ang="0">
                    <a:pos x="112" y="291"/>
                  </a:cxn>
                  <a:cxn ang="0">
                    <a:pos x="108" y="295"/>
                  </a:cxn>
                  <a:cxn ang="0">
                    <a:pos x="116" y="295"/>
                  </a:cxn>
                </a:cxnLst>
                <a:rect l="0" t="0" r="r" b="b"/>
                <a:pathLst>
                  <a:path w="319" h="303">
                    <a:moveTo>
                      <a:pt x="311" y="235"/>
                    </a:moveTo>
                    <a:lnTo>
                      <a:pt x="263" y="255"/>
                    </a:lnTo>
                    <a:lnTo>
                      <a:pt x="252" y="255"/>
                    </a:lnTo>
                    <a:lnTo>
                      <a:pt x="248" y="259"/>
                    </a:lnTo>
                    <a:lnTo>
                      <a:pt x="220" y="259"/>
                    </a:lnTo>
                    <a:lnTo>
                      <a:pt x="208" y="271"/>
                    </a:lnTo>
                    <a:lnTo>
                      <a:pt x="204" y="279"/>
                    </a:lnTo>
                    <a:lnTo>
                      <a:pt x="200" y="283"/>
                    </a:lnTo>
                    <a:lnTo>
                      <a:pt x="196" y="291"/>
                    </a:lnTo>
                    <a:lnTo>
                      <a:pt x="192" y="291"/>
                    </a:lnTo>
                    <a:lnTo>
                      <a:pt x="188" y="291"/>
                    </a:lnTo>
                    <a:lnTo>
                      <a:pt x="184" y="287"/>
                    </a:lnTo>
                    <a:lnTo>
                      <a:pt x="180" y="287"/>
                    </a:lnTo>
                    <a:lnTo>
                      <a:pt x="176" y="287"/>
                    </a:lnTo>
                    <a:lnTo>
                      <a:pt x="164" y="283"/>
                    </a:lnTo>
                    <a:lnTo>
                      <a:pt x="152" y="283"/>
                    </a:lnTo>
                    <a:lnTo>
                      <a:pt x="148" y="283"/>
                    </a:lnTo>
                    <a:lnTo>
                      <a:pt x="144" y="283"/>
                    </a:lnTo>
                    <a:lnTo>
                      <a:pt x="144" y="287"/>
                    </a:lnTo>
                    <a:lnTo>
                      <a:pt x="140" y="283"/>
                    </a:lnTo>
                    <a:lnTo>
                      <a:pt x="136" y="283"/>
                    </a:lnTo>
                    <a:lnTo>
                      <a:pt x="132" y="283"/>
                    </a:lnTo>
                    <a:lnTo>
                      <a:pt x="132" y="287"/>
                    </a:lnTo>
                    <a:lnTo>
                      <a:pt x="132" y="291"/>
                    </a:lnTo>
                    <a:lnTo>
                      <a:pt x="132" y="295"/>
                    </a:lnTo>
                    <a:lnTo>
                      <a:pt x="132" y="299"/>
                    </a:lnTo>
                    <a:lnTo>
                      <a:pt x="128" y="299"/>
                    </a:lnTo>
                    <a:lnTo>
                      <a:pt x="128" y="303"/>
                    </a:lnTo>
                    <a:lnTo>
                      <a:pt x="124" y="303"/>
                    </a:lnTo>
                    <a:lnTo>
                      <a:pt x="124" y="299"/>
                    </a:lnTo>
                    <a:lnTo>
                      <a:pt x="124" y="295"/>
                    </a:lnTo>
                    <a:lnTo>
                      <a:pt x="120" y="295"/>
                    </a:lnTo>
                    <a:lnTo>
                      <a:pt x="120" y="291"/>
                    </a:lnTo>
                    <a:lnTo>
                      <a:pt x="120" y="287"/>
                    </a:lnTo>
                    <a:lnTo>
                      <a:pt x="120" y="291"/>
                    </a:lnTo>
                    <a:lnTo>
                      <a:pt x="120" y="287"/>
                    </a:lnTo>
                    <a:lnTo>
                      <a:pt x="120" y="283"/>
                    </a:lnTo>
                    <a:lnTo>
                      <a:pt x="116" y="283"/>
                    </a:lnTo>
                    <a:lnTo>
                      <a:pt x="116" y="279"/>
                    </a:lnTo>
                    <a:lnTo>
                      <a:pt x="112" y="275"/>
                    </a:lnTo>
                    <a:lnTo>
                      <a:pt x="108" y="275"/>
                    </a:lnTo>
                    <a:lnTo>
                      <a:pt x="108" y="271"/>
                    </a:lnTo>
                    <a:lnTo>
                      <a:pt x="108" y="267"/>
                    </a:lnTo>
                    <a:lnTo>
                      <a:pt x="104" y="267"/>
                    </a:lnTo>
                    <a:lnTo>
                      <a:pt x="104" y="263"/>
                    </a:lnTo>
                    <a:lnTo>
                      <a:pt x="104" y="259"/>
                    </a:lnTo>
                    <a:lnTo>
                      <a:pt x="100" y="259"/>
                    </a:lnTo>
                    <a:lnTo>
                      <a:pt x="104" y="255"/>
                    </a:lnTo>
                    <a:lnTo>
                      <a:pt x="100" y="255"/>
                    </a:lnTo>
                    <a:lnTo>
                      <a:pt x="100" y="251"/>
                    </a:lnTo>
                    <a:lnTo>
                      <a:pt x="96" y="247"/>
                    </a:lnTo>
                    <a:lnTo>
                      <a:pt x="96" y="243"/>
                    </a:lnTo>
                    <a:lnTo>
                      <a:pt x="96" y="239"/>
                    </a:lnTo>
                    <a:lnTo>
                      <a:pt x="92" y="239"/>
                    </a:lnTo>
                    <a:lnTo>
                      <a:pt x="92" y="235"/>
                    </a:lnTo>
                    <a:lnTo>
                      <a:pt x="88" y="235"/>
                    </a:lnTo>
                    <a:lnTo>
                      <a:pt x="88" y="231"/>
                    </a:lnTo>
                    <a:lnTo>
                      <a:pt x="84" y="231"/>
                    </a:lnTo>
                    <a:lnTo>
                      <a:pt x="80" y="231"/>
                    </a:lnTo>
                    <a:lnTo>
                      <a:pt x="80" y="227"/>
                    </a:lnTo>
                    <a:lnTo>
                      <a:pt x="76" y="227"/>
                    </a:lnTo>
                    <a:lnTo>
                      <a:pt x="76" y="224"/>
                    </a:lnTo>
                    <a:lnTo>
                      <a:pt x="76" y="220"/>
                    </a:lnTo>
                    <a:lnTo>
                      <a:pt x="72" y="220"/>
                    </a:lnTo>
                    <a:lnTo>
                      <a:pt x="72" y="216"/>
                    </a:lnTo>
                    <a:lnTo>
                      <a:pt x="68" y="212"/>
                    </a:lnTo>
                    <a:lnTo>
                      <a:pt x="72" y="208"/>
                    </a:lnTo>
                    <a:lnTo>
                      <a:pt x="68" y="204"/>
                    </a:lnTo>
                    <a:lnTo>
                      <a:pt x="68" y="200"/>
                    </a:lnTo>
                    <a:lnTo>
                      <a:pt x="68" y="196"/>
                    </a:lnTo>
                    <a:lnTo>
                      <a:pt x="68" y="192"/>
                    </a:lnTo>
                    <a:lnTo>
                      <a:pt x="68" y="188"/>
                    </a:lnTo>
                    <a:lnTo>
                      <a:pt x="68" y="184"/>
                    </a:lnTo>
                    <a:lnTo>
                      <a:pt x="68" y="180"/>
                    </a:lnTo>
                    <a:lnTo>
                      <a:pt x="64" y="180"/>
                    </a:lnTo>
                    <a:lnTo>
                      <a:pt x="68" y="180"/>
                    </a:lnTo>
                    <a:lnTo>
                      <a:pt x="64" y="176"/>
                    </a:lnTo>
                    <a:lnTo>
                      <a:pt x="64" y="172"/>
                    </a:lnTo>
                    <a:lnTo>
                      <a:pt x="60" y="168"/>
                    </a:lnTo>
                    <a:lnTo>
                      <a:pt x="60" y="164"/>
                    </a:lnTo>
                    <a:lnTo>
                      <a:pt x="56" y="160"/>
                    </a:lnTo>
                    <a:lnTo>
                      <a:pt x="52" y="156"/>
                    </a:lnTo>
                    <a:lnTo>
                      <a:pt x="48" y="156"/>
                    </a:lnTo>
                    <a:lnTo>
                      <a:pt x="48" y="152"/>
                    </a:lnTo>
                    <a:lnTo>
                      <a:pt x="48" y="156"/>
                    </a:lnTo>
                    <a:lnTo>
                      <a:pt x="44" y="156"/>
                    </a:lnTo>
                    <a:lnTo>
                      <a:pt x="44" y="152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36" y="128"/>
                    </a:lnTo>
                    <a:lnTo>
                      <a:pt x="36" y="124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32" y="120"/>
                    </a:lnTo>
                    <a:lnTo>
                      <a:pt x="28" y="120"/>
                    </a:lnTo>
                    <a:lnTo>
                      <a:pt x="28" y="116"/>
                    </a:lnTo>
                    <a:lnTo>
                      <a:pt x="28" y="112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20" y="100"/>
                    </a:lnTo>
                    <a:lnTo>
                      <a:pt x="20" y="96"/>
                    </a:lnTo>
                    <a:lnTo>
                      <a:pt x="16" y="96"/>
                    </a:lnTo>
                    <a:lnTo>
                      <a:pt x="16" y="92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8" y="80"/>
                    </a:lnTo>
                    <a:lnTo>
                      <a:pt x="4" y="80"/>
                    </a:lnTo>
                    <a:lnTo>
                      <a:pt x="0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24" y="60"/>
                    </a:lnTo>
                    <a:lnTo>
                      <a:pt x="28" y="56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40" y="44"/>
                    </a:lnTo>
                    <a:lnTo>
                      <a:pt x="44" y="44"/>
                    </a:lnTo>
                    <a:lnTo>
                      <a:pt x="48" y="36"/>
                    </a:lnTo>
                    <a:lnTo>
                      <a:pt x="52" y="32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8"/>
                    </a:lnTo>
                    <a:lnTo>
                      <a:pt x="60" y="8"/>
                    </a:lnTo>
                    <a:lnTo>
                      <a:pt x="68" y="4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104" y="16"/>
                    </a:lnTo>
                    <a:lnTo>
                      <a:pt x="116" y="20"/>
                    </a:lnTo>
                    <a:lnTo>
                      <a:pt x="128" y="32"/>
                    </a:lnTo>
                    <a:lnTo>
                      <a:pt x="128" y="36"/>
                    </a:lnTo>
                    <a:lnTo>
                      <a:pt x="140" y="44"/>
                    </a:lnTo>
                    <a:lnTo>
                      <a:pt x="156" y="60"/>
                    </a:lnTo>
                    <a:lnTo>
                      <a:pt x="176" y="60"/>
                    </a:lnTo>
                    <a:lnTo>
                      <a:pt x="180" y="60"/>
                    </a:lnTo>
                    <a:lnTo>
                      <a:pt x="184" y="60"/>
                    </a:lnTo>
                    <a:lnTo>
                      <a:pt x="188" y="60"/>
                    </a:lnTo>
                    <a:lnTo>
                      <a:pt x="196" y="64"/>
                    </a:lnTo>
                    <a:lnTo>
                      <a:pt x="200" y="68"/>
                    </a:lnTo>
                    <a:lnTo>
                      <a:pt x="200" y="72"/>
                    </a:lnTo>
                    <a:lnTo>
                      <a:pt x="208" y="72"/>
                    </a:lnTo>
                    <a:lnTo>
                      <a:pt x="212" y="72"/>
                    </a:lnTo>
                    <a:lnTo>
                      <a:pt x="212" y="76"/>
                    </a:lnTo>
                    <a:lnTo>
                      <a:pt x="212" y="80"/>
                    </a:lnTo>
                    <a:lnTo>
                      <a:pt x="216" y="80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16" y="84"/>
                    </a:lnTo>
                    <a:lnTo>
                      <a:pt x="216" y="88"/>
                    </a:lnTo>
                    <a:lnTo>
                      <a:pt x="220" y="92"/>
                    </a:lnTo>
                    <a:lnTo>
                      <a:pt x="220" y="88"/>
                    </a:lnTo>
                    <a:lnTo>
                      <a:pt x="220" y="92"/>
                    </a:lnTo>
                    <a:lnTo>
                      <a:pt x="224" y="92"/>
                    </a:lnTo>
                    <a:lnTo>
                      <a:pt x="220" y="92"/>
                    </a:lnTo>
                    <a:lnTo>
                      <a:pt x="224" y="96"/>
                    </a:lnTo>
                    <a:lnTo>
                      <a:pt x="224" y="100"/>
                    </a:lnTo>
                    <a:lnTo>
                      <a:pt x="228" y="100"/>
                    </a:lnTo>
                    <a:lnTo>
                      <a:pt x="228" y="104"/>
                    </a:lnTo>
                    <a:lnTo>
                      <a:pt x="232" y="104"/>
                    </a:lnTo>
                    <a:lnTo>
                      <a:pt x="236" y="104"/>
                    </a:lnTo>
                    <a:lnTo>
                      <a:pt x="236" y="108"/>
                    </a:lnTo>
                    <a:lnTo>
                      <a:pt x="236" y="112"/>
                    </a:lnTo>
                    <a:lnTo>
                      <a:pt x="240" y="116"/>
                    </a:lnTo>
                    <a:lnTo>
                      <a:pt x="236" y="120"/>
                    </a:lnTo>
                    <a:lnTo>
                      <a:pt x="236" y="116"/>
                    </a:lnTo>
                    <a:lnTo>
                      <a:pt x="236" y="120"/>
                    </a:lnTo>
                    <a:lnTo>
                      <a:pt x="236" y="124"/>
                    </a:lnTo>
                    <a:lnTo>
                      <a:pt x="240" y="128"/>
                    </a:lnTo>
                    <a:lnTo>
                      <a:pt x="236" y="128"/>
                    </a:lnTo>
                    <a:lnTo>
                      <a:pt x="240" y="132"/>
                    </a:lnTo>
                    <a:lnTo>
                      <a:pt x="244" y="132"/>
                    </a:lnTo>
                    <a:lnTo>
                      <a:pt x="244" y="136"/>
                    </a:lnTo>
                    <a:lnTo>
                      <a:pt x="244" y="140"/>
                    </a:lnTo>
                    <a:lnTo>
                      <a:pt x="248" y="144"/>
                    </a:lnTo>
                    <a:lnTo>
                      <a:pt x="248" y="148"/>
                    </a:lnTo>
                    <a:lnTo>
                      <a:pt x="252" y="148"/>
                    </a:lnTo>
                    <a:lnTo>
                      <a:pt x="256" y="148"/>
                    </a:lnTo>
                    <a:lnTo>
                      <a:pt x="256" y="152"/>
                    </a:lnTo>
                    <a:lnTo>
                      <a:pt x="256" y="156"/>
                    </a:lnTo>
                    <a:lnTo>
                      <a:pt x="256" y="152"/>
                    </a:lnTo>
                    <a:lnTo>
                      <a:pt x="256" y="156"/>
                    </a:lnTo>
                    <a:lnTo>
                      <a:pt x="259" y="156"/>
                    </a:lnTo>
                    <a:lnTo>
                      <a:pt x="275" y="180"/>
                    </a:lnTo>
                    <a:lnTo>
                      <a:pt x="311" y="184"/>
                    </a:lnTo>
                    <a:lnTo>
                      <a:pt x="319" y="196"/>
                    </a:lnTo>
                    <a:lnTo>
                      <a:pt x="315" y="212"/>
                    </a:lnTo>
                    <a:lnTo>
                      <a:pt x="311" y="235"/>
                    </a:lnTo>
                    <a:close/>
                    <a:moveTo>
                      <a:pt x="112" y="291"/>
                    </a:moveTo>
                    <a:lnTo>
                      <a:pt x="112" y="295"/>
                    </a:lnTo>
                    <a:lnTo>
                      <a:pt x="112" y="291"/>
                    </a:lnTo>
                    <a:close/>
                    <a:moveTo>
                      <a:pt x="116" y="299"/>
                    </a:moveTo>
                    <a:lnTo>
                      <a:pt x="112" y="299"/>
                    </a:lnTo>
                    <a:lnTo>
                      <a:pt x="112" y="295"/>
                    </a:lnTo>
                    <a:lnTo>
                      <a:pt x="108" y="295"/>
                    </a:lnTo>
                    <a:lnTo>
                      <a:pt x="112" y="295"/>
                    </a:lnTo>
                    <a:lnTo>
                      <a:pt x="116" y="295"/>
                    </a:lnTo>
                    <a:lnTo>
                      <a:pt x="112" y="295"/>
                    </a:lnTo>
                    <a:lnTo>
                      <a:pt x="116" y="295"/>
                    </a:lnTo>
                    <a:lnTo>
                      <a:pt x="116" y="299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6" name="Freeform 43">
                <a:extLst>
                  <a:ext uri="{FF2B5EF4-FFF2-40B4-BE49-F238E27FC236}">
                    <a16:creationId xmlns:a16="http://schemas.microsoft.com/office/drawing/2014/main" id="{4803602F-2623-4556-924A-4401392AFDC3}"/>
                  </a:ext>
                </a:extLst>
              </p:cNvPr>
              <p:cNvSpPr>
                <a:spLocks noEditPoints="1"/>
              </p:cNvSpPr>
              <p:nvPr>
                <p:custDataLst>
                  <p:tags r:id="rId26"/>
                </p:custDataLst>
              </p:nvPr>
            </p:nvSpPr>
            <p:spPr bwMode="gray">
              <a:xfrm>
                <a:off x="5310791" y="5736232"/>
                <a:ext cx="45382" cy="90763"/>
              </a:xfrm>
              <a:custGeom>
                <a:avLst/>
                <a:gdLst/>
                <a:ahLst/>
                <a:cxnLst>
                  <a:cxn ang="0">
                    <a:pos x="4" y="16"/>
                  </a:cxn>
                  <a:cxn ang="0">
                    <a:pos x="0" y="16"/>
                  </a:cxn>
                  <a:cxn ang="0">
                    <a:pos x="32" y="60"/>
                  </a:cxn>
                  <a:cxn ang="0">
                    <a:pos x="32" y="64"/>
                  </a:cxn>
                  <a:cxn ang="0">
                    <a:pos x="28" y="68"/>
                  </a:cxn>
                  <a:cxn ang="0">
                    <a:pos x="20" y="72"/>
                  </a:cxn>
                  <a:cxn ang="0">
                    <a:pos x="16" y="72"/>
                  </a:cxn>
                  <a:cxn ang="0">
                    <a:pos x="8" y="72"/>
                  </a:cxn>
                  <a:cxn ang="0">
                    <a:pos x="8" y="64"/>
                  </a:cxn>
                  <a:cxn ang="0">
                    <a:pos x="4" y="60"/>
                  </a:cxn>
                  <a:cxn ang="0">
                    <a:pos x="4" y="56"/>
                  </a:cxn>
                  <a:cxn ang="0">
                    <a:pos x="4" y="48"/>
                  </a:cxn>
                  <a:cxn ang="0">
                    <a:pos x="4" y="40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4" y="32"/>
                  </a:cxn>
                  <a:cxn ang="0">
                    <a:pos x="4" y="36"/>
                  </a:cxn>
                  <a:cxn ang="0">
                    <a:pos x="4" y="36"/>
                  </a:cxn>
                  <a:cxn ang="0">
                    <a:pos x="4" y="32"/>
                  </a:cxn>
                  <a:cxn ang="0">
                    <a:pos x="4" y="20"/>
                  </a:cxn>
                  <a:cxn ang="0">
                    <a:pos x="8" y="16"/>
                  </a:cxn>
                  <a:cxn ang="0">
                    <a:pos x="8" y="12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12" y="8"/>
                  </a:cxn>
                  <a:cxn ang="0">
                    <a:pos x="16" y="8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8" y="4"/>
                  </a:cxn>
                  <a:cxn ang="0">
                    <a:pos x="12" y="4"/>
                  </a:cxn>
                  <a:cxn ang="0">
                    <a:pos x="12" y="8"/>
                  </a:cxn>
                  <a:cxn ang="0">
                    <a:pos x="8" y="4"/>
                  </a:cxn>
                  <a:cxn ang="0">
                    <a:pos x="12" y="0"/>
                  </a:cxn>
                  <a:cxn ang="0">
                    <a:pos x="12" y="4"/>
                  </a:cxn>
                  <a:cxn ang="0">
                    <a:pos x="16" y="8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20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8"/>
                  </a:cxn>
                  <a:cxn ang="0">
                    <a:pos x="24" y="28"/>
                  </a:cxn>
                  <a:cxn ang="0">
                    <a:pos x="28" y="28"/>
                  </a:cxn>
                  <a:cxn ang="0">
                    <a:pos x="28" y="32"/>
                  </a:cxn>
                  <a:cxn ang="0">
                    <a:pos x="32" y="40"/>
                  </a:cxn>
                  <a:cxn ang="0">
                    <a:pos x="32" y="40"/>
                  </a:cxn>
                  <a:cxn ang="0">
                    <a:pos x="32" y="44"/>
                  </a:cxn>
                  <a:cxn ang="0">
                    <a:pos x="36" y="44"/>
                  </a:cxn>
                  <a:cxn ang="0">
                    <a:pos x="36" y="48"/>
                  </a:cxn>
                  <a:cxn ang="0">
                    <a:pos x="36" y="56"/>
                  </a:cxn>
                </a:cxnLst>
                <a:rect l="0" t="0" r="r" b="b"/>
                <a:pathLst>
                  <a:path w="36" h="72">
                    <a:moveTo>
                      <a:pt x="4" y="16"/>
                    </a:move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close/>
                    <a:moveTo>
                      <a:pt x="32" y="60"/>
                    </a:move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4" y="68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6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6" y="44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7" name="Freeform 44">
                <a:extLst>
                  <a:ext uri="{FF2B5EF4-FFF2-40B4-BE49-F238E27FC236}">
                    <a16:creationId xmlns:a16="http://schemas.microsoft.com/office/drawing/2014/main" id="{859A542D-9E56-4E9B-B312-3CDDB4DE70F6}"/>
                  </a:ext>
                </a:extLst>
              </p:cNvPr>
              <p:cNvSpPr>
                <a:spLocks/>
              </p:cNvSpPr>
              <p:nvPr>
                <p:custDataLst>
                  <p:tags r:id="rId27"/>
                </p:custDataLst>
              </p:nvPr>
            </p:nvSpPr>
            <p:spPr bwMode="gray">
              <a:xfrm>
                <a:off x="4471228" y="5071893"/>
                <a:ext cx="131103" cy="126060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4" y="80"/>
                  </a:cxn>
                  <a:cxn ang="0">
                    <a:pos x="4" y="80"/>
                  </a:cxn>
                  <a:cxn ang="0">
                    <a:pos x="4" y="76"/>
                  </a:cxn>
                  <a:cxn ang="0">
                    <a:pos x="12" y="72"/>
                  </a:cxn>
                  <a:cxn ang="0">
                    <a:pos x="12" y="72"/>
                  </a:cxn>
                  <a:cxn ang="0">
                    <a:pos x="16" y="64"/>
                  </a:cxn>
                  <a:cxn ang="0">
                    <a:pos x="12" y="60"/>
                  </a:cxn>
                  <a:cxn ang="0">
                    <a:pos x="12" y="56"/>
                  </a:cxn>
                  <a:cxn ang="0">
                    <a:pos x="8" y="56"/>
                  </a:cxn>
                  <a:cxn ang="0">
                    <a:pos x="4" y="56"/>
                  </a:cxn>
                  <a:cxn ang="0">
                    <a:pos x="4" y="48"/>
                  </a:cxn>
                  <a:cxn ang="0">
                    <a:pos x="4" y="44"/>
                  </a:cxn>
                  <a:cxn ang="0">
                    <a:pos x="4" y="36"/>
                  </a:cxn>
                  <a:cxn ang="0">
                    <a:pos x="4" y="28"/>
                  </a:cxn>
                  <a:cxn ang="0">
                    <a:pos x="8" y="32"/>
                  </a:cxn>
                  <a:cxn ang="0">
                    <a:pos x="8" y="28"/>
                  </a:cxn>
                  <a:cxn ang="0">
                    <a:pos x="12" y="24"/>
                  </a:cxn>
                  <a:cxn ang="0">
                    <a:pos x="16" y="24"/>
                  </a:cxn>
                  <a:cxn ang="0">
                    <a:pos x="16" y="20"/>
                  </a:cxn>
                  <a:cxn ang="0">
                    <a:pos x="16" y="12"/>
                  </a:cxn>
                  <a:cxn ang="0">
                    <a:pos x="24" y="16"/>
                  </a:cxn>
                  <a:cxn ang="0">
                    <a:pos x="32" y="12"/>
                  </a:cxn>
                  <a:cxn ang="0">
                    <a:pos x="36" y="12"/>
                  </a:cxn>
                  <a:cxn ang="0">
                    <a:pos x="36" y="12"/>
                  </a:cxn>
                  <a:cxn ang="0">
                    <a:pos x="44" y="8"/>
                  </a:cxn>
                  <a:cxn ang="0">
                    <a:pos x="48" y="12"/>
                  </a:cxn>
                  <a:cxn ang="0">
                    <a:pos x="52" y="12"/>
                  </a:cxn>
                  <a:cxn ang="0">
                    <a:pos x="56" y="16"/>
                  </a:cxn>
                  <a:cxn ang="0">
                    <a:pos x="64" y="12"/>
                  </a:cxn>
                  <a:cxn ang="0">
                    <a:pos x="72" y="8"/>
                  </a:cxn>
                  <a:cxn ang="0">
                    <a:pos x="76" y="8"/>
                  </a:cxn>
                  <a:cxn ang="0">
                    <a:pos x="80" y="4"/>
                  </a:cxn>
                  <a:cxn ang="0">
                    <a:pos x="88" y="4"/>
                  </a:cxn>
                  <a:cxn ang="0">
                    <a:pos x="96" y="4"/>
                  </a:cxn>
                  <a:cxn ang="0">
                    <a:pos x="100" y="0"/>
                  </a:cxn>
                  <a:cxn ang="0">
                    <a:pos x="104" y="4"/>
                  </a:cxn>
                  <a:cxn ang="0">
                    <a:pos x="88" y="20"/>
                  </a:cxn>
                  <a:cxn ang="0">
                    <a:pos x="88" y="32"/>
                  </a:cxn>
                  <a:cxn ang="0">
                    <a:pos x="88" y="40"/>
                  </a:cxn>
                  <a:cxn ang="0">
                    <a:pos x="84" y="44"/>
                  </a:cxn>
                  <a:cxn ang="0">
                    <a:pos x="84" y="48"/>
                  </a:cxn>
                  <a:cxn ang="0">
                    <a:pos x="84" y="60"/>
                  </a:cxn>
                  <a:cxn ang="0">
                    <a:pos x="64" y="72"/>
                  </a:cxn>
                  <a:cxn ang="0">
                    <a:pos x="48" y="80"/>
                  </a:cxn>
                  <a:cxn ang="0">
                    <a:pos x="32" y="92"/>
                  </a:cxn>
                  <a:cxn ang="0">
                    <a:pos x="20" y="100"/>
                  </a:cxn>
                  <a:cxn ang="0">
                    <a:pos x="12" y="100"/>
                  </a:cxn>
                  <a:cxn ang="0">
                    <a:pos x="8" y="96"/>
                  </a:cxn>
                  <a:cxn ang="0">
                    <a:pos x="4" y="92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88"/>
                  </a:cxn>
                  <a:cxn ang="0">
                    <a:pos x="0" y="84"/>
                  </a:cxn>
                </a:cxnLst>
                <a:rect l="0" t="0" r="r" b="b"/>
                <a:pathLst>
                  <a:path w="104" h="100">
                    <a:moveTo>
                      <a:pt x="0" y="84"/>
                    </a:move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8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4"/>
                    </a:lnTo>
                    <a:lnTo>
                      <a:pt x="100" y="0"/>
                    </a:lnTo>
                    <a:lnTo>
                      <a:pt x="100" y="0"/>
                    </a:lnTo>
                    <a:lnTo>
                      <a:pt x="104" y="0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4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96" y="16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8" y="28"/>
                    </a:lnTo>
                    <a:lnTo>
                      <a:pt x="88" y="28"/>
                    </a:lnTo>
                    <a:lnTo>
                      <a:pt x="88" y="32"/>
                    </a:lnTo>
                    <a:lnTo>
                      <a:pt x="88" y="32"/>
                    </a:lnTo>
                    <a:lnTo>
                      <a:pt x="88" y="36"/>
                    </a:lnTo>
                    <a:lnTo>
                      <a:pt x="88" y="36"/>
                    </a:lnTo>
                    <a:lnTo>
                      <a:pt x="88" y="36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8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76" y="64"/>
                    </a:lnTo>
                    <a:lnTo>
                      <a:pt x="72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56" y="76"/>
                    </a:lnTo>
                    <a:lnTo>
                      <a:pt x="52" y="80"/>
                    </a:lnTo>
                    <a:lnTo>
                      <a:pt x="48" y="80"/>
                    </a:lnTo>
                    <a:lnTo>
                      <a:pt x="48" y="80"/>
                    </a:lnTo>
                    <a:lnTo>
                      <a:pt x="48" y="80"/>
                    </a:lnTo>
                    <a:lnTo>
                      <a:pt x="44" y="84"/>
                    </a:lnTo>
                    <a:lnTo>
                      <a:pt x="40" y="84"/>
                    </a:lnTo>
                    <a:lnTo>
                      <a:pt x="36" y="88"/>
                    </a:lnTo>
                    <a:lnTo>
                      <a:pt x="32" y="92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4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8" y="96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0" y="92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8" name="Freeform 45">
                <a:extLst>
                  <a:ext uri="{FF2B5EF4-FFF2-40B4-BE49-F238E27FC236}">
                    <a16:creationId xmlns:a16="http://schemas.microsoft.com/office/drawing/2014/main" id="{527916A1-364B-4D74-BBAE-27D24C22C53F}"/>
                  </a:ext>
                </a:extLst>
              </p:cNvPr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gray">
              <a:xfrm>
                <a:off x="5080101" y="4976088"/>
                <a:ext cx="144969" cy="115976"/>
              </a:xfrm>
              <a:custGeom>
                <a:avLst/>
                <a:gdLst/>
                <a:ahLst/>
                <a:cxnLst>
                  <a:cxn ang="0">
                    <a:pos x="108" y="76"/>
                  </a:cxn>
                  <a:cxn ang="0">
                    <a:pos x="96" y="80"/>
                  </a:cxn>
                  <a:cxn ang="0">
                    <a:pos x="96" y="76"/>
                  </a:cxn>
                  <a:cxn ang="0">
                    <a:pos x="88" y="76"/>
                  </a:cxn>
                  <a:cxn ang="0">
                    <a:pos x="80" y="80"/>
                  </a:cxn>
                  <a:cxn ang="0">
                    <a:pos x="72" y="84"/>
                  </a:cxn>
                  <a:cxn ang="0">
                    <a:pos x="64" y="88"/>
                  </a:cxn>
                  <a:cxn ang="0">
                    <a:pos x="60" y="76"/>
                  </a:cxn>
                  <a:cxn ang="0">
                    <a:pos x="64" y="68"/>
                  </a:cxn>
                  <a:cxn ang="0">
                    <a:pos x="56" y="64"/>
                  </a:cxn>
                  <a:cxn ang="0">
                    <a:pos x="56" y="56"/>
                  </a:cxn>
                  <a:cxn ang="0">
                    <a:pos x="48" y="60"/>
                  </a:cxn>
                  <a:cxn ang="0">
                    <a:pos x="40" y="68"/>
                  </a:cxn>
                  <a:cxn ang="0">
                    <a:pos x="40" y="72"/>
                  </a:cxn>
                  <a:cxn ang="0">
                    <a:pos x="28" y="76"/>
                  </a:cxn>
                  <a:cxn ang="0">
                    <a:pos x="24" y="76"/>
                  </a:cxn>
                  <a:cxn ang="0">
                    <a:pos x="12" y="80"/>
                  </a:cxn>
                  <a:cxn ang="0">
                    <a:pos x="4" y="80"/>
                  </a:cxn>
                  <a:cxn ang="0">
                    <a:pos x="8" y="72"/>
                  </a:cxn>
                  <a:cxn ang="0">
                    <a:pos x="12" y="60"/>
                  </a:cxn>
                  <a:cxn ang="0">
                    <a:pos x="12" y="56"/>
                  </a:cxn>
                  <a:cxn ang="0">
                    <a:pos x="12" y="48"/>
                  </a:cxn>
                  <a:cxn ang="0">
                    <a:pos x="4" y="44"/>
                  </a:cxn>
                  <a:cxn ang="0">
                    <a:pos x="0" y="36"/>
                  </a:cxn>
                  <a:cxn ang="0">
                    <a:pos x="8" y="28"/>
                  </a:cxn>
                  <a:cxn ang="0">
                    <a:pos x="16" y="32"/>
                  </a:cxn>
                  <a:cxn ang="0">
                    <a:pos x="20" y="24"/>
                  </a:cxn>
                  <a:cxn ang="0">
                    <a:pos x="20" y="20"/>
                  </a:cxn>
                  <a:cxn ang="0">
                    <a:pos x="20" y="16"/>
                  </a:cxn>
                  <a:cxn ang="0">
                    <a:pos x="28" y="12"/>
                  </a:cxn>
                  <a:cxn ang="0">
                    <a:pos x="32" y="4"/>
                  </a:cxn>
                  <a:cxn ang="0">
                    <a:pos x="40" y="8"/>
                  </a:cxn>
                  <a:cxn ang="0">
                    <a:pos x="44" y="0"/>
                  </a:cxn>
                  <a:cxn ang="0">
                    <a:pos x="52" y="4"/>
                  </a:cxn>
                  <a:cxn ang="0">
                    <a:pos x="48" y="12"/>
                  </a:cxn>
                  <a:cxn ang="0">
                    <a:pos x="48" y="16"/>
                  </a:cxn>
                  <a:cxn ang="0">
                    <a:pos x="48" y="20"/>
                  </a:cxn>
                  <a:cxn ang="0">
                    <a:pos x="48" y="24"/>
                  </a:cxn>
                  <a:cxn ang="0">
                    <a:pos x="40" y="16"/>
                  </a:cxn>
                  <a:cxn ang="0">
                    <a:pos x="32" y="24"/>
                  </a:cxn>
                  <a:cxn ang="0">
                    <a:pos x="28" y="24"/>
                  </a:cxn>
                  <a:cxn ang="0">
                    <a:pos x="32" y="32"/>
                  </a:cxn>
                  <a:cxn ang="0">
                    <a:pos x="44" y="32"/>
                  </a:cxn>
                  <a:cxn ang="0">
                    <a:pos x="48" y="32"/>
                  </a:cxn>
                  <a:cxn ang="0">
                    <a:pos x="56" y="32"/>
                  </a:cxn>
                  <a:cxn ang="0">
                    <a:pos x="64" y="32"/>
                  </a:cxn>
                  <a:cxn ang="0">
                    <a:pos x="64" y="36"/>
                  </a:cxn>
                  <a:cxn ang="0">
                    <a:pos x="72" y="40"/>
                  </a:cxn>
                  <a:cxn ang="0">
                    <a:pos x="80" y="36"/>
                  </a:cxn>
                  <a:cxn ang="0">
                    <a:pos x="88" y="32"/>
                  </a:cxn>
                  <a:cxn ang="0">
                    <a:pos x="96" y="36"/>
                  </a:cxn>
                  <a:cxn ang="0">
                    <a:pos x="96" y="44"/>
                  </a:cxn>
                  <a:cxn ang="0">
                    <a:pos x="100" y="52"/>
                  </a:cxn>
                  <a:cxn ang="0">
                    <a:pos x="108" y="52"/>
                  </a:cxn>
                  <a:cxn ang="0">
                    <a:pos x="111" y="60"/>
                  </a:cxn>
                  <a:cxn ang="0">
                    <a:pos x="115" y="68"/>
                  </a:cxn>
                  <a:cxn ang="0">
                    <a:pos x="115" y="72"/>
                  </a:cxn>
                </a:cxnLst>
                <a:rect l="0" t="0" r="r" b="b"/>
                <a:pathLst>
                  <a:path w="115" h="92">
                    <a:moveTo>
                      <a:pt x="111" y="80"/>
                    </a:moveTo>
                    <a:lnTo>
                      <a:pt x="111" y="76"/>
                    </a:lnTo>
                    <a:lnTo>
                      <a:pt x="108" y="76"/>
                    </a:lnTo>
                    <a:lnTo>
                      <a:pt x="104" y="76"/>
                    </a:lnTo>
                    <a:lnTo>
                      <a:pt x="100" y="76"/>
                    </a:lnTo>
                    <a:lnTo>
                      <a:pt x="96" y="80"/>
                    </a:lnTo>
                    <a:lnTo>
                      <a:pt x="92" y="80"/>
                    </a:lnTo>
                    <a:lnTo>
                      <a:pt x="92" y="76"/>
                    </a:lnTo>
                    <a:lnTo>
                      <a:pt x="96" y="76"/>
                    </a:lnTo>
                    <a:lnTo>
                      <a:pt x="92" y="76"/>
                    </a:lnTo>
                    <a:lnTo>
                      <a:pt x="92" y="72"/>
                    </a:lnTo>
                    <a:lnTo>
                      <a:pt x="88" y="76"/>
                    </a:lnTo>
                    <a:lnTo>
                      <a:pt x="84" y="76"/>
                    </a:lnTo>
                    <a:lnTo>
                      <a:pt x="84" y="80"/>
                    </a:lnTo>
                    <a:lnTo>
                      <a:pt x="80" y="80"/>
                    </a:lnTo>
                    <a:lnTo>
                      <a:pt x="80" y="84"/>
                    </a:lnTo>
                    <a:lnTo>
                      <a:pt x="76" y="84"/>
                    </a:lnTo>
                    <a:lnTo>
                      <a:pt x="72" y="84"/>
                    </a:lnTo>
                    <a:lnTo>
                      <a:pt x="68" y="88"/>
                    </a:lnTo>
                    <a:lnTo>
                      <a:pt x="64" y="92"/>
                    </a:lnTo>
                    <a:lnTo>
                      <a:pt x="64" y="88"/>
                    </a:lnTo>
                    <a:lnTo>
                      <a:pt x="60" y="84"/>
                    </a:lnTo>
                    <a:lnTo>
                      <a:pt x="60" y="80"/>
                    </a:lnTo>
                    <a:lnTo>
                      <a:pt x="60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2" y="52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4" y="68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28" y="76"/>
                    </a:lnTo>
                    <a:lnTo>
                      <a:pt x="28" y="80"/>
                    </a:lnTo>
                    <a:lnTo>
                      <a:pt x="24" y="80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4"/>
                    </a:lnTo>
                    <a:lnTo>
                      <a:pt x="8" y="84"/>
                    </a:lnTo>
                    <a:lnTo>
                      <a:pt x="4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32"/>
                    </a:lnTo>
                    <a:lnTo>
                      <a:pt x="12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0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2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4" y="24"/>
                    </a:lnTo>
                    <a:lnTo>
                      <a:pt x="48" y="24"/>
                    </a:lnTo>
                    <a:lnTo>
                      <a:pt x="48" y="20"/>
                    </a:lnTo>
                    <a:lnTo>
                      <a:pt x="44" y="20"/>
                    </a:lnTo>
                    <a:lnTo>
                      <a:pt x="40" y="16"/>
                    </a:lnTo>
                    <a:lnTo>
                      <a:pt x="36" y="20"/>
                    </a:lnTo>
                    <a:lnTo>
                      <a:pt x="32" y="20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40" y="32"/>
                    </a:lnTo>
                    <a:lnTo>
                      <a:pt x="44" y="32"/>
                    </a:lnTo>
                    <a:lnTo>
                      <a:pt x="44" y="28"/>
                    </a:lnTo>
                    <a:lnTo>
                      <a:pt x="48" y="28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6" y="32"/>
                    </a:lnTo>
                    <a:lnTo>
                      <a:pt x="60" y="32"/>
                    </a:lnTo>
                    <a:lnTo>
                      <a:pt x="60" y="28"/>
                    </a:lnTo>
                    <a:lnTo>
                      <a:pt x="64" y="32"/>
                    </a:lnTo>
                    <a:lnTo>
                      <a:pt x="60" y="32"/>
                    </a:lnTo>
                    <a:lnTo>
                      <a:pt x="64" y="32"/>
                    </a:lnTo>
                    <a:lnTo>
                      <a:pt x="64" y="36"/>
                    </a:lnTo>
                    <a:lnTo>
                      <a:pt x="68" y="36"/>
                    </a:lnTo>
                    <a:lnTo>
                      <a:pt x="72" y="36"/>
                    </a:lnTo>
                    <a:lnTo>
                      <a:pt x="72" y="40"/>
                    </a:lnTo>
                    <a:lnTo>
                      <a:pt x="72" y="36"/>
                    </a:lnTo>
                    <a:lnTo>
                      <a:pt x="76" y="36"/>
                    </a:lnTo>
                    <a:lnTo>
                      <a:pt x="80" y="36"/>
                    </a:lnTo>
                    <a:lnTo>
                      <a:pt x="84" y="36"/>
                    </a:lnTo>
                    <a:lnTo>
                      <a:pt x="88" y="36"/>
                    </a:lnTo>
                    <a:lnTo>
                      <a:pt x="88" y="32"/>
                    </a:lnTo>
                    <a:lnTo>
                      <a:pt x="92" y="32"/>
                    </a:lnTo>
                    <a:lnTo>
                      <a:pt x="96" y="32"/>
                    </a:lnTo>
                    <a:lnTo>
                      <a:pt x="96" y="36"/>
                    </a:lnTo>
                    <a:lnTo>
                      <a:pt x="92" y="36"/>
                    </a:lnTo>
                    <a:lnTo>
                      <a:pt x="96" y="40"/>
                    </a:lnTo>
                    <a:lnTo>
                      <a:pt x="96" y="44"/>
                    </a:lnTo>
                    <a:lnTo>
                      <a:pt x="96" y="48"/>
                    </a:lnTo>
                    <a:lnTo>
                      <a:pt x="96" y="52"/>
                    </a:lnTo>
                    <a:lnTo>
                      <a:pt x="100" y="52"/>
                    </a:lnTo>
                    <a:lnTo>
                      <a:pt x="100" y="48"/>
                    </a:lnTo>
                    <a:lnTo>
                      <a:pt x="104" y="48"/>
                    </a:lnTo>
                    <a:lnTo>
                      <a:pt x="108" y="52"/>
                    </a:lnTo>
                    <a:lnTo>
                      <a:pt x="111" y="52"/>
                    </a:lnTo>
                    <a:lnTo>
                      <a:pt x="111" y="56"/>
                    </a:lnTo>
                    <a:lnTo>
                      <a:pt x="111" y="60"/>
                    </a:lnTo>
                    <a:lnTo>
                      <a:pt x="111" y="64"/>
                    </a:lnTo>
                    <a:lnTo>
                      <a:pt x="111" y="68"/>
                    </a:lnTo>
                    <a:lnTo>
                      <a:pt x="115" y="68"/>
                    </a:lnTo>
                    <a:lnTo>
                      <a:pt x="111" y="68"/>
                    </a:lnTo>
                    <a:lnTo>
                      <a:pt x="111" y="72"/>
                    </a:lnTo>
                    <a:lnTo>
                      <a:pt x="115" y="72"/>
                    </a:lnTo>
                    <a:lnTo>
                      <a:pt x="115" y="76"/>
                    </a:lnTo>
                    <a:lnTo>
                      <a:pt x="111" y="8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39" name="Freeform 48">
                <a:extLst>
                  <a:ext uri="{FF2B5EF4-FFF2-40B4-BE49-F238E27FC236}">
                    <a16:creationId xmlns:a16="http://schemas.microsoft.com/office/drawing/2014/main" id="{AE47DE4B-C052-4C5E-BD2B-096479B0F3D0}"/>
                  </a:ext>
                </a:extLst>
              </p:cNvPr>
              <p:cNvSpPr>
                <a:spLocks noEditPoint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280878" y="4945833"/>
                <a:ext cx="366835" cy="166400"/>
              </a:xfrm>
              <a:custGeom>
                <a:avLst/>
                <a:gdLst/>
                <a:ahLst/>
                <a:cxnLst>
                  <a:cxn ang="0">
                    <a:pos x="24" y="4"/>
                  </a:cxn>
                  <a:cxn ang="0">
                    <a:pos x="36" y="8"/>
                  </a:cxn>
                  <a:cxn ang="0">
                    <a:pos x="51" y="24"/>
                  </a:cxn>
                  <a:cxn ang="0">
                    <a:pos x="28" y="24"/>
                  </a:cxn>
                  <a:cxn ang="0">
                    <a:pos x="16" y="40"/>
                  </a:cxn>
                  <a:cxn ang="0">
                    <a:pos x="8" y="40"/>
                  </a:cxn>
                  <a:cxn ang="0">
                    <a:pos x="16" y="32"/>
                  </a:cxn>
                  <a:cxn ang="0">
                    <a:pos x="12" y="20"/>
                  </a:cxn>
                  <a:cxn ang="0">
                    <a:pos x="8" y="56"/>
                  </a:cxn>
                  <a:cxn ang="0">
                    <a:pos x="16" y="40"/>
                  </a:cxn>
                  <a:cxn ang="0">
                    <a:pos x="32" y="40"/>
                  </a:cxn>
                  <a:cxn ang="0">
                    <a:pos x="43" y="36"/>
                  </a:cxn>
                  <a:cxn ang="0">
                    <a:pos x="51" y="36"/>
                  </a:cxn>
                  <a:cxn ang="0">
                    <a:pos x="63" y="32"/>
                  </a:cxn>
                  <a:cxn ang="0">
                    <a:pos x="51" y="24"/>
                  </a:cxn>
                  <a:cxn ang="0">
                    <a:pos x="71" y="20"/>
                  </a:cxn>
                  <a:cxn ang="0">
                    <a:pos x="87" y="20"/>
                  </a:cxn>
                  <a:cxn ang="0">
                    <a:pos x="103" y="8"/>
                  </a:cxn>
                  <a:cxn ang="0">
                    <a:pos x="123" y="4"/>
                  </a:cxn>
                  <a:cxn ang="0">
                    <a:pos x="143" y="8"/>
                  </a:cxn>
                  <a:cxn ang="0">
                    <a:pos x="159" y="8"/>
                  </a:cxn>
                  <a:cxn ang="0">
                    <a:pos x="167" y="16"/>
                  </a:cxn>
                  <a:cxn ang="0">
                    <a:pos x="183" y="24"/>
                  </a:cxn>
                  <a:cxn ang="0">
                    <a:pos x="199" y="24"/>
                  </a:cxn>
                  <a:cxn ang="0">
                    <a:pos x="223" y="24"/>
                  </a:cxn>
                  <a:cxn ang="0">
                    <a:pos x="243" y="12"/>
                  </a:cxn>
                  <a:cxn ang="0">
                    <a:pos x="259" y="12"/>
                  </a:cxn>
                  <a:cxn ang="0">
                    <a:pos x="275" y="28"/>
                  </a:cxn>
                  <a:cxn ang="0">
                    <a:pos x="275" y="44"/>
                  </a:cxn>
                  <a:cxn ang="0">
                    <a:pos x="287" y="56"/>
                  </a:cxn>
                  <a:cxn ang="0">
                    <a:pos x="283" y="64"/>
                  </a:cxn>
                  <a:cxn ang="0">
                    <a:pos x="283" y="84"/>
                  </a:cxn>
                  <a:cxn ang="0">
                    <a:pos x="291" y="104"/>
                  </a:cxn>
                  <a:cxn ang="0">
                    <a:pos x="279" y="100"/>
                  </a:cxn>
                  <a:cxn ang="0">
                    <a:pos x="259" y="100"/>
                  </a:cxn>
                  <a:cxn ang="0">
                    <a:pos x="247" y="104"/>
                  </a:cxn>
                  <a:cxn ang="0">
                    <a:pos x="227" y="108"/>
                  </a:cxn>
                  <a:cxn ang="0">
                    <a:pos x="203" y="112"/>
                  </a:cxn>
                  <a:cxn ang="0">
                    <a:pos x="187" y="112"/>
                  </a:cxn>
                  <a:cxn ang="0">
                    <a:pos x="167" y="112"/>
                  </a:cxn>
                  <a:cxn ang="0">
                    <a:pos x="159" y="128"/>
                  </a:cxn>
                  <a:cxn ang="0">
                    <a:pos x="155" y="124"/>
                  </a:cxn>
                  <a:cxn ang="0">
                    <a:pos x="155" y="112"/>
                  </a:cxn>
                  <a:cxn ang="0">
                    <a:pos x="135" y="112"/>
                  </a:cxn>
                  <a:cxn ang="0">
                    <a:pos x="123" y="124"/>
                  </a:cxn>
                  <a:cxn ang="0">
                    <a:pos x="107" y="124"/>
                  </a:cxn>
                  <a:cxn ang="0">
                    <a:pos x="91" y="116"/>
                  </a:cxn>
                  <a:cxn ang="0">
                    <a:pos x="75" y="112"/>
                  </a:cxn>
                  <a:cxn ang="0">
                    <a:pos x="67" y="124"/>
                  </a:cxn>
                  <a:cxn ang="0">
                    <a:pos x="55" y="116"/>
                  </a:cxn>
                  <a:cxn ang="0">
                    <a:pos x="43" y="112"/>
                  </a:cxn>
                  <a:cxn ang="0">
                    <a:pos x="36" y="112"/>
                  </a:cxn>
                  <a:cxn ang="0">
                    <a:pos x="28" y="116"/>
                  </a:cxn>
                  <a:cxn ang="0">
                    <a:pos x="32" y="108"/>
                  </a:cxn>
                  <a:cxn ang="0">
                    <a:pos x="28" y="104"/>
                  </a:cxn>
                  <a:cxn ang="0">
                    <a:pos x="28" y="88"/>
                  </a:cxn>
                  <a:cxn ang="0">
                    <a:pos x="16" y="80"/>
                  </a:cxn>
                  <a:cxn ang="0">
                    <a:pos x="24" y="80"/>
                  </a:cxn>
                  <a:cxn ang="0">
                    <a:pos x="20" y="68"/>
                  </a:cxn>
                  <a:cxn ang="0">
                    <a:pos x="32" y="32"/>
                  </a:cxn>
                  <a:cxn ang="0">
                    <a:pos x="4" y="40"/>
                  </a:cxn>
                </a:cxnLst>
                <a:rect l="0" t="0" r="r" b="b"/>
                <a:pathLst>
                  <a:path w="291" h="132">
                    <a:moveTo>
                      <a:pt x="12" y="12"/>
                    </a:moveTo>
                    <a:lnTo>
                      <a:pt x="12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9" y="12"/>
                    </a:lnTo>
                    <a:lnTo>
                      <a:pt x="39" y="16"/>
                    </a:lnTo>
                    <a:lnTo>
                      <a:pt x="43" y="16"/>
                    </a:lnTo>
                    <a:lnTo>
                      <a:pt x="47" y="20"/>
                    </a:lnTo>
                    <a:lnTo>
                      <a:pt x="51" y="20"/>
                    </a:lnTo>
                    <a:lnTo>
                      <a:pt x="51" y="24"/>
                    </a:lnTo>
                    <a:lnTo>
                      <a:pt x="47" y="24"/>
                    </a:lnTo>
                    <a:lnTo>
                      <a:pt x="43" y="24"/>
                    </a:lnTo>
                    <a:lnTo>
                      <a:pt x="39" y="24"/>
                    </a:lnTo>
                    <a:lnTo>
                      <a:pt x="36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24" y="32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16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6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2" y="12"/>
                    </a:lnTo>
                    <a:close/>
                    <a:moveTo>
                      <a:pt x="16" y="56"/>
                    </a:moveTo>
                    <a:lnTo>
                      <a:pt x="8" y="56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40"/>
                    </a:lnTo>
                    <a:lnTo>
                      <a:pt x="39" y="36"/>
                    </a:lnTo>
                    <a:lnTo>
                      <a:pt x="43" y="36"/>
                    </a:lnTo>
                    <a:lnTo>
                      <a:pt x="47" y="40"/>
                    </a:lnTo>
                    <a:lnTo>
                      <a:pt x="47" y="36"/>
                    </a:lnTo>
                    <a:lnTo>
                      <a:pt x="51" y="36"/>
                    </a:lnTo>
                    <a:lnTo>
                      <a:pt x="51" y="40"/>
                    </a:lnTo>
                    <a:lnTo>
                      <a:pt x="55" y="36"/>
                    </a:lnTo>
                    <a:lnTo>
                      <a:pt x="51" y="36"/>
                    </a:lnTo>
                    <a:lnTo>
                      <a:pt x="47" y="36"/>
                    </a:lnTo>
                    <a:lnTo>
                      <a:pt x="47" y="32"/>
                    </a:lnTo>
                    <a:lnTo>
                      <a:pt x="51" y="32"/>
                    </a:lnTo>
                    <a:lnTo>
                      <a:pt x="55" y="32"/>
                    </a:lnTo>
                    <a:lnTo>
                      <a:pt x="59" y="32"/>
                    </a:lnTo>
                    <a:lnTo>
                      <a:pt x="63" y="32"/>
                    </a:lnTo>
                    <a:lnTo>
                      <a:pt x="67" y="32"/>
                    </a:lnTo>
                    <a:lnTo>
                      <a:pt x="67" y="28"/>
                    </a:lnTo>
                    <a:lnTo>
                      <a:pt x="63" y="28"/>
                    </a:lnTo>
                    <a:lnTo>
                      <a:pt x="59" y="28"/>
                    </a:lnTo>
                    <a:lnTo>
                      <a:pt x="55" y="28"/>
                    </a:lnTo>
                    <a:lnTo>
                      <a:pt x="51" y="24"/>
                    </a:lnTo>
                    <a:lnTo>
                      <a:pt x="51" y="20"/>
                    </a:lnTo>
                    <a:lnTo>
                      <a:pt x="55" y="20"/>
                    </a:lnTo>
                    <a:lnTo>
                      <a:pt x="59" y="20"/>
                    </a:lnTo>
                    <a:lnTo>
                      <a:pt x="63" y="20"/>
                    </a:lnTo>
                    <a:lnTo>
                      <a:pt x="67" y="24"/>
                    </a:lnTo>
                    <a:lnTo>
                      <a:pt x="71" y="20"/>
                    </a:lnTo>
                    <a:lnTo>
                      <a:pt x="75" y="20"/>
                    </a:lnTo>
                    <a:lnTo>
                      <a:pt x="75" y="24"/>
                    </a:lnTo>
                    <a:lnTo>
                      <a:pt x="79" y="24"/>
                    </a:lnTo>
                    <a:lnTo>
                      <a:pt x="83" y="24"/>
                    </a:lnTo>
                    <a:lnTo>
                      <a:pt x="87" y="24"/>
                    </a:lnTo>
                    <a:lnTo>
                      <a:pt x="87" y="20"/>
                    </a:lnTo>
                    <a:lnTo>
                      <a:pt x="91" y="16"/>
                    </a:lnTo>
                    <a:lnTo>
                      <a:pt x="95" y="16"/>
                    </a:lnTo>
                    <a:lnTo>
                      <a:pt x="95" y="12"/>
                    </a:lnTo>
                    <a:lnTo>
                      <a:pt x="99" y="12"/>
                    </a:lnTo>
                    <a:lnTo>
                      <a:pt x="99" y="8"/>
                    </a:lnTo>
                    <a:lnTo>
                      <a:pt x="103" y="8"/>
                    </a:lnTo>
                    <a:lnTo>
                      <a:pt x="107" y="8"/>
                    </a:lnTo>
                    <a:lnTo>
                      <a:pt x="111" y="8"/>
                    </a:lnTo>
                    <a:lnTo>
                      <a:pt x="111" y="4"/>
                    </a:lnTo>
                    <a:lnTo>
                      <a:pt x="115" y="4"/>
                    </a:lnTo>
                    <a:lnTo>
                      <a:pt x="119" y="4"/>
                    </a:lnTo>
                    <a:lnTo>
                      <a:pt x="123" y="4"/>
                    </a:lnTo>
                    <a:lnTo>
                      <a:pt x="127" y="4"/>
                    </a:lnTo>
                    <a:lnTo>
                      <a:pt x="131" y="4"/>
                    </a:lnTo>
                    <a:lnTo>
                      <a:pt x="135" y="4"/>
                    </a:lnTo>
                    <a:lnTo>
                      <a:pt x="139" y="4"/>
                    </a:lnTo>
                    <a:lnTo>
                      <a:pt x="143" y="4"/>
                    </a:lnTo>
                    <a:lnTo>
                      <a:pt x="143" y="8"/>
                    </a:lnTo>
                    <a:lnTo>
                      <a:pt x="147" y="8"/>
                    </a:lnTo>
                    <a:lnTo>
                      <a:pt x="147" y="12"/>
                    </a:lnTo>
                    <a:lnTo>
                      <a:pt x="151" y="12"/>
                    </a:lnTo>
                    <a:lnTo>
                      <a:pt x="155" y="12"/>
                    </a:lnTo>
                    <a:lnTo>
                      <a:pt x="155" y="8"/>
                    </a:lnTo>
                    <a:lnTo>
                      <a:pt x="159" y="8"/>
                    </a:lnTo>
                    <a:lnTo>
                      <a:pt x="159" y="12"/>
                    </a:lnTo>
                    <a:lnTo>
                      <a:pt x="159" y="16"/>
                    </a:lnTo>
                    <a:lnTo>
                      <a:pt x="163" y="16"/>
                    </a:lnTo>
                    <a:lnTo>
                      <a:pt x="163" y="20"/>
                    </a:lnTo>
                    <a:lnTo>
                      <a:pt x="167" y="20"/>
                    </a:lnTo>
                    <a:lnTo>
                      <a:pt x="167" y="16"/>
                    </a:lnTo>
                    <a:lnTo>
                      <a:pt x="171" y="16"/>
                    </a:lnTo>
                    <a:lnTo>
                      <a:pt x="171" y="20"/>
                    </a:lnTo>
                    <a:lnTo>
                      <a:pt x="175" y="20"/>
                    </a:lnTo>
                    <a:lnTo>
                      <a:pt x="175" y="24"/>
                    </a:lnTo>
                    <a:lnTo>
                      <a:pt x="179" y="24"/>
                    </a:lnTo>
                    <a:lnTo>
                      <a:pt x="183" y="24"/>
                    </a:lnTo>
                    <a:lnTo>
                      <a:pt x="187" y="24"/>
                    </a:lnTo>
                    <a:lnTo>
                      <a:pt x="191" y="24"/>
                    </a:lnTo>
                    <a:lnTo>
                      <a:pt x="191" y="28"/>
                    </a:lnTo>
                    <a:lnTo>
                      <a:pt x="195" y="28"/>
                    </a:lnTo>
                    <a:lnTo>
                      <a:pt x="199" y="28"/>
                    </a:lnTo>
                    <a:lnTo>
                      <a:pt x="199" y="24"/>
                    </a:lnTo>
                    <a:lnTo>
                      <a:pt x="203" y="24"/>
                    </a:lnTo>
                    <a:lnTo>
                      <a:pt x="207" y="24"/>
                    </a:lnTo>
                    <a:lnTo>
                      <a:pt x="211" y="24"/>
                    </a:lnTo>
                    <a:lnTo>
                      <a:pt x="215" y="24"/>
                    </a:lnTo>
                    <a:lnTo>
                      <a:pt x="219" y="28"/>
                    </a:lnTo>
                    <a:lnTo>
                      <a:pt x="223" y="24"/>
                    </a:lnTo>
                    <a:lnTo>
                      <a:pt x="227" y="24"/>
                    </a:lnTo>
                    <a:lnTo>
                      <a:pt x="231" y="24"/>
                    </a:lnTo>
                    <a:lnTo>
                      <a:pt x="231" y="20"/>
                    </a:lnTo>
                    <a:lnTo>
                      <a:pt x="235" y="20"/>
                    </a:lnTo>
                    <a:lnTo>
                      <a:pt x="239" y="16"/>
                    </a:lnTo>
                    <a:lnTo>
                      <a:pt x="243" y="12"/>
                    </a:lnTo>
                    <a:lnTo>
                      <a:pt x="243" y="16"/>
                    </a:lnTo>
                    <a:lnTo>
                      <a:pt x="247" y="16"/>
                    </a:lnTo>
                    <a:lnTo>
                      <a:pt x="251" y="16"/>
                    </a:lnTo>
                    <a:lnTo>
                      <a:pt x="255" y="16"/>
                    </a:lnTo>
                    <a:lnTo>
                      <a:pt x="259" y="16"/>
                    </a:lnTo>
                    <a:lnTo>
                      <a:pt x="259" y="12"/>
                    </a:lnTo>
                    <a:lnTo>
                      <a:pt x="263" y="12"/>
                    </a:lnTo>
                    <a:lnTo>
                      <a:pt x="263" y="16"/>
                    </a:lnTo>
                    <a:lnTo>
                      <a:pt x="267" y="20"/>
                    </a:lnTo>
                    <a:lnTo>
                      <a:pt x="271" y="20"/>
                    </a:lnTo>
                    <a:lnTo>
                      <a:pt x="271" y="24"/>
                    </a:lnTo>
                    <a:lnTo>
                      <a:pt x="275" y="28"/>
                    </a:lnTo>
                    <a:lnTo>
                      <a:pt x="275" y="32"/>
                    </a:lnTo>
                    <a:lnTo>
                      <a:pt x="275" y="36"/>
                    </a:lnTo>
                    <a:lnTo>
                      <a:pt x="271" y="36"/>
                    </a:lnTo>
                    <a:lnTo>
                      <a:pt x="271" y="40"/>
                    </a:lnTo>
                    <a:lnTo>
                      <a:pt x="275" y="40"/>
                    </a:lnTo>
                    <a:lnTo>
                      <a:pt x="275" y="44"/>
                    </a:lnTo>
                    <a:lnTo>
                      <a:pt x="279" y="44"/>
                    </a:lnTo>
                    <a:lnTo>
                      <a:pt x="283" y="44"/>
                    </a:lnTo>
                    <a:lnTo>
                      <a:pt x="287" y="48"/>
                    </a:lnTo>
                    <a:lnTo>
                      <a:pt x="291" y="52"/>
                    </a:lnTo>
                    <a:lnTo>
                      <a:pt x="287" y="52"/>
                    </a:lnTo>
                    <a:lnTo>
                      <a:pt x="287" y="56"/>
                    </a:lnTo>
                    <a:lnTo>
                      <a:pt x="283" y="56"/>
                    </a:lnTo>
                    <a:lnTo>
                      <a:pt x="283" y="60"/>
                    </a:lnTo>
                    <a:lnTo>
                      <a:pt x="283" y="56"/>
                    </a:lnTo>
                    <a:lnTo>
                      <a:pt x="279" y="56"/>
                    </a:lnTo>
                    <a:lnTo>
                      <a:pt x="279" y="60"/>
                    </a:lnTo>
                    <a:lnTo>
                      <a:pt x="283" y="64"/>
                    </a:lnTo>
                    <a:lnTo>
                      <a:pt x="283" y="68"/>
                    </a:lnTo>
                    <a:lnTo>
                      <a:pt x="283" y="72"/>
                    </a:lnTo>
                    <a:lnTo>
                      <a:pt x="283" y="76"/>
                    </a:lnTo>
                    <a:lnTo>
                      <a:pt x="283" y="80"/>
                    </a:lnTo>
                    <a:lnTo>
                      <a:pt x="287" y="80"/>
                    </a:lnTo>
                    <a:lnTo>
                      <a:pt x="283" y="84"/>
                    </a:lnTo>
                    <a:lnTo>
                      <a:pt x="283" y="88"/>
                    </a:lnTo>
                    <a:lnTo>
                      <a:pt x="287" y="92"/>
                    </a:lnTo>
                    <a:lnTo>
                      <a:pt x="287" y="96"/>
                    </a:lnTo>
                    <a:lnTo>
                      <a:pt x="287" y="100"/>
                    </a:lnTo>
                    <a:lnTo>
                      <a:pt x="291" y="100"/>
                    </a:lnTo>
                    <a:lnTo>
                      <a:pt x="291" y="104"/>
                    </a:lnTo>
                    <a:lnTo>
                      <a:pt x="287" y="104"/>
                    </a:lnTo>
                    <a:lnTo>
                      <a:pt x="287" y="108"/>
                    </a:lnTo>
                    <a:lnTo>
                      <a:pt x="283" y="108"/>
                    </a:lnTo>
                    <a:lnTo>
                      <a:pt x="283" y="104"/>
                    </a:lnTo>
                    <a:lnTo>
                      <a:pt x="283" y="100"/>
                    </a:lnTo>
                    <a:lnTo>
                      <a:pt x="279" y="100"/>
                    </a:lnTo>
                    <a:lnTo>
                      <a:pt x="279" y="104"/>
                    </a:lnTo>
                    <a:lnTo>
                      <a:pt x="275" y="104"/>
                    </a:lnTo>
                    <a:lnTo>
                      <a:pt x="271" y="104"/>
                    </a:lnTo>
                    <a:lnTo>
                      <a:pt x="267" y="100"/>
                    </a:lnTo>
                    <a:lnTo>
                      <a:pt x="263" y="100"/>
                    </a:lnTo>
                    <a:lnTo>
                      <a:pt x="259" y="100"/>
                    </a:lnTo>
                    <a:lnTo>
                      <a:pt x="259" y="104"/>
                    </a:lnTo>
                    <a:lnTo>
                      <a:pt x="255" y="104"/>
                    </a:lnTo>
                    <a:lnTo>
                      <a:pt x="255" y="100"/>
                    </a:lnTo>
                    <a:lnTo>
                      <a:pt x="251" y="100"/>
                    </a:lnTo>
                    <a:lnTo>
                      <a:pt x="251" y="104"/>
                    </a:lnTo>
                    <a:lnTo>
                      <a:pt x="247" y="104"/>
                    </a:lnTo>
                    <a:lnTo>
                      <a:pt x="243" y="104"/>
                    </a:lnTo>
                    <a:lnTo>
                      <a:pt x="239" y="104"/>
                    </a:lnTo>
                    <a:lnTo>
                      <a:pt x="235" y="104"/>
                    </a:lnTo>
                    <a:lnTo>
                      <a:pt x="231" y="104"/>
                    </a:lnTo>
                    <a:lnTo>
                      <a:pt x="227" y="104"/>
                    </a:lnTo>
                    <a:lnTo>
                      <a:pt x="227" y="108"/>
                    </a:lnTo>
                    <a:lnTo>
                      <a:pt x="223" y="108"/>
                    </a:lnTo>
                    <a:lnTo>
                      <a:pt x="219" y="112"/>
                    </a:lnTo>
                    <a:lnTo>
                      <a:pt x="215" y="112"/>
                    </a:lnTo>
                    <a:lnTo>
                      <a:pt x="211" y="112"/>
                    </a:lnTo>
                    <a:lnTo>
                      <a:pt x="207" y="116"/>
                    </a:lnTo>
                    <a:lnTo>
                      <a:pt x="203" y="112"/>
                    </a:lnTo>
                    <a:lnTo>
                      <a:pt x="199" y="112"/>
                    </a:lnTo>
                    <a:lnTo>
                      <a:pt x="195" y="112"/>
                    </a:lnTo>
                    <a:lnTo>
                      <a:pt x="195" y="108"/>
                    </a:lnTo>
                    <a:lnTo>
                      <a:pt x="191" y="108"/>
                    </a:lnTo>
                    <a:lnTo>
                      <a:pt x="191" y="112"/>
                    </a:lnTo>
                    <a:lnTo>
                      <a:pt x="187" y="112"/>
                    </a:lnTo>
                    <a:lnTo>
                      <a:pt x="183" y="112"/>
                    </a:lnTo>
                    <a:lnTo>
                      <a:pt x="179" y="116"/>
                    </a:lnTo>
                    <a:lnTo>
                      <a:pt x="175" y="116"/>
                    </a:lnTo>
                    <a:lnTo>
                      <a:pt x="175" y="112"/>
                    </a:lnTo>
                    <a:lnTo>
                      <a:pt x="171" y="112"/>
                    </a:lnTo>
                    <a:lnTo>
                      <a:pt x="167" y="112"/>
                    </a:lnTo>
                    <a:lnTo>
                      <a:pt x="167" y="116"/>
                    </a:lnTo>
                    <a:lnTo>
                      <a:pt x="167" y="120"/>
                    </a:lnTo>
                    <a:lnTo>
                      <a:pt x="167" y="124"/>
                    </a:lnTo>
                    <a:lnTo>
                      <a:pt x="163" y="124"/>
                    </a:lnTo>
                    <a:lnTo>
                      <a:pt x="163" y="128"/>
                    </a:lnTo>
                    <a:lnTo>
                      <a:pt x="159" y="128"/>
                    </a:lnTo>
                    <a:lnTo>
                      <a:pt x="159" y="132"/>
                    </a:lnTo>
                    <a:lnTo>
                      <a:pt x="159" y="128"/>
                    </a:lnTo>
                    <a:lnTo>
                      <a:pt x="155" y="128"/>
                    </a:lnTo>
                    <a:lnTo>
                      <a:pt x="159" y="128"/>
                    </a:lnTo>
                    <a:lnTo>
                      <a:pt x="155" y="128"/>
                    </a:lnTo>
                    <a:lnTo>
                      <a:pt x="155" y="124"/>
                    </a:lnTo>
                    <a:lnTo>
                      <a:pt x="155" y="120"/>
                    </a:lnTo>
                    <a:lnTo>
                      <a:pt x="159" y="116"/>
                    </a:lnTo>
                    <a:lnTo>
                      <a:pt x="159" y="112"/>
                    </a:lnTo>
                    <a:lnTo>
                      <a:pt x="159" y="108"/>
                    </a:lnTo>
                    <a:lnTo>
                      <a:pt x="155" y="108"/>
                    </a:lnTo>
                    <a:lnTo>
                      <a:pt x="155" y="112"/>
                    </a:lnTo>
                    <a:lnTo>
                      <a:pt x="151" y="112"/>
                    </a:lnTo>
                    <a:lnTo>
                      <a:pt x="151" y="116"/>
                    </a:lnTo>
                    <a:lnTo>
                      <a:pt x="147" y="116"/>
                    </a:lnTo>
                    <a:lnTo>
                      <a:pt x="143" y="112"/>
                    </a:lnTo>
                    <a:lnTo>
                      <a:pt x="139" y="112"/>
                    </a:lnTo>
                    <a:lnTo>
                      <a:pt x="135" y="112"/>
                    </a:lnTo>
                    <a:lnTo>
                      <a:pt x="131" y="116"/>
                    </a:lnTo>
                    <a:lnTo>
                      <a:pt x="131" y="120"/>
                    </a:lnTo>
                    <a:lnTo>
                      <a:pt x="127" y="120"/>
                    </a:lnTo>
                    <a:lnTo>
                      <a:pt x="127" y="124"/>
                    </a:lnTo>
                    <a:lnTo>
                      <a:pt x="127" y="120"/>
                    </a:lnTo>
                    <a:lnTo>
                      <a:pt x="123" y="124"/>
                    </a:lnTo>
                    <a:lnTo>
                      <a:pt x="119" y="124"/>
                    </a:lnTo>
                    <a:lnTo>
                      <a:pt x="115" y="124"/>
                    </a:lnTo>
                    <a:lnTo>
                      <a:pt x="111" y="124"/>
                    </a:lnTo>
                    <a:lnTo>
                      <a:pt x="111" y="128"/>
                    </a:lnTo>
                    <a:lnTo>
                      <a:pt x="107" y="128"/>
                    </a:lnTo>
                    <a:lnTo>
                      <a:pt x="107" y="124"/>
                    </a:lnTo>
                    <a:lnTo>
                      <a:pt x="103" y="124"/>
                    </a:lnTo>
                    <a:lnTo>
                      <a:pt x="99" y="124"/>
                    </a:lnTo>
                    <a:lnTo>
                      <a:pt x="99" y="120"/>
                    </a:lnTo>
                    <a:lnTo>
                      <a:pt x="99" y="116"/>
                    </a:lnTo>
                    <a:lnTo>
                      <a:pt x="95" y="116"/>
                    </a:lnTo>
                    <a:lnTo>
                      <a:pt x="91" y="116"/>
                    </a:lnTo>
                    <a:lnTo>
                      <a:pt x="91" y="112"/>
                    </a:lnTo>
                    <a:lnTo>
                      <a:pt x="87" y="112"/>
                    </a:lnTo>
                    <a:lnTo>
                      <a:pt x="83" y="112"/>
                    </a:lnTo>
                    <a:lnTo>
                      <a:pt x="79" y="112"/>
                    </a:lnTo>
                    <a:lnTo>
                      <a:pt x="75" y="108"/>
                    </a:lnTo>
                    <a:lnTo>
                      <a:pt x="75" y="112"/>
                    </a:lnTo>
                    <a:lnTo>
                      <a:pt x="75" y="116"/>
                    </a:lnTo>
                    <a:lnTo>
                      <a:pt x="75" y="120"/>
                    </a:lnTo>
                    <a:lnTo>
                      <a:pt x="71" y="124"/>
                    </a:lnTo>
                    <a:lnTo>
                      <a:pt x="71" y="120"/>
                    </a:lnTo>
                    <a:lnTo>
                      <a:pt x="67" y="120"/>
                    </a:lnTo>
                    <a:lnTo>
                      <a:pt x="67" y="124"/>
                    </a:lnTo>
                    <a:lnTo>
                      <a:pt x="63" y="124"/>
                    </a:lnTo>
                    <a:lnTo>
                      <a:pt x="59" y="124"/>
                    </a:lnTo>
                    <a:lnTo>
                      <a:pt x="55" y="124"/>
                    </a:lnTo>
                    <a:lnTo>
                      <a:pt x="55" y="120"/>
                    </a:lnTo>
                    <a:lnTo>
                      <a:pt x="51" y="120"/>
                    </a:lnTo>
                    <a:lnTo>
                      <a:pt x="55" y="116"/>
                    </a:lnTo>
                    <a:lnTo>
                      <a:pt x="51" y="116"/>
                    </a:lnTo>
                    <a:lnTo>
                      <a:pt x="51" y="112"/>
                    </a:lnTo>
                    <a:lnTo>
                      <a:pt x="47" y="116"/>
                    </a:lnTo>
                    <a:lnTo>
                      <a:pt x="47" y="112"/>
                    </a:lnTo>
                    <a:lnTo>
                      <a:pt x="43" y="108"/>
                    </a:lnTo>
                    <a:lnTo>
                      <a:pt x="43" y="112"/>
                    </a:lnTo>
                    <a:lnTo>
                      <a:pt x="39" y="112"/>
                    </a:lnTo>
                    <a:lnTo>
                      <a:pt x="39" y="116"/>
                    </a:lnTo>
                    <a:lnTo>
                      <a:pt x="36" y="116"/>
                    </a:lnTo>
                    <a:lnTo>
                      <a:pt x="39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9" y="112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28" y="116"/>
                    </a:lnTo>
                    <a:lnTo>
                      <a:pt x="28" y="112"/>
                    </a:lnTo>
                    <a:lnTo>
                      <a:pt x="32" y="112"/>
                    </a:lnTo>
                    <a:lnTo>
                      <a:pt x="36" y="112"/>
                    </a:lnTo>
                    <a:lnTo>
                      <a:pt x="39" y="108"/>
                    </a:lnTo>
                    <a:lnTo>
                      <a:pt x="36" y="108"/>
                    </a:lnTo>
                    <a:lnTo>
                      <a:pt x="32" y="108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8" y="104"/>
                    </a:lnTo>
                    <a:lnTo>
                      <a:pt x="32" y="104"/>
                    </a:lnTo>
                    <a:lnTo>
                      <a:pt x="32" y="100"/>
                    </a:lnTo>
                    <a:lnTo>
                      <a:pt x="28" y="104"/>
                    </a:lnTo>
                    <a:lnTo>
                      <a:pt x="28" y="100"/>
                    </a:lnTo>
                    <a:lnTo>
                      <a:pt x="24" y="100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4" y="88"/>
                    </a:lnTo>
                    <a:lnTo>
                      <a:pt x="28" y="88"/>
                    </a:lnTo>
                    <a:lnTo>
                      <a:pt x="24" y="88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6" y="76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4" y="80"/>
                    </a:lnTo>
                    <a:lnTo>
                      <a:pt x="24" y="76"/>
                    </a:lnTo>
                    <a:lnTo>
                      <a:pt x="20" y="76"/>
                    </a:lnTo>
                    <a:lnTo>
                      <a:pt x="16" y="72"/>
                    </a:lnTo>
                    <a:lnTo>
                      <a:pt x="20" y="72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20" y="64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16" y="56"/>
                    </a:lnTo>
                    <a:close/>
                    <a:moveTo>
                      <a:pt x="32" y="32"/>
                    </a:moveTo>
                    <a:lnTo>
                      <a:pt x="28" y="32"/>
                    </a:lnTo>
                    <a:lnTo>
                      <a:pt x="32" y="32"/>
                    </a:lnTo>
                    <a:close/>
                    <a:moveTo>
                      <a:pt x="4" y="44"/>
                    </a:moveTo>
                    <a:lnTo>
                      <a:pt x="0" y="44"/>
                    </a:lnTo>
                    <a:lnTo>
                      <a:pt x="4" y="44"/>
                    </a:lnTo>
                    <a:lnTo>
                      <a:pt x="4" y="40"/>
                    </a:lnTo>
                    <a:lnTo>
                      <a:pt x="8" y="44"/>
                    </a:lnTo>
                    <a:lnTo>
                      <a:pt x="4" y="4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0" name="Freeform 49">
                <a:extLst>
                  <a:ext uri="{FF2B5EF4-FFF2-40B4-BE49-F238E27FC236}">
                    <a16:creationId xmlns:a16="http://schemas.microsoft.com/office/drawing/2014/main" id="{64535C6C-3A59-45D2-A879-1993DB965091}"/>
                  </a:ext>
                </a:extLst>
              </p:cNvPr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768731" y="4931967"/>
                <a:ext cx="296242" cy="195393"/>
              </a:xfrm>
              <a:custGeom>
                <a:avLst/>
                <a:gdLst/>
                <a:ahLst/>
                <a:cxnLst>
                  <a:cxn ang="0">
                    <a:pos x="223" y="107"/>
                  </a:cxn>
                  <a:cxn ang="0">
                    <a:pos x="215" y="115"/>
                  </a:cxn>
                  <a:cxn ang="0">
                    <a:pos x="207" y="123"/>
                  </a:cxn>
                  <a:cxn ang="0">
                    <a:pos x="203" y="135"/>
                  </a:cxn>
                  <a:cxn ang="0">
                    <a:pos x="191" y="139"/>
                  </a:cxn>
                  <a:cxn ang="0">
                    <a:pos x="183" y="143"/>
                  </a:cxn>
                  <a:cxn ang="0">
                    <a:pos x="179" y="151"/>
                  </a:cxn>
                  <a:cxn ang="0">
                    <a:pos x="167" y="155"/>
                  </a:cxn>
                  <a:cxn ang="0">
                    <a:pos x="155" y="151"/>
                  </a:cxn>
                  <a:cxn ang="0">
                    <a:pos x="151" y="139"/>
                  </a:cxn>
                  <a:cxn ang="0">
                    <a:pos x="147" y="127"/>
                  </a:cxn>
                  <a:cxn ang="0">
                    <a:pos x="135" y="119"/>
                  </a:cxn>
                  <a:cxn ang="0">
                    <a:pos x="123" y="107"/>
                  </a:cxn>
                  <a:cxn ang="0">
                    <a:pos x="115" y="107"/>
                  </a:cxn>
                  <a:cxn ang="0">
                    <a:pos x="99" y="99"/>
                  </a:cxn>
                  <a:cxn ang="0">
                    <a:pos x="91" y="95"/>
                  </a:cxn>
                  <a:cxn ang="0">
                    <a:pos x="79" y="91"/>
                  </a:cxn>
                  <a:cxn ang="0">
                    <a:pos x="67" y="95"/>
                  </a:cxn>
                  <a:cxn ang="0">
                    <a:pos x="59" y="103"/>
                  </a:cxn>
                  <a:cxn ang="0">
                    <a:pos x="47" y="111"/>
                  </a:cxn>
                  <a:cxn ang="0">
                    <a:pos x="31" y="107"/>
                  </a:cxn>
                  <a:cxn ang="0">
                    <a:pos x="19" y="103"/>
                  </a:cxn>
                  <a:cxn ang="0">
                    <a:pos x="11" y="95"/>
                  </a:cxn>
                  <a:cxn ang="0">
                    <a:pos x="4" y="79"/>
                  </a:cxn>
                  <a:cxn ang="0">
                    <a:pos x="7" y="63"/>
                  </a:cxn>
                  <a:cxn ang="0">
                    <a:pos x="7" y="43"/>
                  </a:cxn>
                  <a:cxn ang="0">
                    <a:pos x="7" y="27"/>
                  </a:cxn>
                  <a:cxn ang="0">
                    <a:pos x="23" y="15"/>
                  </a:cxn>
                  <a:cxn ang="0">
                    <a:pos x="35" y="11"/>
                  </a:cxn>
                  <a:cxn ang="0">
                    <a:pos x="47" y="11"/>
                  </a:cxn>
                  <a:cxn ang="0">
                    <a:pos x="59" y="23"/>
                  </a:cxn>
                  <a:cxn ang="0">
                    <a:pos x="67" y="31"/>
                  </a:cxn>
                  <a:cxn ang="0">
                    <a:pos x="79" y="31"/>
                  </a:cxn>
                  <a:cxn ang="0">
                    <a:pos x="91" y="27"/>
                  </a:cxn>
                  <a:cxn ang="0">
                    <a:pos x="87" y="15"/>
                  </a:cxn>
                  <a:cxn ang="0">
                    <a:pos x="99" y="11"/>
                  </a:cxn>
                  <a:cxn ang="0">
                    <a:pos x="107" y="7"/>
                  </a:cxn>
                  <a:cxn ang="0">
                    <a:pos x="111" y="4"/>
                  </a:cxn>
                  <a:cxn ang="0">
                    <a:pos x="119" y="4"/>
                  </a:cxn>
                  <a:cxn ang="0">
                    <a:pos x="131" y="7"/>
                  </a:cxn>
                  <a:cxn ang="0">
                    <a:pos x="139" y="19"/>
                  </a:cxn>
                  <a:cxn ang="0">
                    <a:pos x="139" y="27"/>
                  </a:cxn>
                  <a:cxn ang="0">
                    <a:pos x="151" y="31"/>
                  </a:cxn>
                  <a:cxn ang="0">
                    <a:pos x="163" y="39"/>
                  </a:cxn>
                  <a:cxn ang="0">
                    <a:pos x="171" y="47"/>
                  </a:cxn>
                  <a:cxn ang="0">
                    <a:pos x="175" y="59"/>
                  </a:cxn>
                  <a:cxn ang="0">
                    <a:pos x="187" y="67"/>
                  </a:cxn>
                  <a:cxn ang="0">
                    <a:pos x="195" y="75"/>
                  </a:cxn>
                  <a:cxn ang="0">
                    <a:pos x="203" y="83"/>
                  </a:cxn>
                  <a:cxn ang="0">
                    <a:pos x="219" y="91"/>
                  </a:cxn>
                  <a:cxn ang="0">
                    <a:pos x="227" y="95"/>
                  </a:cxn>
                  <a:cxn ang="0">
                    <a:pos x="235" y="103"/>
                  </a:cxn>
                  <a:cxn ang="0">
                    <a:pos x="231" y="111"/>
                  </a:cxn>
                </a:cxnLst>
                <a:rect l="0" t="0" r="r" b="b"/>
                <a:pathLst>
                  <a:path w="235" h="155">
                    <a:moveTo>
                      <a:pt x="231" y="111"/>
                    </a:moveTo>
                    <a:lnTo>
                      <a:pt x="227" y="111"/>
                    </a:lnTo>
                    <a:lnTo>
                      <a:pt x="223" y="111"/>
                    </a:lnTo>
                    <a:lnTo>
                      <a:pt x="223" y="107"/>
                    </a:lnTo>
                    <a:lnTo>
                      <a:pt x="219" y="107"/>
                    </a:lnTo>
                    <a:lnTo>
                      <a:pt x="219" y="111"/>
                    </a:lnTo>
                    <a:lnTo>
                      <a:pt x="219" y="115"/>
                    </a:lnTo>
                    <a:lnTo>
                      <a:pt x="215" y="115"/>
                    </a:lnTo>
                    <a:lnTo>
                      <a:pt x="211" y="115"/>
                    </a:lnTo>
                    <a:lnTo>
                      <a:pt x="207" y="115"/>
                    </a:lnTo>
                    <a:lnTo>
                      <a:pt x="207" y="119"/>
                    </a:lnTo>
                    <a:lnTo>
                      <a:pt x="207" y="123"/>
                    </a:lnTo>
                    <a:lnTo>
                      <a:pt x="203" y="123"/>
                    </a:lnTo>
                    <a:lnTo>
                      <a:pt x="203" y="127"/>
                    </a:lnTo>
                    <a:lnTo>
                      <a:pt x="203" y="131"/>
                    </a:lnTo>
                    <a:lnTo>
                      <a:pt x="203" y="135"/>
                    </a:lnTo>
                    <a:lnTo>
                      <a:pt x="199" y="135"/>
                    </a:lnTo>
                    <a:lnTo>
                      <a:pt x="195" y="135"/>
                    </a:lnTo>
                    <a:lnTo>
                      <a:pt x="195" y="139"/>
                    </a:lnTo>
                    <a:lnTo>
                      <a:pt x="191" y="139"/>
                    </a:lnTo>
                    <a:lnTo>
                      <a:pt x="187" y="139"/>
                    </a:lnTo>
                    <a:lnTo>
                      <a:pt x="183" y="143"/>
                    </a:lnTo>
                    <a:lnTo>
                      <a:pt x="179" y="143"/>
                    </a:lnTo>
                    <a:lnTo>
                      <a:pt x="183" y="143"/>
                    </a:lnTo>
                    <a:lnTo>
                      <a:pt x="183" y="147"/>
                    </a:lnTo>
                    <a:lnTo>
                      <a:pt x="179" y="147"/>
                    </a:lnTo>
                    <a:lnTo>
                      <a:pt x="183" y="147"/>
                    </a:lnTo>
                    <a:lnTo>
                      <a:pt x="179" y="151"/>
                    </a:lnTo>
                    <a:lnTo>
                      <a:pt x="175" y="151"/>
                    </a:lnTo>
                    <a:lnTo>
                      <a:pt x="175" y="155"/>
                    </a:lnTo>
                    <a:lnTo>
                      <a:pt x="171" y="155"/>
                    </a:lnTo>
                    <a:lnTo>
                      <a:pt x="167" y="155"/>
                    </a:lnTo>
                    <a:lnTo>
                      <a:pt x="167" y="151"/>
                    </a:lnTo>
                    <a:lnTo>
                      <a:pt x="163" y="151"/>
                    </a:lnTo>
                    <a:lnTo>
                      <a:pt x="159" y="151"/>
                    </a:lnTo>
                    <a:lnTo>
                      <a:pt x="155" y="151"/>
                    </a:lnTo>
                    <a:lnTo>
                      <a:pt x="155" y="147"/>
                    </a:lnTo>
                    <a:lnTo>
                      <a:pt x="151" y="147"/>
                    </a:lnTo>
                    <a:lnTo>
                      <a:pt x="151" y="143"/>
                    </a:lnTo>
                    <a:lnTo>
                      <a:pt x="151" y="139"/>
                    </a:lnTo>
                    <a:lnTo>
                      <a:pt x="151" y="135"/>
                    </a:lnTo>
                    <a:lnTo>
                      <a:pt x="151" y="131"/>
                    </a:lnTo>
                    <a:lnTo>
                      <a:pt x="151" y="127"/>
                    </a:lnTo>
                    <a:lnTo>
                      <a:pt x="147" y="127"/>
                    </a:lnTo>
                    <a:lnTo>
                      <a:pt x="143" y="127"/>
                    </a:lnTo>
                    <a:lnTo>
                      <a:pt x="139" y="127"/>
                    </a:lnTo>
                    <a:lnTo>
                      <a:pt x="135" y="123"/>
                    </a:lnTo>
                    <a:lnTo>
                      <a:pt x="135" y="119"/>
                    </a:lnTo>
                    <a:lnTo>
                      <a:pt x="131" y="115"/>
                    </a:lnTo>
                    <a:lnTo>
                      <a:pt x="127" y="115"/>
                    </a:lnTo>
                    <a:lnTo>
                      <a:pt x="123" y="111"/>
                    </a:lnTo>
                    <a:lnTo>
                      <a:pt x="123" y="107"/>
                    </a:lnTo>
                    <a:lnTo>
                      <a:pt x="119" y="107"/>
                    </a:lnTo>
                    <a:lnTo>
                      <a:pt x="119" y="103"/>
                    </a:lnTo>
                    <a:lnTo>
                      <a:pt x="115" y="103"/>
                    </a:lnTo>
                    <a:lnTo>
                      <a:pt x="115" y="107"/>
                    </a:lnTo>
                    <a:lnTo>
                      <a:pt x="115" y="103"/>
                    </a:lnTo>
                    <a:lnTo>
                      <a:pt x="111" y="107"/>
                    </a:lnTo>
                    <a:lnTo>
                      <a:pt x="107" y="103"/>
                    </a:lnTo>
                    <a:lnTo>
                      <a:pt x="99" y="99"/>
                    </a:lnTo>
                    <a:lnTo>
                      <a:pt x="95" y="99"/>
                    </a:lnTo>
                    <a:lnTo>
                      <a:pt x="95" y="95"/>
                    </a:lnTo>
                    <a:lnTo>
                      <a:pt x="91" y="91"/>
                    </a:lnTo>
                    <a:lnTo>
                      <a:pt x="91" y="95"/>
                    </a:lnTo>
                    <a:lnTo>
                      <a:pt x="87" y="95"/>
                    </a:lnTo>
                    <a:lnTo>
                      <a:pt x="87" y="91"/>
                    </a:lnTo>
                    <a:lnTo>
                      <a:pt x="83" y="91"/>
                    </a:lnTo>
                    <a:lnTo>
                      <a:pt x="79" y="91"/>
                    </a:lnTo>
                    <a:lnTo>
                      <a:pt x="79" y="95"/>
                    </a:lnTo>
                    <a:lnTo>
                      <a:pt x="75" y="95"/>
                    </a:lnTo>
                    <a:lnTo>
                      <a:pt x="71" y="95"/>
                    </a:lnTo>
                    <a:lnTo>
                      <a:pt x="67" y="95"/>
                    </a:lnTo>
                    <a:lnTo>
                      <a:pt x="63" y="95"/>
                    </a:lnTo>
                    <a:lnTo>
                      <a:pt x="63" y="99"/>
                    </a:lnTo>
                    <a:lnTo>
                      <a:pt x="59" y="99"/>
                    </a:lnTo>
                    <a:lnTo>
                      <a:pt x="59" y="103"/>
                    </a:lnTo>
                    <a:lnTo>
                      <a:pt x="55" y="103"/>
                    </a:lnTo>
                    <a:lnTo>
                      <a:pt x="55" y="107"/>
                    </a:lnTo>
                    <a:lnTo>
                      <a:pt x="51" y="111"/>
                    </a:lnTo>
                    <a:lnTo>
                      <a:pt x="47" y="111"/>
                    </a:lnTo>
                    <a:lnTo>
                      <a:pt x="43" y="111"/>
                    </a:lnTo>
                    <a:lnTo>
                      <a:pt x="39" y="111"/>
                    </a:lnTo>
                    <a:lnTo>
                      <a:pt x="35" y="111"/>
                    </a:lnTo>
                    <a:lnTo>
                      <a:pt x="31" y="107"/>
                    </a:lnTo>
                    <a:lnTo>
                      <a:pt x="27" y="107"/>
                    </a:lnTo>
                    <a:lnTo>
                      <a:pt x="27" y="103"/>
                    </a:lnTo>
                    <a:lnTo>
                      <a:pt x="23" y="103"/>
                    </a:lnTo>
                    <a:lnTo>
                      <a:pt x="19" y="103"/>
                    </a:lnTo>
                    <a:lnTo>
                      <a:pt x="15" y="103"/>
                    </a:lnTo>
                    <a:lnTo>
                      <a:pt x="15" y="99"/>
                    </a:lnTo>
                    <a:lnTo>
                      <a:pt x="11" y="99"/>
                    </a:lnTo>
                    <a:lnTo>
                      <a:pt x="11" y="95"/>
                    </a:lnTo>
                    <a:lnTo>
                      <a:pt x="7" y="91"/>
                    </a:lnTo>
                    <a:lnTo>
                      <a:pt x="4" y="87"/>
                    </a:lnTo>
                    <a:lnTo>
                      <a:pt x="4" y="83"/>
                    </a:lnTo>
                    <a:lnTo>
                      <a:pt x="4" y="79"/>
                    </a:lnTo>
                    <a:lnTo>
                      <a:pt x="4" y="75"/>
                    </a:lnTo>
                    <a:lnTo>
                      <a:pt x="7" y="71"/>
                    </a:lnTo>
                    <a:lnTo>
                      <a:pt x="7" y="67"/>
                    </a:lnTo>
                    <a:lnTo>
                      <a:pt x="7" y="63"/>
                    </a:lnTo>
                    <a:lnTo>
                      <a:pt x="7" y="59"/>
                    </a:lnTo>
                    <a:lnTo>
                      <a:pt x="7" y="51"/>
                    </a:lnTo>
                    <a:lnTo>
                      <a:pt x="7" y="47"/>
                    </a:lnTo>
                    <a:lnTo>
                      <a:pt x="7" y="43"/>
                    </a:lnTo>
                    <a:lnTo>
                      <a:pt x="7" y="39"/>
                    </a:lnTo>
                    <a:lnTo>
                      <a:pt x="4" y="35"/>
                    </a:lnTo>
                    <a:lnTo>
                      <a:pt x="0" y="31"/>
                    </a:lnTo>
                    <a:lnTo>
                      <a:pt x="7" y="27"/>
                    </a:lnTo>
                    <a:lnTo>
                      <a:pt x="11" y="27"/>
                    </a:lnTo>
                    <a:lnTo>
                      <a:pt x="15" y="23"/>
                    </a:lnTo>
                    <a:lnTo>
                      <a:pt x="19" y="19"/>
                    </a:lnTo>
                    <a:lnTo>
                      <a:pt x="23" y="15"/>
                    </a:lnTo>
                    <a:lnTo>
                      <a:pt x="27" y="15"/>
                    </a:lnTo>
                    <a:lnTo>
                      <a:pt x="27" y="11"/>
                    </a:lnTo>
                    <a:lnTo>
                      <a:pt x="31" y="11"/>
                    </a:lnTo>
                    <a:lnTo>
                      <a:pt x="35" y="11"/>
                    </a:lnTo>
                    <a:lnTo>
                      <a:pt x="39" y="7"/>
                    </a:lnTo>
                    <a:lnTo>
                      <a:pt x="43" y="7"/>
                    </a:lnTo>
                    <a:lnTo>
                      <a:pt x="47" y="7"/>
                    </a:lnTo>
                    <a:lnTo>
                      <a:pt x="47" y="11"/>
                    </a:lnTo>
                    <a:lnTo>
                      <a:pt x="51" y="11"/>
                    </a:lnTo>
                    <a:lnTo>
                      <a:pt x="55" y="15"/>
                    </a:lnTo>
                    <a:lnTo>
                      <a:pt x="59" y="19"/>
                    </a:lnTo>
                    <a:lnTo>
                      <a:pt x="59" y="23"/>
                    </a:lnTo>
                    <a:lnTo>
                      <a:pt x="63" y="23"/>
                    </a:lnTo>
                    <a:lnTo>
                      <a:pt x="63" y="27"/>
                    </a:lnTo>
                    <a:lnTo>
                      <a:pt x="63" y="31"/>
                    </a:lnTo>
                    <a:lnTo>
                      <a:pt x="67" y="31"/>
                    </a:lnTo>
                    <a:lnTo>
                      <a:pt x="71" y="31"/>
                    </a:lnTo>
                    <a:lnTo>
                      <a:pt x="71" y="27"/>
                    </a:lnTo>
                    <a:lnTo>
                      <a:pt x="75" y="31"/>
                    </a:lnTo>
                    <a:lnTo>
                      <a:pt x="79" y="31"/>
                    </a:lnTo>
                    <a:lnTo>
                      <a:pt x="83" y="31"/>
                    </a:lnTo>
                    <a:lnTo>
                      <a:pt x="87" y="31"/>
                    </a:lnTo>
                    <a:lnTo>
                      <a:pt x="91" y="31"/>
                    </a:lnTo>
                    <a:lnTo>
                      <a:pt x="91" y="27"/>
                    </a:lnTo>
                    <a:lnTo>
                      <a:pt x="87" y="27"/>
                    </a:lnTo>
                    <a:lnTo>
                      <a:pt x="87" y="23"/>
                    </a:lnTo>
                    <a:lnTo>
                      <a:pt x="87" y="19"/>
                    </a:lnTo>
                    <a:lnTo>
                      <a:pt x="87" y="15"/>
                    </a:lnTo>
                    <a:lnTo>
                      <a:pt x="91" y="15"/>
                    </a:lnTo>
                    <a:lnTo>
                      <a:pt x="91" y="11"/>
                    </a:lnTo>
                    <a:lnTo>
                      <a:pt x="95" y="11"/>
                    </a:lnTo>
                    <a:lnTo>
                      <a:pt x="99" y="11"/>
                    </a:lnTo>
                    <a:lnTo>
                      <a:pt x="103" y="11"/>
                    </a:lnTo>
                    <a:lnTo>
                      <a:pt x="103" y="7"/>
                    </a:lnTo>
                    <a:lnTo>
                      <a:pt x="103" y="4"/>
                    </a:lnTo>
                    <a:lnTo>
                      <a:pt x="107" y="7"/>
                    </a:lnTo>
                    <a:lnTo>
                      <a:pt x="111" y="7"/>
                    </a:lnTo>
                    <a:lnTo>
                      <a:pt x="107" y="4"/>
                    </a:lnTo>
                    <a:lnTo>
                      <a:pt x="107" y="0"/>
                    </a:lnTo>
                    <a:lnTo>
                      <a:pt x="111" y="4"/>
                    </a:lnTo>
                    <a:lnTo>
                      <a:pt x="111" y="0"/>
                    </a:lnTo>
                    <a:lnTo>
                      <a:pt x="115" y="0"/>
                    </a:lnTo>
                    <a:lnTo>
                      <a:pt x="115" y="4"/>
                    </a:lnTo>
                    <a:lnTo>
                      <a:pt x="119" y="4"/>
                    </a:lnTo>
                    <a:lnTo>
                      <a:pt x="123" y="4"/>
                    </a:lnTo>
                    <a:lnTo>
                      <a:pt x="123" y="7"/>
                    </a:lnTo>
                    <a:lnTo>
                      <a:pt x="127" y="7"/>
                    </a:lnTo>
                    <a:lnTo>
                      <a:pt x="131" y="7"/>
                    </a:lnTo>
                    <a:lnTo>
                      <a:pt x="135" y="11"/>
                    </a:lnTo>
                    <a:lnTo>
                      <a:pt x="135" y="15"/>
                    </a:lnTo>
                    <a:lnTo>
                      <a:pt x="135" y="19"/>
                    </a:lnTo>
                    <a:lnTo>
                      <a:pt x="139" y="19"/>
                    </a:lnTo>
                    <a:lnTo>
                      <a:pt x="135" y="19"/>
                    </a:lnTo>
                    <a:lnTo>
                      <a:pt x="135" y="23"/>
                    </a:lnTo>
                    <a:lnTo>
                      <a:pt x="135" y="27"/>
                    </a:lnTo>
                    <a:lnTo>
                      <a:pt x="139" y="27"/>
                    </a:lnTo>
                    <a:lnTo>
                      <a:pt x="139" y="31"/>
                    </a:lnTo>
                    <a:lnTo>
                      <a:pt x="143" y="31"/>
                    </a:lnTo>
                    <a:lnTo>
                      <a:pt x="147" y="31"/>
                    </a:lnTo>
                    <a:lnTo>
                      <a:pt x="151" y="31"/>
                    </a:lnTo>
                    <a:lnTo>
                      <a:pt x="155" y="31"/>
                    </a:lnTo>
                    <a:lnTo>
                      <a:pt x="159" y="31"/>
                    </a:lnTo>
                    <a:lnTo>
                      <a:pt x="163" y="35"/>
                    </a:lnTo>
                    <a:lnTo>
                      <a:pt x="163" y="39"/>
                    </a:lnTo>
                    <a:lnTo>
                      <a:pt x="163" y="43"/>
                    </a:lnTo>
                    <a:lnTo>
                      <a:pt x="167" y="43"/>
                    </a:lnTo>
                    <a:lnTo>
                      <a:pt x="167" y="47"/>
                    </a:lnTo>
                    <a:lnTo>
                      <a:pt x="171" y="47"/>
                    </a:lnTo>
                    <a:lnTo>
                      <a:pt x="171" y="51"/>
                    </a:lnTo>
                    <a:lnTo>
                      <a:pt x="171" y="55"/>
                    </a:lnTo>
                    <a:lnTo>
                      <a:pt x="171" y="59"/>
                    </a:lnTo>
                    <a:lnTo>
                      <a:pt x="175" y="59"/>
                    </a:lnTo>
                    <a:lnTo>
                      <a:pt x="175" y="63"/>
                    </a:lnTo>
                    <a:lnTo>
                      <a:pt x="179" y="63"/>
                    </a:lnTo>
                    <a:lnTo>
                      <a:pt x="183" y="67"/>
                    </a:lnTo>
                    <a:lnTo>
                      <a:pt x="187" y="67"/>
                    </a:lnTo>
                    <a:lnTo>
                      <a:pt x="187" y="71"/>
                    </a:lnTo>
                    <a:lnTo>
                      <a:pt x="191" y="71"/>
                    </a:lnTo>
                    <a:lnTo>
                      <a:pt x="191" y="75"/>
                    </a:lnTo>
                    <a:lnTo>
                      <a:pt x="195" y="75"/>
                    </a:lnTo>
                    <a:lnTo>
                      <a:pt x="195" y="79"/>
                    </a:lnTo>
                    <a:lnTo>
                      <a:pt x="199" y="79"/>
                    </a:lnTo>
                    <a:lnTo>
                      <a:pt x="203" y="79"/>
                    </a:lnTo>
                    <a:lnTo>
                      <a:pt x="203" y="83"/>
                    </a:lnTo>
                    <a:lnTo>
                      <a:pt x="207" y="83"/>
                    </a:lnTo>
                    <a:lnTo>
                      <a:pt x="211" y="87"/>
                    </a:lnTo>
                    <a:lnTo>
                      <a:pt x="215" y="91"/>
                    </a:lnTo>
                    <a:lnTo>
                      <a:pt x="219" y="91"/>
                    </a:lnTo>
                    <a:lnTo>
                      <a:pt x="219" y="95"/>
                    </a:lnTo>
                    <a:lnTo>
                      <a:pt x="223" y="95"/>
                    </a:lnTo>
                    <a:lnTo>
                      <a:pt x="223" y="91"/>
                    </a:lnTo>
                    <a:lnTo>
                      <a:pt x="227" y="95"/>
                    </a:lnTo>
                    <a:lnTo>
                      <a:pt x="231" y="95"/>
                    </a:lnTo>
                    <a:lnTo>
                      <a:pt x="231" y="99"/>
                    </a:lnTo>
                    <a:lnTo>
                      <a:pt x="235" y="99"/>
                    </a:lnTo>
                    <a:lnTo>
                      <a:pt x="235" y="103"/>
                    </a:lnTo>
                    <a:lnTo>
                      <a:pt x="231" y="107"/>
                    </a:lnTo>
                    <a:lnTo>
                      <a:pt x="231" y="111"/>
                    </a:lnTo>
                    <a:lnTo>
                      <a:pt x="235" y="111"/>
                    </a:lnTo>
                    <a:lnTo>
                      <a:pt x="231" y="111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1" name="Freeform 50">
                <a:extLst>
                  <a:ext uri="{FF2B5EF4-FFF2-40B4-BE49-F238E27FC236}">
                    <a16:creationId xmlns:a16="http://schemas.microsoft.com/office/drawing/2014/main" id="{795ABEEA-A227-4ED3-8176-AFEEA9650C68}"/>
                  </a:ext>
                </a:extLst>
              </p:cNvPr>
              <p:cNvSpPr>
                <a:spLocks noEditPoint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777556" y="5354269"/>
                <a:ext cx="90764" cy="80679"/>
              </a:xfrm>
              <a:custGeom>
                <a:avLst/>
                <a:gdLst/>
                <a:ahLst/>
                <a:cxnLst>
                  <a:cxn ang="0">
                    <a:pos x="72" y="16"/>
                  </a:cxn>
                  <a:cxn ang="0">
                    <a:pos x="72" y="20"/>
                  </a:cxn>
                  <a:cxn ang="0">
                    <a:pos x="72" y="20"/>
                  </a:cxn>
                  <a:cxn ang="0">
                    <a:pos x="72" y="24"/>
                  </a:cxn>
                  <a:cxn ang="0">
                    <a:pos x="68" y="24"/>
                  </a:cxn>
                  <a:cxn ang="0">
                    <a:pos x="68" y="24"/>
                  </a:cxn>
                  <a:cxn ang="0">
                    <a:pos x="68" y="24"/>
                  </a:cxn>
                  <a:cxn ang="0">
                    <a:pos x="68" y="20"/>
                  </a:cxn>
                  <a:cxn ang="0">
                    <a:pos x="64" y="20"/>
                  </a:cxn>
                  <a:cxn ang="0">
                    <a:pos x="64" y="24"/>
                  </a:cxn>
                  <a:cxn ang="0">
                    <a:pos x="64" y="28"/>
                  </a:cxn>
                  <a:cxn ang="0">
                    <a:pos x="64" y="32"/>
                  </a:cxn>
                  <a:cxn ang="0">
                    <a:pos x="64" y="36"/>
                  </a:cxn>
                  <a:cxn ang="0">
                    <a:pos x="68" y="40"/>
                  </a:cxn>
                  <a:cxn ang="0">
                    <a:pos x="60" y="40"/>
                  </a:cxn>
                  <a:cxn ang="0">
                    <a:pos x="60" y="44"/>
                  </a:cxn>
                  <a:cxn ang="0">
                    <a:pos x="56" y="52"/>
                  </a:cxn>
                  <a:cxn ang="0">
                    <a:pos x="56" y="56"/>
                  </a:cxn>
                  <a:cxn ang="0">
                    <a:pos x="56" y="60"/>
                  </a:cxn>
                  <a:cxn ang="0">
                    <a:pos x="52" y="64"/>
                  </a:cxn>
                  <a:cxn ang="0">
                    <a:pos x="0" y="36"/>
                  </a:cxn>
                  <a:cxn ang="0">
                    <a:pos x="0" y="36"/>
                  </a:cxn>
                  <a:cxn ang="0">
                    <a:pos x="4" y="40"/>
                  </a:cxn>
                  <a:cxn ang="0">
                    <a:pos x="8" y="40"/>
                  </a:cxn>
                  <a:cxn ang="0">
                    <a:pos x="12" y="36"/>
                  </a:cxn>
                  <a:cxn ang="0">
                    <a:pos x="16" y="36"/>
                  </a:cxn>
                  <a:cxn ang="0">
                    <a:pos x="20" y="36"/>
                  </a:cxn>
                  <a:cxn ang="0">
                    <a:pos x="28" y="36"/>
                  </a:cxn>
                  <a:cxn ang="0">
                    <a:pos x="28" y="40"/>
                  </a:cxn>
                  <a:cxn ang="0">
                    <a:pos x="40" y="36"/>
                  </a:cxn>
                  <a:cxn ang="0">
                    <a:pos x="44" y="32"/>
                  </a:cxn>
                  <a:cxn ang="0">
                    <a:pos x="44" y="32"/>
                  </a:cxn>
                  <a:cxn ang="0">
                    <a:pos x="44" y="24"/>
                  </a:cxn>
                  <a:cxn ang="0">
                    <a:pos x="52" y="20"/>
                  </a:cxn>
                  <a:cxn ang="0">
                    <a:pos x="52" y="16"/>
                  </a:cxn>
                  <a:cxn ang="0">
                    <a:pos x="56" y="16"/>
                  </a:cxn>
                  <a:cxn ang="0">
                    <a:pos x="56" y="16"/>
                  </a:cxn>
                  <a:cxn ang="0">
                    <a:pos x="56" y="12"/>
                  </a:cxn>
                  <a:cxn ang="0">
                    <a:pos x="60" y="12"/>
                  </a:cxn>
                  <a:cxn ang="0">
                    <a:pos x="60" y="8"/>
                  </a:cxn>
                  <a:cxn ang="0">
                    <a:pos x="60" y="8"/>
                  </a:cxn>
                  <a:cxn ang="0">
                    <a:pos x="64" y="8"/>
                  </a:cxn>
                  <a:cxn ang="0">
                    <a:pos x="68" y="0"/>
                  </a:cxn>
                  <a:cxn ang="0">
                    <a:pos x="68" y="4"/>
                  </a:cxn>
                  <a:cxn ang="0">
                    <a:pos x="68" y="8"/>
                  </a:cxn>
                  <a:cxn ang="0">
                    <a:pos x="72" y="8"/>
                  </a:cxn>
                  <a:cxn ang="0">
                    <a:pos x="44" y="32"/>
                  </a:cxn>
                  <a:cxn ang="0">
                    <a:pos x="32" y="36"/>
                  </a:cxn>
                  <a:cxn ang="0">
                    <a:pos x="32" y="36"/>
                  </a:cxn>
                  <a:cxn ang="0">
                    <a:pos x="32" y="36"/>
                  </a:cxn>
                  <a:cxn ang="0">
                    <a:pos x="36" y="36"/>
                  </a:cxn>
                  <a:cxn ang="0">
                    <a:pos x="32" y="36"/>
                  </a:cxn>
                </a:cxnLst>
                <a:rect l="0" t="0" r="r" b="b"/>
                <a:pathLst>
                  <a:path w="72" h="64">
                    <a:moveTo>
                      <a:pt x="72" y="12"/>
                    </a:moveTo>
                    <a:lnTo>
                      <a:pt x="72" y="12"/>
                    </a:lnTo>
                    <a:lnTo>
                      <a:pt x="72" y="12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72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4" y="24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28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2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4" y="36"/>
                    </a:lnTo>
                    <a:lnTo>
                      <a:pt x="68" y="40"/>
                    </a:lnTo>
                    <a:lnTo>
                      <a:pt x="68" y="40"/>
                    </a:lnTo>
                    <a:lnTo>
                      <a:pt x="64" y="40"/>
                    </a:lnTo>
                    <a:lnTo>
                      <a:pt x="64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0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4"/>
                    </a:lnTo>
                    <a:lnTo>
                      <a:pt x="52" y="64"/>
                    </a:lnTo>
                    <a:lnTo>
                      <a:pt x="16" y="6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32" y="40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4" y="36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28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12"/>
                    </a:lnTo>
                    <a:lnTo>
                      <a:pt x="72" y="12"/>
                    </a:lnTo>
                    <a:lnTo>
                      <a:pt x="72" y="12"/>
                    </a:lnTo>
                    <a:close/>
                    <a:moveTo>
                      <a:pt x="44" y="32"/>
                    </a:moveTo>
                    <a:lnTo>
                      <a:pt x="40" y="32"/>
                    </a:lnTo>
                    <a:lnTo>
                      <a:pt x="40" y="28"/>
                    </a:lnTo>
                    <a:lnTo>
                      <a:pt x="44" y="32"/>
                    </a:lnTo>
                    <a:close/>
                    <a:moveTo>
                      <a:pt x="32" y="36"/>
                    </a:move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2" y="36"/>
                    </a:lnTo>
                    <a:lnTo>
                      <a:pt x="32" y="3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2" name="Freeform 51">
                <a:extLst>
                  <a:ext uri="{FF2B5EF4-FFF2-40B4-BE49-F238E27FC236}">
                    <a16:creationId xmlns:a16="http://schemas.microsoft.com/office/drawing/2014/main" id="{9A80F09B-63B9-4E94-8D45-A44853C42474}"/>
                  </a:ext>
                </a:extLst>
              </p:cNvPr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863277" y="4856331"/>
                <a:ext cx="327757" cy="220605"/>
              </a:xfrm>
              <a:custGeom>
                <a:avLst/>
                <a:gdLst/>
                <a:ahLst/>
                <a:cxnLst>
                  <a:cxn ang="0">
                    <a:pos x="180" y="127"/>
                  </a:cxn>
                  <a:cxn ang="0">
                    <a:pos x="172" y="135"/>
                  </a:cxn>
                  <a:cxn ang="0">
                    <a:pos x="184" y="143"/>
                  </a:cxn>
                  <a:cxn ang="0">
                    <a:pos x="188" y="155"/>
                  </a:cxn>
                  <a:cxn ang="0">
                    <a:pos x="176" y="167"/>
                  </a:cxn>
                  <a:cxn ang="0">
                    <a:pos x="168" y="175"/>
                  </a:cxn>
                  <a:cxn ang="0">
                    <a:pos x="156" y="167"/>
                  </a:cxn>
                  <a:cxn ang="0">
                    <a:pos x="152" y="155"/>
                  </a:cxn>
                  <a:cxn ang="0">
                    <a:pos x="140" y="151"/>
                  </a:cxn>
                  <a:cxn ang="0">
                    <a:pos x="124" y="139"/>
                  </a:cxn>
                  <a:cxn ang="0">
                    <a:pos x="112" y="131"/>
                  </a:cxn>
                  <a:cxn ang="0">
                    <a:pos x="100" y="119"/>
                  </a:cxn>
                  <a:cxn ang="0">
                    <a:pos x="92" y="107"/>
                  </a:cxn>
                  <a:cxn ang="0">
                    <a:pos x="84" y="91"/>
                  </a:cxn>
                  <a:cxn ang="0">
                    <a:pos x="64" y="91"/>
                  </a:cxn>
                  <a:cxn ang="0">
                    <a:pos x="64" y="79"/>
                  </a:cxn>
                  <a:cxn ang="0">
                    <a:pos x="52" y="67"/>
                  </a:cxn>
                  <a:cxn ang="0">
                    <a:pos x="40" y="60"/>
                  </a:cxn>
                  <a:cxn ang="0">
                    <a:pos x="36" y="67"/>
                  </a:cxn>
                  <a:cxn ang="0">
                    <a:pos x="24" y="71"/>
                  </a:cxn>
                  <a:cxn ang="0">
                    <a:pos x="12" y="79"/>
                  </a:cxn>
                  <a:cxn ang="0">
                    <a:pos x="12" y="91"/>
                  </a:cxn>
                  <a:cxn ang="0">
                    <a:pos x="0" y="83"/>
                  </a:cxn>
                  <a:cxn ang="0">
                    <a:pos x="0" y="56"/>
                  </a:cxn>
                  <a:cxn ang="0">
                    <a:pos x="0" y="24"/>
                  </a:cxn>
                  <a:cxn ang="0">
                    <a:pos x="16" y="8"/>
                  </a:cxn>
                  <a:cxn ang="0">
                    <a:pos x="36" y="0"/>
                  </a:cxn>
                  <a:cxn ang="0">
                    <a:pos x="88" y="40"/>
                  </a:cxn>
                  <a:cxn ang="0">
                    <a:pos x="112" y="40"/>
                  </a:cxn>
                  <a:cxn ang="0">
                    <a:pos x="136" y="40"/>
                  </a:cxn>
                  <a:cxn ang="0">
                    <a:pos x="144" y="52"/>
                  </a:cxn>
                  <a:cxn ang="0">
                    <a:pos x="152" y="67"/>
                  </a:cxn>
                  <a:cxn ang="0">
                    <a:pos x="160" y="87"/>
                  </a:cxn>
                  <a:cxn ang="0">
                    <a:pos x="176" y="91"/>
                  </a:cxn>
                  <a:cxn ang="0">
                    <a:pos x="184" y="103"/>
                  </a:cxn>
                  <a:cxn ang="0">
                    <a:pos x="192" y="99"/>
                  </a:cxn>
                  <a:cxn ang="0">
                    <a:pos x="204" y="83"/>
                  </a:cxn>
                  <a:cxn ang="0">
                    <a:pos x="220" y="75"/>
                  </a:cxn>
                  <a:cxn ang="0">
                    <a:pos x="224" y="75"/>
                  </a:cxn>
                  <a:cxn ang="0">
                    <a:pos x="212" y="83"/>
                  </a:cxn>
                  <a:cxn ang="0">
                    <a:pos x="224" y="91"/>
                  </a:cxn>
                  <a:cxn ang="0">
                    <a:pos x="232" y="91"/>
                  </a:cxn>
                  <a:cxn ang="0">
                    <a:pos x="240" y="91"/>
                  </a:cxn>
                  <a:cxn ang="0">
                    <a:pos x="256" y="99"/>
                  </a:cxn>
                  <a:cxn ang="0">
                    <a:pos x="252" y="107"/>
                  </a:cxn>
                  <a:cxn ang="0">
                    <a:pos x="240" y="111"/>
                  </a:cxn>
                  <a:cxn ang="0">
                    <a:pos x="220" y="111"/>
                  </a:cxn>
                  <a:cxn ang="0">
                    <a:pos x="224" y="103"/>
                  </a:cxn>
                  <a:cxn ang="0">
                    <a:pos x="216" y="99"/>
                  </a:cxn>
                  <a:cxn ang="0">
                    <a:pos x="204" y="99"/>
                  </a:cxn>
                  <a:cxn ang="0">
                    <a:pos x="196" y="111"/>
                  </a:cxn>
                  <a:cxn ang="0">
                    <a:pos x="196" y="115"/>
                  </a:cxn>
                </a:cxnLst>
                <a:rect l="0" t="0" r="r" b="b"/>
                <a:pathLst>
                  <a:path w="260" h="175">
                    <a:moveTo>
                      <a:pt x="188" y="119"/>
                    </a:moveTo>
                    <a:lnTo>
                      <a:pt x="188" y="123"/>
                    </a:lnTo>
                    <a:lnTo>
                      <a:pt x="188" y="127"/>
                    </a:lnTo>
                    <a:lnTo>
                      <a:pt x="184" y="127"/>
                    </a:lnTo>
                    <a:lnTo>
                      <a:pt x="180" y="127"/>
                    </a:lnTo>
                    <a:lnTo>
                      <a:pt x="180" y="123"/>
                    </a:lnTo>
                    <a:lnTo>
                      <a:pt x="176" y="123"/>
                    </a:lnTo>
                    <a:lnTo>
                      <a:pt x="172" y="127"/>
                    </a:lnTo>
                    <a:lnTo>
                      <a:pt x="172" y="131"/>
                    </a:lnTo>
                    <a:lnTo>
                      <a:pt x="172" y="135"/>
                    </a:lnTo>
                    <a:lnTo>
                      <a:pt x="176" y="135"/>
                    </a:lnTo>
                    <a:lnTo>
                      <a:pt x="176" y="139"/>
                    </a:lnTo>
                    <a:lnTo>
                      <a:pt x="180" y="139"/>
                    </a:lnTo>
                    <a:lnTo>
                      <a:pt x="184" y="139"/>
                    </a:lnTo>
                    <a:lnTo>
                      <a:pt x="184" y="143"/>
                    </a:lnTo>
                    <a:lnTo>
                      <a:pt x="180" y="143"/>
                    </a:lnTo>
                    <a:lnTo>
                      <a:pt x="180" y="147"/>
                    </a:lnTo>
                    <a:lnTo>
                      <a:pt x="184" y="151"/>
                    </a:lnTo>
                    <a:lnTo>
                      <a:pt x="184" y="155"/>
                    </a:lnTo>
                    <a:lnTo>
                      <a:pt x="188" y="155"/>
                    </a:lnTo>
                    <a:lnTo>
                      <a:pt x="184" y="155"/>
                    </a:lnTo>
                    <a:lnTo>
                      <a:pt x="184" y="159"/>
                    </a:lnTo>
                    <a:lnTo>
                      <a:pt x="180" y="163"/>
                    </a:lnTo>
                    <a:lnTo>
                      <a:pt x="180" y="167"/>
                    </a:lnTo>
                    <a:lnTo>
                      <a:pt x="176" y="167"/>
                    </a:lnTo>
                    <a:lnTo>
                      <a:pt x="176" y="171"/>
                    </a:lnTo>
                    <a:lnTo>
                      <a:pt x="176" y="175"/>
                    </a:lnTo>
                    <a:lnTo>
                      <a:pt x="172" y="171"/>
                    </a:lnTo>
                    <a:lnTo>
                      <a:pt x="172" y="175"/>
                    </a:lnTo>
                    <a:lnTo>
                      <a:pt x="168" y="175"/>
                    </a:lnTo>
                    <a:lnTo>
                      <a:pt x="168" y="171"/>
                    </a:lnTo>
                    <a:lnTo>
                      <a:pt x="164" y="171"/>
                    </a:lnTo>
                    <a:lnTo>
                      <a:pt x="160" y="171"/>
                    </a:lnTo>
                    <a:lnTo>
                      <a:pt x="156" y="171"/>
                    </a:lnTo>
                    <a:lnTo>
                      <a:pt x="156" y="167"/>
                    </a:lnTo>
                    <a:lnTo>
                      <a:pt x="160" y="163"/>
                    </a:lnTo>
                    <a:lnTo>
                      <a:pt x="160" y="159"/>
                    </a:lnTo>
                    <a:lnTo>
                      <a:pt x="156" y="159"/>
                    </a:lnTo>
                    <a:lnTo>
                      <a:pt x="156" y="155"/>
                    </a:lnTo>
                    <a:lnTo>
                      <a:pt x="152" y="155"/>
                    </a:lnTo>
                    <a:lnTo>
                      <a:pt x="148" y="151"/>
                    </a:lnTo>
                    <a:lnTo>
                      <a:pt x="148" y="155"/>
                    </a:lnTo>
                    <a:lnTo>
                      <a:pt x="144" y="155"/>
                    </a:lnTo>
                    <a:lnTo>
                      <a:pt x="144" y="151"/>
                    </a:lnTo>
                    <a:lnTo>
                      <a:pt x="140" y="151"/>
                    </a:lnTo>
                    <a:lnTo>
                      <a:pt x="136" y="147"/>
                    </a:lnTo>
                    <a:lnTo>
                      <a:pt x="132" y="143"/>
                    </a:lnTo>
                    <a:lnTo>
                      <a:pt x="128" y="143"/>
                    </a:lnTo>
                    <a:lnTo>
                      <a:pt x="128" y="139"/>
                    </a:lnTo>
                    <a:lnTo>
                      <a:pt x="124" y="139"/>
                    </a:lnTo>
                    <a:lnTo>
                      <a:pt x="120" y="139"/>
                    </a:lnTo>
                    <a:lnTo>
                      <a:pt x="120" y="135"/>
                    </a:lnTo>
                    <a:lnTo>
                      <a:pt x="116" y="135"/>
                    </a:lnTo>
                    <a:lnTo>
                      <a:pt x="116" y="131"/>
                    </a:lnTo>
                    <a:lnTo>
                      <a:pt x="112" y="131"/>
                    </a:lnTo>
                    <a:lnTo>
                      <a:pt x="112" y="127"/>
                    </a:lnTo>
                    <a:lnTo>
                      <a:pt x="108" y="127"/>
                    </a:lnTo>
                    <a:lnTo>
                      <a:pt x="104" y="123"/>
                    </a:lnTo>
                    <a:lnTo>
                      <a:pt x="100" y="123"/>
                    </a:lnTo>
                    <a:lnTo>
                      <a:pt x="100" y="119"/>
                    </a:lnTo>
                    <a:lnTo>
                      <a:pt x="96" y="119"/>
                    </a:lnTo>
                    <a:lnTo>
                      <a:pt x="96" y="115"/>
                    </a:lnTo>
                    <a:lnTo>
                      <a:pt x="96" y="111"/>
                    </a:lnTo>
                    <a:lnTo>
                      <a:pt x="96" y="107"/>
                    </a:lnTo>
                    <a:lnTo>
                      <a:pt x="92" y="107"/>
                    </a:lnTo>
                    <a:lnTo>
                      <a:pt x="92" y="103"/>
                    </a:lnTo>
                    <a:lnTo>
                      <a:pt x="88" y="103"/>
                    </a:lnTo>
                    <a:lnTo>
                      <a:pt x="88" y="99"/>
                    </a:lnTo>
                    <a:lnTo>
                      <a:pt x="88" y="95"/>
                    </a:lnTo>
                    <a:lnTo>
                      <a:pt x="84" y="91"/>
                    </a:lnTo>
                    <a:lnTo>
                      <a:pt x="80" y="91"/>
                    </a:lnTo>
                    <a:lnTo>
                      <a:pt x="76" y="91"/>
                    </a:lnTo>
                    <a:lnTo>
                      <a:pt x="72" y="91"/>
                    </a:lnTo>
                    <a:lnTo>
                      <a:pt x="68" y="91"/>
                    </a:lnTo>
                    <a:lnTo>
                      <a:pt x="64" y="91"/>
                    </a:lnTo>
                    <a:lnTo>
                      <a:pt x="64" y="87"/>
                    </a:lnTo>
                    <a:lnTo>
                      <a:pt x="60" y="87"/>
                    </a:lnTo>
                    <a:lnTo>
                      <a:pt x="60" y="83"/>
                    </a:lnTo>
                    <a:lnTo>
                      <a:pt x="60" y="79"/>
                    </a:lnTo>
                    <a:lnTo>
                      <a:pt x="64" y="79"/>
                    </a:lnTo>
                    <a:lnTo>
                      <a:pt x="60" y="79"/>
                    </a:lnTo>
                    <a:lnTo>
                      <a:pt x="60" y="75"/>
                    </a:lnTo>
                    <a:lnTo>
                      <a:pt x="60" y="71"/>
                    </a:lnTo>
                    <a:lnTo>
                      <a:pt x="56" y="67"/>
                    </a:lnTo>
                    <a:lnTo>
                      <a:pt x="52" y="67"/>
                    </a:lnTo>
                    <a:lnTo>
                      <a:pt x="48" y="67"/>
                    </a:lnTo>
                    <a:lnTo>
                      <a:pt x="48" y="64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6" y="64"/>
                    </a:lnTo>
                    <a:lnTo>
                      <a:pt x="32" y="60"/>
                    </a:lnTo>
                    <a:lnTo>
                      <a:pt x="32" y="64"/>
                    </a:lnTo>
                    <a:lnTo>
                      <a:pt x="36" y="67"/>
                    </a:lnTo>
                    <a:lnTo>
                      <a:pt x="32" y="67"/>
                    </a:lnTo>
                    <a:lnTo>
                      <a:pt x="28" y="64"/>
                    </a:lnTo>
                    <a:lnTo>
                      <a:pt x="28" y="67"/>
                    </a:lnTo>
                    <a:lnTo>
                      <a:pt x="28" y="71"/>
                    </a:lnTo>
                    <a:lnTo>
                      <a:pt x="24" y="71"/>
                    </a:lnTo>
                    <a:lnTo>
                      <a:pt x="20" y="71"/>
                    </a:lnTo>
                    <a:lnTo>
                      <a:pt x="16" y="71"/>
                    </a:lnTo>
                    <a:lnTo>
                      <a:pt x="16" y="75"/>
                    </a:lnTo>
                    <a:lnTo>
                      <a:pt x="12" y="75"/>
                    </a:lnTo>
                    <a:lnTo>
                      <a:pt x="12" y="79"/>
                    </a:lnTo>
                    <a:lnTo>
                      <a:pt x="12" y="83"/>
                    </a:lnTo>
                    <a:lnTo>
                      <a:pt x="12" y="87"/>
                    </a:lnTo>
                    <a:lnTo>
                      <a:pt x="16" y="87"/>
                    </a:lnTo>
                    <a:lnTo>
                      <a:pt x="16" y="91"/>
                    </a:lnTo>
                    <a:lnTo>
                      <a:pt x="12" y="91"/>
                    </a:lnTo>
                    <a:lnTo>
                      <a:pt x="8" y="91"/>
                    </a:lnTo>
                    <a:lnTo>
                      <a:pt x="4" y="91"/>
                    </a:lnTo>
                    <a:lnTo>
                      <a:pt x="0" y="91"/>
                    </a:lnTo>
                    <a:lnTo>
                      <a:pt x="0" y="87"/>
                    </a:lnTo>
                    <a:lnTo>
                      <a:pt x="0" y="83"/>
                    </a:lnTo>
                    <a:lnTo>
                      <a:pt x="0" y="79"/>
                    </a:lnTo>
                    <a:lnTo>
                      <a:pt x="0" y="71"/>
                    </a:lnTo>
                    <a:lnTo>
                      <a:pt x="0" y="64"/>
                    </a:lnTo>
                    <a:lnTo>
                      <a:pt x="0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24"/>
                    </a:lnTo>
                    <a:lnTo>
                      <a:pt x="0" y="16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16" y="8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52" y="12"/>
                    </a:lnTo>
                    <a:lnTo>
                      <a:pt x="76" y="28"/>
                    </a:lnTo>
                    <a:lnTo>
                      <a:pt x="80" y="32"/>
                    </a:lnTo>
                    <a:lnTo>
                      <a:pt x="84" y="36"/>
                    </a:lnTo>
                    <a:lnTo>
                      <a:pt x="88" y="40"/>
                    </a:lnTo>
                    <a:lnTo>
                      <a:pt x="88" y="44"/>
                    </a:lnTo>
                    <a:lnTo>
                      <a:pt x="96" y="44"/>
                    </a:lnTo>
                    <a:lnTo>
                      <a:pt x="100" y="44"/>
                    </a:lnTo>
                    <a:lnTo>
                      <a:pt x="108" y="40"/>
                    </a:lnTo>
                    <a:lnTo>
                      <a:pt x="112" y="40"/>
                    </a:lnTo>
                    <a:lnTo>
                      <a:pt x="116" y="44"/>
                    </a:lnTo>
                    <a:lnTo>
                      <a:pt x="120" y="44"/>
                    </a:lnTo>
                    <a:lnTo>
                      <a:pt x="128" y="44"/>
                    </a:lnTo>
                    <a:lnTo>
                      <a:pt x="132" y="40"/>
                    </a:lnTo>
                    <a:lnTo>
                      <a:pt x="136" y="40"/>
                    </a:lnTo>
                    <a:lnTo>
                      <a:pt x="136" y="44"/>
                    </a:lnTo>
                    <a:lnTo>
                      <a:pt x="140" y="44"/>
                    </a:lnTo>
                    <a:lnTo>
                      <a:pt x="140" y="48"/>
                    </a:lnTo>
                    <a:lnTo>
                      <a:pt x="144" y="48"/>
                    </a:lnTo>
                    <a:lnTo>
                      <a:pt x="144" y="52"/>
                    </a:lnTo>
                    <a:lnTo>
                      <a:pt x="148" y="56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2" y="67"/>
                    </a:lnTo>
                    <a:lnTo>
                      <a:pt x="152" y="71"/>
                    </a:lnTo>
                    <a:lnTo>
                      <a:pt x="152" y="75"/>
                    </a:lnTo>
                    <a:lnTo>
                      <a:pt x="156" y="75"/>
                    </a:lnTo>
                    <a:lnTo>
                      <a:pt x="160" y="79"/>
                    </a:lnTo>
                    <a:lnTo>
                      <a:pt x="160" y="87"/>
                    </a:lnTo>
                    <a:lnTo>
                      <a:pt x="160" y="91"/>
                    </a:lnTo>
                    <a:lnTo>
                      <a:pt x="164" y="91"/>
                    </a:lnTo>
                    <a:lnTo>
                      <a:pt x="168" y="91"/>
                    </a:lnTo>
                    <a:lnTo>
                      <a:pt x="172" y="91"/>
                    </a:lnTo>
                    <a:lnTo>
                      <a:pt x="176" y="91"/>
                    </a:lnTo>
                    <a:lnTo>
                      <a:pt x="180" y="91"/>
                    </a:lnTo>
                    <a:lnTo>
                      <a:pt x="180" y="95"/>
                    </a:lnTo>
                    <a:lnTo>
                      <a:pt x="184" y="95"/>
                    </a:lnTo>
                    <a:lnTo>
                      <a:pt x="180" y="99"/>
                    </a:lnTo>
                    <a:lnTo>
                      <a:pt x="184" y="103"/>
                    </a:lnTo>
                    <a:lnTo>
                      <a:pt x="188" y="103"/>
                    </a:lnTo>
                    <a:lnTo>
                      <a:pt x="192" y="103"/>
                    </a:lnTo>
                    <a:lnTo>
                      <a:pt x="188" y="103"/>
                    </a:lnTo>
                    <a:lnTo>
                      <a:pt x="188" y="99"/>
                    </a:lnTo>
                    <a:lnTo>
                      <a:pt x="192" y="99"/>
                    </a:lnTo>
                    <a:lnTo>
                      <a:pt x="192" y="95"/>
                    </a:lnTo>
                    <a:lnTo>
                      <a:pt x="196" y="91"/>
                    </a:lnTo>
                    <a:lnTo>
                      <a:pt x="196" y="87"/>
                    </a:lnTo>
                    <a:lnTo>
                      <a:pt x="200" y="87"/>
                    </a:lnTo>
                    <a:lnTo>
                      <a:pt x="204" y="83"/>
                    </a:lnTo>
                    <a:lnTo>
                      <a:pt x="208" y="83"/>
                    </a:lnTo>
                    <a:lnTo>
                      <a:pt x="212" y="79"/>
                    </a:lnTo>
                    <a:lnTo>
                      <a:pt x="216" y="75"/>
                    </a:lnTo>
                    <a:lnTo>
                      <a:pt x="216" y="71"/>
                    </a:lnTo>
                    <a:lnTo>
                      <a:pt x="220" y="75"/>
                    </a:lnTo>
                    <a:lnTo>
                      <a:pt x="220" y="71"/>
                    </a:lnTo>
                    <a:lnTo>
                      <a:pt x="224" y="71"/>
                    </a:lnTo>
                    <a:lnTo>
                      <a:pt x="228" y="67"/>
                    </a:lnTo>
                    <a:lnTo>
                      <a:pt x="228" y="71"/>
                    </a:lnTo>
                    <a:lnTo>
                      <a:pt x="224" y="75"/>
                    </a:lnTo>
                    <a:lnTo>
                      <a:pt x="220" y="75"/>
                    </a:lnTo>
                    <a:lnTo>
                      <a:pt x="220" y="79"/>
                    </a:lnTo>
                    <a:lnTo>
                      <a:pt x="216" y="79"/>
                    </a:lnTo>
                    <a:lnTo>
                      <a:pt x="216" y="83"/>
                    </a:lnTo>
                    <a:lnTo>
                      <a:pt x="212" y="83"/>
                    </a:lnTo>
                    <a:lnTo>
                      <a:pt x="212" y="87"/>
                    </a:lnTo>
                    <a:lnTo>
                      <a:pt x="216" y="87"/>
                    </a:lnTo>
                    <a:lnTo>
                      <a:pt x="220" y="87"/>
                    </a:lnTo>
                    <a:lnTo>
                      <a:pt x="224" y="87"/>
                    </a:lnTo>
                    <a:lnTo>
                      <a:pt x="224" y="91"/>
                    </a:lnTo>
                    <a:lnTo>
                      <a:pt x="228" y="91"/>
                    </a:lnTo>
                    <a:lnTo>
                      <a:pt x="232" y="95"/>
                    </a:lnTo>
                    <a:lnTo>
                      <a:pt x="232" y="91"/>
                    </a:lnTo>
                    <a:lnTo>
                      <a:pt x="232" y="87"/>
                    </a:lnTo>
                    <a:lnTo>
                      <a:pt x="232" y="91"/>
                    </a:lnTo>
                    <a:lnTo>
                      <a:pt x="236" y="91"/>
                    </a:lnTo>
                    <a:lnTo>
                      <a:pt x="236" y="87"/>
                    </a:lnTo>
                    <a:lnTo>
                      <a:pt x="236" y="83"/>
                    </a:lnTo>
                    <a:lnTo>
                      <a:pt x="240" y="87"/>
                    </a:lnTo>
                    <a:lnTo>
                      <a:pt x="240" y="91"/>
                    </a:lnTo>
                    <a:lnTo>
                      <a:pt x="244" y="91"/>
                    </a:lnTo>
                    <a:lnTo>
                      <a:pt x="244" y="95"/>
                    </a:lnTo>
                    <a:lnTo>
                      <a:pt x="248" y="95"/>
                    </a:lnTo>
                    <a:lnTo>
                      <a:pt x="252" y="99"/>
                    </a:lnTo>
                    <a:lnTo>
                      <a:pt x="256" y="99"/>
                    </a:lnTo>
                    <a:lnTo>
                      <a:pt x="260" y="99"/>
                    </a:lnTo>
                    <a:lnTo>
                      <a:pt x="256" y="99"/>
                    </a:lnTo>
                    <a:lnTo>
                      <a:pt x="256" y="103"/>
                    </a:lnTo>
                    <a:lnTo>
                      <a:pt x="252" y="103"/>
                    </a:lnTo>
                    <a:lnTo>
                      <a:pt x="252" y="107"/>
                    </a:lnTo>
                    <a:lnTo>
                      <a:pt x="248" y="107"/>
                    </a:lnTo>
                    <a:lnTo>
                      <a:pt x="248" y="103"/>
                    </a:lnTo>
                    <a:lnTo>
                      <a:pt x="248" y="107"/>
                    </a:lnTo>
                    <a:lnTo>
                      <a:pt x="244" y="107"/>
                    </a:lnTo>
                    <a:lnTo>
                      <a:pt x="240" y="111"/>
                    </a:lnTo>
                    <a:lnTo>
                      <a:pt x="236" y="115"/>
                    </a:lnTo>
                    <a:lnTo>
                      <a:pt x="232" y="111"/>
                    </a:lnTo>
                    <a:lnTo>
                      <a:pt x="228" y="111"/>
                    </a:lnTo>
                    <a:lnTo>
                      <a:pt x="224" y="111"/>
                    </a:lnTo>
                    <a:lnTo>
                      <a:pt x="220" y="111"/>
                    </a:lnTo>
                    <a:lnTo>
                      <a:pt x="216" y="111"/>
                    </a:lnTo>
                    <a:lnTo>
                      <a:pt x="216" y="107"/>
                    </a:lnTo>
                    <a:lnTo>
                      <a:pt x="220" y="107"/>
                    </a:lnTo>
                    <a:lnTo>
                      <a:pt x="220" y="103"/>
                    </a:lnTo>
                    <a:lnTo>
                      <a:pt x="224" y="103"/>
                    </a:lnTo>
                    <a:lnTo>
                      <a:pt x="224" y="99"/>
                    </a:lnTo>
                    <a:lnTo>
                      <a:pt x="220" y="99"/>
                    </a:lnTo>
                    <a:lnTo>
                      <a:pt x="220" y="95"/>
                    </a:lnTo>
                    <a:lnTo>
                      <a:pt x="216" y="95"/>
                    </a:lnTo>
                    <a:lnTo>
                      <a:pt x="216" y="99"/>
                    </a:lnTo>
                    <a:lnTo>
                      <a:pt x="212" y="99"/>
                    </a:lnTo>
                    <a:lnTo>
                      <a:pt x="212" y="103"/>
                    </a:lnTo>
                    <a:lnTo>
                      <a:pt x="208" y="103"/>
                    </a:lnTo>
                    <a:lnTo>
                      <a:pt x="204" y="103"/>
                    </a:lnTo>
                    <a:lnTo>
                      <a:pt x="204" y="99"/>
                    </a:lnTo>
                    <a:lnTo>
                      <a:pt x="200" y="99"/>
                    </a:lnTo>
                    <a:lnTo>
                      <a:pt x="200" y="103"/>
                    </a:lnTo>
                    <a:lnTo>
                      <a:pt x="200" y="107"/>
                    </a:lnTo>
                    <a:lnTo>
                      <a:pt x="200" y="111"/>
                    </a:lnTo>
                    <a:lnTo>
                      <a:pt x="196" y="111"/>
                    </a:lnTo>
                    <a:lnTo>
                      <a:pt x="192" y="111"/>
                    </a:lnTo>
                    <a:lnTo>
                      <a:pt x="188" y="111"/>
                    </a:lnTo>
                    <a:lnTo>
                      <a:pt x="188" y="115"/>
                    </a:lnTo>
                    <a:lnTo>
                      <a:pt x="192" y="115"/>
                    </a:lnTo>
                    <a:lnTo>
                      <a:pt x="196" y="115"/>
                    </a:lnTo>
                    <a:lnTo>
                      <a:pt x="192" y="115"/>
                    </a:lnTo>
                    <a:lnTo>
                      <a:pt x="192" y="119"/>
                    </a:lnTo>
                    <a:lnTo>
                      <a:pt x="188" y="119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3" name="Freeform 53">
                <a:extLst>
                  <a:ext uri="{FF2B5EF4-FFF2-40B4-BE49-F238E27FC236}">
                    <a16:creationId xmlns:a16="http://schemas.microsoft.com/office/drawing/2014/main" id="{49CF3B82-131C-4D37-8598-8B0521079D2A}"/>
                  </a:ext>
                </a:extLst>
              </p:cNvPr>
              <p:cNvSpPr>
                <a:spLocks noEditPoint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56101" y="5192911"/>
                <a:ext cx="15127" cy="30254"/>
              </a:xfrm>
              <a:custGeom>
                <a:avLst/>
                <a:gdLst/>
                <a:ahLst/>
                <a:cxnLst>
                  <a:cxn ang="0">
                    <a:pos x="12" y="12"/>
                  </a:cxn>
                  <a:cxn ang="0">
                    <a:pos x="12" y="12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4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24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4" y="16"/>
                  </a:cxn>
                  <a:cxn ang="0">
                    <a:pos x="8" y="16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8" y="4"/>
                  </a:cxn>
                  <a:cxn ang="0">
                    <a:pos x="12" y="4"/>
                  </a:cxn>
                  <a:cxn ang="0">
                    <a:pos x="12" y="8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</a:cxnLst>
                <a:rect l="0" t="0" r="r" b="b"/>
                <a:pathLst>
                  <a:path w="12" h="24">
                    <a:moveTo>
                      <a:pt x="12" y="8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8"/>
                    </a:lnTo>
                    <a:lnTo>
                      <a:pt x="12" y="8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4" name="Freeform 54">
                <a:extLst>
                  <a:ext uri="{FF2B5EF4-FFF2-40B4-BE49-F238E27FC236}">
                    <a16:creationId xmlns:a16="http://schemas.microsoft.com/office/drawing/2014/main" id="{53AF7655-3E82-4BD8-8A22-7A5F14A9FB14}"/>
                  </a:ext>
                </a:extLst>
              </p:cNvPr>
              <p:cNvSpPr>
                <a:spLocks noEditPoints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602331" y="5524451"/>
                <a:ext cx="230690" cy="161357"/>
              </a:xfrm>
              <a:custGeom>
                <a:avLst/>
                <a:gdLst/>
                <a:ahLst/>
                <a:cxnLst>
                  <a:cxn ang="0">
                    <a:pos x="68" y="100"/>
                  </a:cxn>
                  <a:cxn ang="0">
                    <a:pos x="60" y="104"/>
                  </a:cxn>
                  <a:cxn ang="0">
                    <a:pos x="48" y="104"/>
                  </a:cxn>
                  <a:cxn ang="0">
                    <a:pos x="44" y="108"/>
                  </a:cxn>
                  <a:cxn ang="0">
                    <a:pos x="44" y="112"/>
                  </a:cxn>
                  <a:cxn ang="0">
                    <a:pos x="40" y="116"/>
                  </a:cxn>
                  <a:cxn ang="0">
                    <a:pos x="36" y="116"/>
                  </a:cxn>
                  <a:cxn ang="0">
                    <a:pos x="32" y="116"/>
                  </a:cxn>
                  <a:cxn ang="0">
                    <a:pos x="28" y="116"/>
                  </a:cxn>
                  <a:cxn ang="0">
                    <a:pos x="20" y="116"/>
                  </a:cxn>
                  <a:cxn ang="0">
                    <a:pos x="16" y="116"/>
                  </a:cxn>
                  <a:cxn ang="0">
                    <a:pos x="16" y="108"/>
                  </a:cxn>
                  <a:cxn ang="0">
                    <a:pos x="12" y="100"/>
                  </a:cxn>
                  <a:cxn ang="0">
                    <a:pos x="12" y="96"/>
                  </a:cxn>
                  <a:cxn ang="0">
                    <a:pos x="12" y="88"/>
                  </a:cxn>
                  <a:cxn ang="0">
                    <a:pos x="8" y="76"/>
                  </a:cxn>
                  <a:cxn ang="0">
                    <a:pos x="8" y="72"/>
                  </a:cxn>
                  <a:cxn ang="0">
                    <a:pos x="4" y="68"/>
                  </a:cxn>
                  <a:cxn ang="0">
                    <a:pos x="4" y="64"/>
                  </a:cxn>
                  <a:cxn ang="0">
                    <a:pos x="4" y="60"/>
                  </a:cxn>
                  <a:cxn ang="0">
                    <a:pos x="8" y="52"/>
                  </a:cxn>
                  <a:cxn ang="0">
                    <a:pos x="8" y="48"/>
                  </a:cxn>
                  <a:cxn ang="0">
                    <a:pos x="12" y="44"/>
                  </a:cxn>
                  <a:cxn ang="0">
                    <a:pos x="12" y="28"/>
                  </a:cxn>
                  <a:cxn ang="0">
                    <a:pos x="16" y="28"/>
                  </a:cxn>
                  <a:cxn ang="0">
                    <a:pos x="20" y="28"/>
                  </a:cxn>
                  <a:cxn ang="0">
                    <a:pos x="32" y="28"/>
                  </a:cxn>
                  <a:cxn ang="0">
                    <a:pos x="64" y="32"/>
                  </a:cxn>
                  <a:cxn ang="0">
                    <a:pos x="84" y="24"/>
                  </a:cxn>
                  <a:cxn ang="0">
                    <a:pos x="155" y="28"/>
                  </a:cxn>
                  <a:cxn ang="0">
                    <a:pos x="159" y="44"/>
                  </a:cxn>
                  <a:cxn ang="0">
                    <a:pos x="151" y="48"/>
                  </a:cxn>
                  <a:cxn ang="0">
                    <a:pos x="147" y="52"/>
                  </a:cxn>
                  <a:cxn ang="0">
                    <a:pos x="143" y="64"/>
                  </a:cxn>
                  <a:cxn ang="0">
                    <a:pos x="136" y="68"/>
                  </a:cxn>
                  <a:cxn ang="0">
                    <a:pos x="128" y="72"/>
                  </a:cxn>
                  <a:cxn ang="0">
                    <a:pos x="120" y="72"/>
                  </a:cxn>
                  <a:cxn ang="0">
                    <a:pos x="112" y="76"/>
                  </a:cxn>
                  <a:cxn ang="0">
                    <a:pos x="100" y="84"/>
                  </a:cxn>
                  <a:cxn ang="0">
                    <a:pos x="96" y="92"/>
                  </a:cxn>
                  <a:cxn ang="0">
                    <a:pos x="88" y="92"/>
                  </a:cxn>
                  <a:cxn ang="0">
                    <a:pos x="84" y="92"/>
                  </a:cxn>
                  <a:cxn ang="0">
                    <a:pos x="84" y="92"/>
                  </a:cxn>
                  <a:cxn ang="0">
                    <a:pos x="80" y="96"/>
                  </a:cxn>
                  <a:cxn ang="0">
                    <a:pos x="72" y="100"/>
                  </a:cxn>
                  <a:cxn ang="0">
                    <a:pos x="147" y="124"/>
                  </a:cxn>
                  <a:cxn ang="0">
                    <a:pos x="147" y="124"/>
                  </a:cxn>
                  <a:cxn ang="0">
                    <a:pos x="147" y="124"/>
                  </a:cxn>
                  <a:cxn ang="0">
                    <a:pos x="151" y="128"/>
                  </a:cxn>
                  <a:cxn ang="0">
                    <a:pos x="4" y="64"/>
                  </a:cxn>
                  <a:cxn ang="0">
                    <a:pos x="4" y="68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179" y="120"/>
                  </a:cxn>
                  <a:cxn ang="0">
                    <a:pos x="171" y="124"/>
                  </a:cxn>
                  <a:cxn ang="0">
                    <a:pos x="163" y="120"/>
                  </a:cxn>
                  <a:cxn ang="0">
                    <a:pos x="167" y="116"/>
                  </a:cxn>
                  <a:cxn ang="0">
                    <a:pos x="175" y="116"/>
                  </a:cxn>
                </a:cxnLst>
                <a:rect l="0" t="0" r="r" b="b"/>
                <a:pathLst>
                  <a:path w="183" h="128">
                    <a:moveTo>
                      <a:pt x="72" y="100"/>
                    </a:moveTo>
                    <a:lnTo>
                      <a:pt x="72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4"/>
                    </a:lnTo>
                    <a:lnTo>
                      <a:pt x="48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08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40" y="116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36" y="116"/>
                    </a:lnTo>
                    <a:lnTo>
                      <a:pt x="36" y="116"/>
                    </a:lnTo>
                    <a:lnTo>
                      <a:pt x="36" y="116"/>
                    </a:lnTo>
                    <a:lnTo>
                      <a:pt x="36" y="116"/>
                    </a:lnTo>
                    <a:lnTo>
                      <a:pt x="36" y="116"/>
                    </a:lnTo>
                    <a:lnTo>
                      <a:pt x="36" y="116"/>
                    </a:lnTo>
                    <a:lnTo>
                      <a:pt x="36" y="116"/>
                    </a:lnTo>
                    <a:lnTo>
                      <a:pt x="36" y="116"/>
                    </a:lnTo>
                    <a:lnTo>
                      <a:pt x="32" y="116"/>
                    </a:lnTo>
                    <a:lnTo>
                      <a:pt x="32" y="116"/>
                    </a:lnTo>
                    <a:lnTo>
                      <a:pt x="32" y="116"/>
                    </a:lnTo>
                    <a:lnTo>
                      <a:pt x="32" y="116"/>
                    </a:lnTo>
                    <a:lnTo>
                      <a:pt x="32" y="116"/>
                    </a:lnTo>
                    <a:lnTo>
                      <a:pt x="32" y="116"/>
                    </a:lnTo>
                    <a:lnTo>
                      <a:pt x="32" y="116"/>
                    </a:lnTo>
                    <a:lnTo>
                      <a:pt x="28" y="116"/>
                    </a:lnTo>
                    <a:lnTo>
                      <a:pt x="28" y="116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2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0"/>
                    </a:lnTo>
                    <a:lnTo>
                      <a:pt x="8" y="80"/>
                    </a:lnTo>
                    <a:lnTo>
                      <a:pt x="8" y="80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32"/>
                    </a:lnTo>
                    <a:lnTo>
                      <a:pt x="24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32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56" y="32"/>
                    </a:lnTo>
                    <a:lnTo>
                      <a:pt x="60" y="32"/>
                    </a:lnTo>
                    <a:lnTo>
                      <a:pt x="64" y="32"/>
                    </a:lnTo>
                    <a:lnTo>
                      <a:pt x="68" y="36"/>
                    </a:lnTo>
                    <a:lnTo>
                      <a:pt x="72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80" y="28"/>
                    </a:lnTo>
                    <a:lnTo>
                      <a:pt x="84" y="24"/>
                    </a:lnTo>
                    <a:lnTo>
                      <a:pt x="88" y="16"/>
                    </a:lnTo>
                    <a:lnTo>
                      <a:pt x="100" y="4"/>
                    </a:lnTo>
                    <a:lnTo>
                      <a:pt x="128" y="4"/>
                    </a:lnTo>
                    <a:lnTo>
                      <a:pt x="132" y="0"/>
                    </a:lnTo>
                    <a:lnTo>
                      <a:pt x="143" y="0"/>
                    </a:lnTo>
                    <a:lnTo>
                      <a:pt x="155" y="28"/>
                    </a:lnTo>
                    <a:lnTo>
                      <a:pt x="155" y="32"/>
                    </a:lnTo>
                    <a:lnTo>
                      <a:pt x="163" y="44"/>
                    </a:lnTo>
                    <a:lnTo>
                      <a:pt x="159" y="44"/>
                    </a:lnTo>
                    <a:lnTo>
                      <a:pt x="159" y="44"/>
                    </a:lnTo>
                    <a:lnTo>
                      <a:pt x="159" y="44"/>
                    </a:lnTo>
                    <a:lnTo>
                      <a:pt x="159" y="44"/>
                    </a:lnTo>
                    <a:lnTo>
                      <a:pt x="159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55" y="44"/>
                    </a:lnTo>
                    <a:lnTo>
                      <a:pt x="151" y="48"/>
                    </a:lnTo>
                    <a:lnTo>
                      <a:pt x="151" y="48"/>
                    </a:lnTo>
                    <a:lnTo>
                      <a:pt x="151" y="48"/>
                    </a:lnTo>
                    <a:lnTo>
                      <a:pt x="151" y="48"/>
                    </a:lnTo>
                    <a:lnTo>
                      <a:pt x="151" y="48"/>
                    </a:lnTo>
                    <a:lnTo>
                      <a:pt x="147" y="48"/>
                    </a:lnTo>
                    <a:lnTo>
                      <a:pt x="147" y="52"/>
                    </a:lnTo>
                    <a:lnTo>
                      <a:pt x="147" y="56"/>
                    </a:lnTo>
                    <a:lnTo>
                      <a:pt x="147" y="56"/>
                    </a:lnTo>
                    <a:lnTo>
                      <a:pt x="147" y="60"/>
                    </a:lnTo>
                    <a:lnTo>
                      <a:pt x="147" y="60"/>
                    </a:lnTo>
                    <a:lnTo>
                      <a:pt x="147" y="64"/>
                    </a:lnTo>
                    <a:lnTo>
                      <a:pt x="143" y="64"/>
                    </a:lnTo>
                    <a:lnTo>
                      <a:pt x="143" y="64"/>
                    </a:lnTo>
                    <a:lnTo>
                      <a:pt x="139" y="64"/>
                    </a:lnTo>
                    <a:lnTo>
                      <a:pt x="139" y="68"/>
                    </a:lnTo>
                    <a:lnTo>
                      <a:pt x="139" y="68"/>
                    </a:lnTo>
                    <a:lnTo>
                      <a:pt x="139" y="68"/>
                    </a:lnTo>
                    <a:lnTo>
                      <a:pt x="136" y="68"/>
                    </a:lnTo>
                    <a:lnTo>
                      <a:pt x="136" y="68"/>
                    </a:lnTo>
                    <a:lnTo>
                      <a:pt x="132" y="72"/>
                    </a:lnTo>
                    <a:lnTo>
                      <a:pt x="132" y="72"/>
                    </a:lnTo>
                    <a:lnTo>
                      <a:pt x="132" y="72"/>
                    </a:lnTo>
                    <a:lnTo>
                      <a:pt x="132" y="72"/>
                    </a:lnTo>
                    <a:lnTo>
                      <a:pt x="128" y="72"/>
                    </a:lnTo>
                    <a:lnTo>
                      <a:pt x="128" y="72"/>
                    </a:lnTo>
                    <a:lnTo>
                      <a:pt x="124" y="72"/>
                    </a:lnTo>
                    <a:lnTo>
                      <a:pt x="124" y="72"/>
                    </a:lnTo>
                    <a:lnTo>
                      <a:pt x="124" y="72"/>
                    </a:lnTo>
                    <a:lnTo>
                      <a:pt x="124" y="72"/>
                    </a:lnTo>
                    <a:lnTo>
                      <a:pt x="120" y="72"/>
                    </a:lnTo>
                    <a:lnTo>
                      <a:pt x="120" y="72"/>
                    </a:lnTo>
                    <a:lnTo>
                      <a:pt x="116" y="76"/>
                    </a:lnTo>
                    <a:lnTo>
                      <a:pt x="116" y="76"/>
                    </a:lnTo>
                    <a:lnTo>
                      <a:pt x="116" y="76"/>
                    </a:lnTo>
                    <a:lnTo>
                      <a:pt x="116" y="76"/>
                    </a:lnTo>
                    <a:lnTo>
                      <a:pt x="112" y="76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4" y="80"/>
                    </a:lnTo>
                    <a:lnTo>
                      <a:pt x="100" y="84"/>
                    </a:lnTo>
                    <a:lnTo>
                      <a:pt x="100" y="84"/>
                    </a:lnTo>
                    <a:lnTo>
                      <a:pt x="100" y="84"/>
                    </a:lnTo>
                    <a:lnTo>
                      <a:pt x="100" y="84"/>
                    </a:lnTo>
                    <a:lnTo>
                      <a:pt x="100" y="84"/>
                    </a:lnTo>
                    <a:lnTo>
                      <a:pt x="100" y="88"/>
                    </a:lnTo>
                    <a:lnTo>
                      <a:pt x="96" y="88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88" y="92"/>
                    </a:lnTo>
                    <a:lnTo>
                      <a:pt x="88" y="92"/>
                    </a:lnTo>
                    <a:lnTo>
                      <a:pt x="88" y="92"/>
                    </a:lnTo>
                    <a:lnTo>
                      <a:pt x="88" y="92"/>
                    </a:lnTo>
                    <a:lnTo>
                      <a:pt x="88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0" y="92"/>
                    </a:lnTo>
                    <a:lnTo>
                      <a:pt x="80" y="92"/>
                    </a:lnTo>
                    <a:lnTo>
                      <a:pt x="80" y="92"/>
                    </a:lnTo>
                    <a:lnTo>
                      <a:pt x="80" y="96"/>
                    </a:lnTo>
                    <a:lnTo>
                      <a:pt x="80" y="96"/>
                    </a:lnTo>
                    <a:lnTo>
                      <a:pt x="80" y="96"/>
                    </a:lnTo>
                    <a:lnTo>
                      <a:pt x="80" y="96"/>
                    </a:lnTo>
                    <a:lnTo>
                      <a:pt x="76" y="96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2" y="100"/>
                    </a:lnTo>
                    <a:close/>
                    <a:moveTo>
                      <a:pt x="151" y="128"/>
                    </a:moveTo>
                    <a:lnTo>
                      <a:pt x="147" y="128"/>
                    </a:lnTo>
                    <a:lnTo>
                      <a:pt x="147" y="128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47" y="124"/>
                    </a:lnTo>
                    <a:lnTo>
                      <a:pt x="151" y="124"/>
                    </a:lnTo>
                    <a:lnTo>
                      <a:pt x="151" y="124"/>
                    </a:lnTo>
                    <a:lnTo>
                      <a:pt x="151" y="128"/>
                    </a:lnTo>
                    <a:lnTo>
                      <a:pt x="151" y="128"/>
                    </a:lnTo>
                    <a:lnTo>
                      <a:pt x="151" y="128"/>
                    </a:lnTo>
                    <a:close/>
                    <a:moveTo>
                      <a:pt x="4" y="68"/>
                    </a:moveTo>
                    <a:lnTo>
                      <a:pt x="4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close/>
                    <a:moveTo>
                      <a:pt x="4" y="92"/>
                    </a:move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close/>
                    <a:moveTo>
                      <a:pt x="179" y="116"/>
                    </a:moveTo>
                    <a:lnTo>
                      <a:pt x="179" y="116"/>
                    </a:lnTo>
                    <a:lnTo>
                      <a:pt x="183" y="120"/>
                    </a:lnTo>
                    <a:lnTo>
                      <a:pt x="183" y="120"/>
                    </a:lnTo>
                    <a:lnTo>
                      <a:pt x="179" y="120"/>
                    </a:lnTo>
                    <a:lnTo>
                      <a:pt x="179" y="120"/>
                    </a:lnTo>
                    <a:lnTo>
                      <a:pt x="179" y="124"/>
                    </a:lnTo>
                    <a:lnTo>
                      <a:pt x="175" y="124"/>
                    </a:lnTo>
                    <a:lnTo>
                      <a:pt x="175" y="124"/>
                    </a:lnTo>
                    <a:lnTo>
                      <a:pt x="175" y="124"/>
                    </a:lnTo>
                    <a:lnTo>
                      <a:pt x="171" y="124"/>
                    </a:lnTo>
                    <a:lnTo>
                      <a:pt x="171" y="124"/>
                    </a:lnTo>
                    <a:lnTo>
                      <a:pt x="171" y="124"/>
                    </a:lnTo>
                    <a:lnTo>
                      <a:pt x="167" y="124"/>
                    </a:lnTo>
                    <a:lnTo>
                      <a:pt x="167" y="124"/>
                    </a:lnTo>
                    <a:lnTo>
                      <a:pt x="167" y="120"/>
                    </a:lnTo>
                    <a:lnTo>
                      <a:pt x="163" y="120"/>
                    </a:lnTo>
                    <a:lnTo>
                      <a:pt x="167" y="120"/>
                    </a:lnTo>
                    <a:lnTo>
                      <a:pt x="167" y="120"/>
                    </a:lnTo>
                    <a:lnTo>
                      <a:pt x="167" y="120"/>
                    </a:lnTo>
                    <a:lnTo>
                      <a:pt x="167" y="116"/>
                    </a:lnTo>
                    <a:lnTo>
                      <a:pt x="167" y="116"/>
                    </a:lnTo>
                    <a:lnTo>
                      <a:pt x="167" y="116"/>
                    </a:lnTo>
                    <a:lnTo>
                      <a:pt x="171" y="116"/>
                    </a:lnTo>
                    <a:lnTo>
                      <a:pt x="171" y="116"/>
                    </a:lnTo>
                    <a:lnTo>
                      <a:pt x="171" y="116"/>
                    </a:lnTo>
                    <a:lnTo>
                      <a:pt x="171" y="120"/>
                    </a:lnTo>
                    <a:lnTo>
                      <a:pt x="175" y="116"/>
                    </a:lnTo>
                    <a:lnTo>
                      <a:pt x="175" y="116"/>
                    </a:lnTo>
                    <a:lnTo>
                      <a:pt x="175" y="116"/>
                    </a:lnTo>
                    <a:lnTo>
                      <a:pt x="175" y="116"/>
                    </a:lnTo>
                    <a:lnTo>
                      <a:pt x="175" y="116"/>
                    </a:lnTo>
                    <a:lnTo>
                      <a:pt x="179" y="116"/>
                    </a:lnTo>
                    <a:lnTo>
                      <a:pt x="179" y="1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5" name="Freeform 83">
                <a:extLst>
                  <a:ext uri="{FF2B5EF4-FFF2-40B4-BE49-F238E27FC236}">
                    <a16:creationId xmlns:a16="http://schemas.microsoft.com/office/drawing/2014/main" id="{5CFC3338-C785-4562-9439-EFFE692C7FE3}"/>
                  </a:ext>
                </a:extLst>
              </p:cNvPr>
              <p:cNvSpPr>
                <a:spLocks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4220369" y="4891627"/>
                <a:ext cx="119757" cy="79418"/>
              </a:xfrm>
              <a:custGeom>
                <a:avLst/>
                <a:gdLst/>
                <a:ahLst/>
                <a:cxnLst>
                  <a:cxn ang="0">
                    <a:pos x="8" y="55"/>
                  </a:cxn>
                  <a:cxn ang="0">
                    <a:pos x="8" y="51"/>
                  </a:cxn>
                  <a:cxn ang="0">
                    <a:pos x="8" y="47"/>
                  </a:cxn>
                  <a:cxn ang="0">
                    <a:pos x="0" y="39"/>
                  </a:cxn>
                  <a:cxn ang="0">
                    <a:pos x="4" y="36"/>
                  </a:cxn>
                  <a:cxn ang="0">
                    <a:pos x="0" y="32"/>
                  </a:cxn>
                  <a:cxn ang="0">
                    <a:pos x="4" y="28"/>
                  </a:cxn>
                  <a:cxn ang="0">
                    <a:pos x="8" y="24"/>
                  </a:cxn>
                  <a:cxn ang="0">
                    <a:pos x="4" y="20"/>
                  </a:cxn>
                  <a:cxn ang="0">
                    <a:pos x="0" y="4"/>
                  </a:cxn>
                  <a:cxn ang="0">
                    <a:pos x="4" y="0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8"/>
                  </a:cxn>
                  <a:cxn ang="0">
                    <a:pos x="12" y="8"/>
                  </a:cxn>
                  <a:cxn ang="0">
                    <a:pos x="16" y="8"/>
                  </a:cxn>
                  <a:cxn ang="0">
                    <a:pos x="20" y="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40" y="12"/>
                  </a:cxn>
                  <a:cxn ang="0">
                    <a:pos x="44" y="12"/>
                  </a:cxn>
                  <a:cxn ang="0">
                    <a:pos x="48" y="12"/>
                  </a:cxn>
                  <a:cxn ang="0">
                    <a:pos x="52" y="8"/>
                  </a:cxn>
                  <a:cxn ang="0">
                    <a:pos x="60" y="4"/>
                  </a:cxn>
                  <a:cxn ang="0">
                    <a:pos x="68" y="4"/>
                  </a:cxn>
                  <a:cxn ang="0">
                    <a:pos x="72" y="4"/>
                  </a:cxn>
                  <a:cxn ang="0">
                    <a:pos x="72" y="4"/>
                  </a:cxn>
                  <a:cxn ang="0">
                    <a:pos x="80" y="4"/>
                  </a:cxn>
                  <a:cxn ang="0">
                    <a:pos x="80" y="8"/>
                  </a:cxn>
                  <a:cxn ang="0">
                    <a:pos x="84" y="8"/>
                  </a:cxn>
                  <a:cxn ang="0">
                    <a:pos x="87" y="12"/>
                  </a:cxn>
                  <a:cxn ang="0">
                    <a:pos x="91" y="12"/>
                  </a:cxn>
                  <a:cxn ang="0">
                    <a:pos x="95" y="16"/>
                  </a:cxn>
                  <a:cxn ang="0">
                    <a:pos x="91" y="20"/>
                  </a:cxn>
                  <a:cxn ang="0">
                    <a:pos x="91" y="16"/>
                  </a:cxn>
                  <a:cxn ang="0">
                    <a:pos x="87" y="20"/>
                  </a:cxn>
                  <a:cxn ang="0">
                    <a:pos x="84" y="28"/>
                  </a:cxn>
                  <a:cxn ang="0">
                    <a:pos x="84" y="32"/>
                  </a:cxn>
                  <a:cxn ang="0">
                    <a:pos x="80" y="36"/>
                  </a:cxn>
                  <a:cxn ang="0">
                    <a:pos x="76" y="39"/>
                  </a:cxn>
                  <a:cxn ang="0">
                    <a:pos x="80" y="39"/>
                  </a:cxn>
                  <a:cxn ang="0">
                    <a:pos x="84" y="43"/>
                  </a:cxn>
                  <a:cxn ang="0">
                    <a:pos x="84" y="47"/>
                  </a:cxn>
                  <a:cxn ang="0">
                    <a:pos x="80" y="47"/>
                  </a:cxn>
                  <a:cxn ang="0">
                    <a:pos x="76" y="47"/>
                  </a:cxn>
                  <a:cxn ang="0">
                    <a:pos x="72" y="43"/>
                  </a:cxn>
                  <a:cxn ang="0">
                    <a:pos x="64" y="47"/>
                  </a:cxn>
                  <a:cxn ang="0">
                    <a:pos x="64" y="51"/>
                  </a:cxn>
                  <a:cxn ang="0">
                    <a:pos x="60" y="51"/>
                  </a:cxn>
                  <a:cxn ang="0">
                    <a:pos x="60" y="51"/>
                  </a:cxn>
                  <a:cxn ang="0">
                    <a:pos x="56" y="55"/>
                  </a:cxn>
                  <a:cxn ang="0">
                    <a:pos x="56" y="59"/>
                  </a:cxn>
                  <a:cxn ang="0">
                    <a:pos x="48" y="63"/>
                  </a:cxn>
                  <a:cxn ang="0">
                    <a:pos x="44" y="63"/>
                  </a:cxn>
                  <a:cxn ang="0">
                    <a:pos x="40" y="59"/>
                  </a:cxn>
                  <a:cxn ang="0">
                    <a:pos x="36" y="59"/>
                  </a:cxn>
                  <a:cxn ang="0">
                    <a:pos x="28" y="55"/>
                  </a:cxn>
                  <a:cxn ang="0">
                    <a:pos x="24" y="59"/>
                  </a:cxn>
                  <a:cxn ang="0">
                    <a:pos x="20" y="59"/>
                  </a:cxn>
                  <a:cxn ang="0">
                    <a:pos x="12" y="59"/>
                  </a:cxn>
                  <a:cxn ang="0">
                    <a:pos x="12" y="63"/>
                  </a:cxn>
                </a:cxnLst>
                <a:rect l="0" t="0" r="r" b="b"/>
                <a:pathLst>
                  <a:path w="95" h="63">
                    <a:moveTo>
                      <a:pt x="8" y="59"/>
                    </a:moveTo>
                    <a:lnTo>
                      <a:pt x="8" y="59"/>
                    </a:lnTo>
                    <a:lnTo>
                      <a:pt x="8" y="59"/>
                    </a:lnTo>
                    <a:lnTo>
                      <a:pt x="8" y="59"/>
                    </a:lnTo>
                    <a:lnTo>
                      <a:pt x="8" y="55"/>
                    </a:lnTo>
                    <a:lnTo>
                      <a:pt x="8" y="55"/>
                    </a:lnTo>
                    <a:lnTo>
                      <a:pt x="8" y="55"/>
                    </a:lnTo>
                    <a:lnTo>
                      <a:pt x="8" y="55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8" y="51"/>
                    </a:lnTo>
                    <a:lnTo>
                      <a:pt x="8" y="47"/>
                    </a:lnTo>
                    <a:lnTo>
                      <a:pt x="8" y="47"/>
                    </a:lnTo>
                    <a:lnTo>
                      <a:pt x="4" y="47"/>
                    </a:lnTo>
                    <a:lnTo>
                      <a:pt x="4" y="43"/>
                    </a:lnTo>
                    <a:lnTo>
                      <a:pt x="0" y="43"/>
                    </a:lnTo>
                    <a:lnTo>
                      <a:pt x="0" y="43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0" y="39"/>
                    </a:lnTo>
                    <a:lnTo>
                      <a:pt x="4" y="39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2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7" y="8"/>
                    </a:lnTo>
                    <a:lnTo>
                      <a:pt x="87" y="12"/>
                    </a:lnTo>
                    <a:lnTo>
                      <a:pt x="87" y="12"/>
                    </a:lnTo>
                    <a:lnTo>
                      <a:pt x="87" y="12"/>
                    </a:lnTo>
                    <a:lnTo>
                      <a:pt x="91" y="12"/>
                    </a:lnTo>
                    <a:lnTo>
                      <a:pt x="91" y="12"/>
                    </a:lnTo>
                    <a:lnTo>
                      <a:pt x="91" y="12"/>
                    </a:lnTo>
                    <a:lnTo>
                      <a:pt x="91" y="12"/>
                    </a:lnTo>
                    <a:lnTo>
                      <a:pt x="91" y="12"/>
                    </a:lnTo>
                    <a:lnTo>
                      <a:pt x="91" y="16"/>
                    </a:lnTo>
                    <a:lnTo>
                      <a:pt x="95" y="16"/>
                    </a:lnTo>
                    <a:lnTo>
                      <a:pt x="95" y="16"/>
                    </a:lnTo>
                    <a:lnTo>
                      <a:pt x="95" y="16"/>
                    </a:lnTo>
                    <a:lnTo>
                      <a:pt x="91" y="16"/>
                    </a:lnTo>
                    <a:lnTo>
                      <a:pt x="91" y="16"/>
                    </a:lnTo>
                    <a:lnTo>
                      <a:pt x="91" y="16"/>
                    </a:lnTo>
                    <a:lnTo>
                      <a:pt x="91" y="20"/>
                    </a:lnTo>
                    <a:lnTo>
                      <a:pt x="91" y="20"/>
                    </a:lnTo>
                    <a:lnTo>
                      <a:pt x="91" y="20"/>
                    </a:lnTo>
                    <a:lnTo>
                      <a:pt x="91" y="20"/>
                    </a:lnTo>
                    <a:lnTo>
                      <a:pt x="91" y="20"/>
                    </a:lnTo>
                    <a:lnTo>
                      <a:pt x="91" y="16"/>
                    </a:lnTo>
                    <a:lnTo>
                      <a:pt x="87" y="16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7" y="20"/>
                    </a:lnTo>
                    <a:lnTo>
                      <a:pt x="84" y="20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8"/>
                    </a:lnTo>
                    <a:lnTo>
                      <a:pt x="84" y="28"/>
                    </a:lnTo>
                    <a:lnTo>
                      <a:pt x="84" y="28"/>
                    </a:lnTo>
                    <a:lnTo>
                      <a:pt x="84" y="28"/>
                    </a:lnTo>
                    <a:lnTo>
                      <a:pt x="84" y="28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0" y="36"/>
                    </a:lnTo>
                    <a:lnTo>
                      <a:pt x="76" y="36"/>
                    </a:lnTo>
                    <a:lnTo>
                      <a:pt x="76" y="36"/>
                    </a:lnTo>
                    <a:lnTo>
                      <a:pt x="76" y="39"/>
                    </a:lnTo>
                    <a:lnTo>
                      <a:pt x="76" y="39"/>
                    </a:lnTo>
                    <a:lnTo>
                      <a:pt x="76" y="39"/>
                    </a:lnTo>
                    <a:lnTo>
                      <a:pt x="80" y="39"/>
                    </a:lnTo>
                    <a:lnTo>
                      <a:pt x="80" y="39"/>
                    </a:lnTo>
                    <a:lnTo>
                      <a:pt x="80" y="39"/>
                    </a:lnTo>
                    <a:lnTo>
                      <a:pt x="80" y="39"/>
                    </a:lnTo>
                    <a:lnTo>
                      <a:pt x="80" y="39"/>
                    </a:lnTo>
                    <a:lnTo>
                      <a:pt x="80" y="43"/>
                    </a:lnTo>
                    <a:lnTo>
                      <a:pt x="80" y="43"/>
                    </a:lnTo>
                    <a:lnTo>
                      <a:pt x="84" y="43"/>
                    </a:lnTo>
                    <a:lnTo>
                      <a:pt x="84" y="43"/>
                    </a:lnTo>
                    <a:lnTo>
                      <a:pt x="84" y="43"/>
                    </a:lnTo>
                    <a:lnTo>
                      <a:pt x="84" y="47"/>
                    </a:lnTo>
                    <a:lnTo>
                      <a:pt x="84" y="47"/>
                    </a:lnTo>
                    <a:lnTo>
                      <a:pt x="84" y="47"/>
                    </a:lnTo>
                    <a:lnTo>
                      <a:pt x="84" y="47"/>
                    </a:lnTo>
                    <a:lnTo>
                      <a:pt x="84" y="47"/>
                    </a:lnTo>
                    <a:lnTo>
                      <a:pt x="84" y="47"/>
                    </a:lnTo>
                    <a:lnTo>
                      <a:pt x="84" y="47"/>
                    </a:lnTo>
                    <a:lnTo>
                      <a:pt x="84" y="47"/>
                    </a:lnTo>
                    <a:lnTo>
                      <a:pt x="80" y="47"/>
                    </a:lnTo>
                    <a:lnTo>
                      <a:pt x="80" y="47"/>
                    </a:lnTo>
                    <a:lnTo>
                      <a:pt x="80" y="47"/>
                    </a:lnTo>
                    <a:lnTo>
                      <a:pt x="80" y="47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6" y="47"/>
                    </a:lnTo>
                    <a:lnTo>
                      <a:pt x="76" y="43"/>
                    </a:lnTo>
                    <a:lnTo>
                      <a:pt x="72" y="43"/>
                    </a:lnTo>
                    <a:lnTo>
                      <a:pt x="72" y="47"/>
                    </a:lnTo>
                    <a:lnTo>
                      <a:pt x="72" y="47"/>
                    </a:lnTo>
                    <a:lnTo>
                      <a:pt x="68" y="47"/>
                    </a:lnTo>
                    <a:lnTo>
                      <a:pt x="68" y="47"/>
                    </a:lnTo>
                    <a:lnTo>
                      <a:pt x="64" y="47"/>
                    </a:lnTo>
                    <a:lnTo>
                      <a:pt x="64" y="47"/>
                    </a:lnTo>
                    <a:lnTo>
                      <a:pt x="64" y="51"/>
                    </a:lnTo>
                    <a:lnTo>
                      <a:pt x="64" y="51"/>
                    </a:lnTo>
                    <a:lnTo>
                      <a:pt x="64" y="51"/>
                    </a:lnTo>
                    <a:lnTo>
                      <a:pt x="64" y="51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60" y="51"/>
                    </a:lnTo>
                    <a:lnTo>
                      <a:pt x="60" y="55"/>
                    </a:lnTo>
                    <a:lnTo>
                      <a:pt x="60" y="55"/>
                    </a:lnTo>
                    <a:lnTo>
                      <a:pt x="60" y="55"/>
                    </a:lnTo>
                    <a:lnTo>
                      <a:pt x="60" y="51"/>
                    </a:lnTo>
                    <a:lnTo>
                      <a:pt x="56" y="51"/>
                    </a:lnTo>
                    <a:lnTo>
                      <a:pt x="56" y="51"/>
                    </a:lnTo>
                    <a:lnTo>
                      <a:pt x="56" y="55"/>
                    </a:lnTo>
                    <a:lnTo>
                      <a:pt x="56" y="55"/>
                    </a:lnTo>
                    <a:lnTo>
                      <a:pt x="56" y="55"/>
                    </a:lnTo>
                    <a:lnTo>
                      <a:pt x="56" y="55"/>
                    </a:lnTo>
                    <a:lnTo>
                      <a:pt x="56" y="55"/>
                    </a:lnTo>
                    <a:lnTo>
                      <a:pt x="56" y="55"/>
                    </a:lnTo>
                    <a:lnTo>
                      <a:pt x="56" y="59"/>
                    </a:lnTo>
                    <a:lnTo>
                      <a:pt x="56" y="59"/>
                    </a:lnTo>
                    <a:lnTo>
                      <a:pt x="56" y="63"/>
                    </a:lnTo>
                    <a:lnTo>
                      <a:pt x="52" y="63"/>
                    </a:lnTo>
                    <a:lnTo>
                      <a:pt x="52" y="63"/>
                    </a:lnTo>
                    <a:lnTo>
                      <a:pt x="52" y="59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48" y="63"/>
                    </a:lnTo>
                    <a:lnTo>
                      <a:pt x="44" y="63"/>
                    </a:lnTo>
                    <a:lnTo>
                      <a:pt x="44" y="63"/>
                    </a:lnTo>
                    <a:lnTo>
                      <a:pt x="44" y="63"/>
                    </a:lnTo>
                    <a:lnTo>
                      <a:pt x="44" y="63"/>
                    </a:lnTo>
                    <a:lnTo>
                      <a:pt x="44" y="63"/>
                    </a:lnTo>
                    <a:lnTo>
                      <a:pt x="40" y="63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40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6" y="59"/>
                    </a:lnTo>
                    <a:lnTo>
                      <a:pt x="32" y="59"/>
                    </a:lnTo>
                    <a:lnTo>
                      <a:pt x="32" y="59"/>
                    </a:lnTo>
                    <a:lnTo>
                      <a:pt x="32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28" y="55"/>
                    </a:lnTo>
                    <a:lnTo>
                      <a:pt x="24" y="55"/>
                    </a:lnTo>
                    <a:lnTo>
                      <a:pt x="24" y="59"/>
                    </a:lnTo>
                    <a:lnTo>
                      <a:pt x="24" y="59"/>
                    </a:lnTo>
                    <a:lnTo>
                      <a:pt x="24" y="59"/>
                    </a:lnTo>
                    <a:lnTo>
                      <a:pt x="24" y="59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20" y="59"/>
                    </a:lnTo>
                    <a:lnTo>
                      <a:pt x="16" y="59"/>
                    </a:lnTo>
                    <a:lnTo>
                      <a:pt x="16" y="59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2" y="59"/>
                    </a:lnTo>
                    <a:lnTo>
                      <a:pt x="12" y="63"/>
                    </a:lnTo>
                    <a:lnTo>
                      <a:pt x="12" y="63"/>
                    </a:lnTo>
                    <a:lnTo>
                      <a:pt x="12" y="63"/>
                    </a:lnTo>
                    <a:lnTo>
                      <a:pt x="8" y="59"/>
                    </a:lnTo>
                    <a:lnTo>
                      <a:pt x="8" y="59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6" name="Freeform 92">
                <a:extLst>
                  <a:ext uri="{FF2B5EF4-FFF2-40B4-BE49-F238E27FC236}">
                    <a16:creationId xmlns:a16="http://schemas.microsoft.com/office/drawing/2014/main" id="{9124A0AD-1BF5-48CB-BCAD-D26EE9990967}"/>
                  </a:ext>
                </a:extLst>
              </p:cNvPr>
              <p:cNvSpPr>
                <a:spLocks noEditPoints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4169944" y="4955918"/>
                <a:ext cx="160096" cy="176485"/>
              </a:xfrm>
              <a:custGeom>
                <a:avLst/>
                <a:gdLst/>
                <a:ahLst/>
                <a:cxnLst>
                  <a:cxn ang="0">
                    <a:pos x="12" y="52"/>
                  </a:cxn>
                  <a:cxn ang="0">
                    <a:pos x="8" y="44"/>
                  </a:cxn>
                  <a:cxn ang="0">
                    <a:pos x="20" y="24"/>
                  </a:cxn>
                  <a:cxn ang="0">
                    <a:pos x="40" y="12"/>
                  </a:cxn>
                  <a:cxn ang="0">
                    <a:pos x="56" y="8"/>
                  </a:cxn>
                  <a:cxn ang="0">
                    <a:pos x="76" y="8"/>
                  </a:cxn>
                  <a:cxn ang="0">
                    <a:pos x="96" y="12"/>
                  </a:cxn>
                  <a:cxn ang="0">
                    <a:pos x="104" y="8"/>
                  </a:cxn>
                  <a:cxn ang="0">
                    <a:pos x="96" y="20"/>
                  </a:cxn>
                  <a:cxn ang="0">
                    <a:pos x="72" y="16"/>
                  </a:cxn>
                  <a:cxn ang="0">
                    <a:pos x="60" y="24"/>
                  </a:cxn>
                  <a:cxn ang="0">
                    <a:pos x="68" y="32"/>
                  </a:cxn>
                  <a:cxn ang="0">
                    <a:pos x="56" y="32"/>
                  </a:cxn>
                  <a:cxn ang="0">
                    <a:pos x="52" y="32"/>
                  </a:cxn>
                  <a:cxn ang="0">
                    <a:pos x="48" y="44"/>
                  </a:cxn>
                  <a:cxn ang="0">
                    <a:pos x="48" y="56"/>
                  </a:cxn>
                  <a:cxn ang="0">
                    <a:pos x="44" y="60"/>
                  </a:cxn>
                  <a:cxn ang="0">
                    <a:pos x="52" y="64"/>
                  </a:cxn>
                  <a:cxn ang="0">
                    <a:pos x="60" y="72"/>
                  </a:cxn>
                  <a:cxn ang="0">
                    <a:pos x="60" y="84"/>
                  </a:cxn>
                  <a:cxn ang="0">
                    <a:pos x="52" y="84"/>
                  </a:cxn>
                  <a:cxn ang="0">
                    <a:pos x="44" y="92"/>
                  </a:cxn>
                  <a:cxn ang="0">
                    <a:pos x="48" y="108"/>
                  </a:cxn>
                  <a:cxn ang="0">
                    <a:pos x="40" y="108"/>
                  </a:cxn>
                  <a:cxn ang="0">
                    <a:pos x="28" y="100"/>
                  </a:cxn>
                  <a:cxn ang="0">
                    <a:pos x="20" y="80"/>
                  </a:cxn>
                  <a:cxn ang="0">
                    <a:pos x="36" y="76"/>
                  </a:cxn>
                  <a:cxn ang="0">
                    <a:pos x="48" y="76"/>
                  </a:cxn>
                  <a:cxn ang="0">
                    <a:pos x="32" y="72"/>
                  </a:cxn>
                  <a:cxn ang="0">
                    <a:pos x="16" y="60"/>
                  </a:cxn>
                  <a:cxn ang="0">
                    <a:pos x="76" y="24"/>
                  </a:cxn>
                  <a:cxn ang="0">
                    <a:pos x="84" y="40"/>
                  </a:cxn>
                  <a:cxn ang="0">
                    <a:pos x="0" y="40"/>
                  </a:cxn>
                  <a:cxn ang="0">
                    <a:pos x="0" y="44"/>
                  </a:cxn>
                  <a:cxn ang="0">
                    <a:pos x="96" y="56"/>
                  </a:cxn>
                  <a:cxn ang="0">
                    <a:pos x="64" y="72"/>
                  </a:cxn>
                  <a:cxn ang="0">
                    <a:pos x="52" y="60"/>
                  </a:cxn>
                  <a:cxn ang="0">
                    <a:pos x="68" y="68"/>
                  </a:cxn>
                  <a:cxn ang="0">
                    <a:pos x="68" y="72"/>
                  </a:cxn>
                  <a:cxn ang="0">
                    <a:pos x="16" y="64"/>
                  </a:cxn>
                  <a:cxn ang="0">
                    <a:pos x="92" y="76"/>
                  </a:cxn>
                  <a:cxn ang="0">
                    <a:pos x="16" y="72"/>
                  </a:cxn>
                  <a:cxn ang="0">
                    <a:pos x="16" y="76"/>
                  </a:cxn>
                  <a:cxn ang="0">
                    <a:pos x="76" y="84"/>
                  </a:cxn>
                  <a:cxn ang="0">
                    <a:pos x="12" y="80"/>
                  </a:cxn>
                  <a:cxn ang="0">
                    <a:pos x="108" y="84"/>
                  </a:cxn>
                  <a:cxn ang="0">
                    <a:pos x="100" y="84"/>
                  </a:cxn>
                  <a:cxn ang="0">
                    <a:pos x="68" y="88"/>
                  </a:cxn>
                  <a:cxn ang="0">
                    <a:pos x="72" y="92"/>
                  </a:cxn>
                  <a:cxn ang="0">
                    <a:pos x="88" y="100"/>
                  </a:cxn>
                  <a:cxn ang="0">
                    <a:pos x="108" y="96"/>
                  </a:cxn>
                  <a:cxn ang="0">
                    <a:pos x="112" y="100"/>
                  </a:cxn>
                  <a:cxn ang="0">
                    <a:pos x="84" y="104"/>
                  </a:cxn>
                  <a:cxn ang="0">
                    <a:pos x="127" y="112"/>
                  </a:cxn>
                  <a:cxn ang="0">
                    <a:pos x="127" y="112"/>
                  </a:cxn>
                  <a:cxn ang="0">
                    <a:pos x="112" y="124"/>
                  </a:cxn>
                  <a:cxn ang="0">
                    <a:pos x="64" y="128"/>
                  </a:cxn>
                  <a:cxn ang="0">
                    <a:pos x="84" y="132"/>
                  </a:cxn>
                  <a:cxn ang="0">
                    <a:pos x="100" y="140"/>
                  </a:cxn>
                  <a:cxn ang="0">
                    <a:pos x="72" y="136"/>
                  </a:cxn>
                </a:cxnLst>
                <a:rect l="0" t="0" r="r" b="b"/>
                <a:pathLst>
                  <a:path w="127" h="140">
                    <a:moveTo>
                      <a:pt x="20" y="56"/>
                    </a:moveTo>
                    <a:lnTo>
                      <a:pt x="20" y="60"/>
                    </a:lnTo>
                    <a:lnTo>
                      <a:pt x="16" y="56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20" y="28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8" y="20"/>
                    </a:lnTo>
                    <a:lnTo>
                      <a:pt x="32" y="20"/>
                    </a:lnTo>
                    <a:lnTo>
                      <a:pt x="32" y="16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4" y="16"/>
                    </a:lnTo>
                    <a:lnTo>
                      <a:pt x="44" y="12"/>
                    </a:lnTo>
                    <a:lnTo>
                      <a:pt x="48" y="8"/>
                    </a:lnTo>
                    <a:lnTo>
                      <a:pt x="52" y="12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4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80" y="8"/>
                    </a:lnTo>
                    <a:lnTo>
                      <a:pt x="80" y="12"/>
                    </a:lnTo>
                    <a:lnTo>
                      <a:pt x="84" y="12"/>
                    </a:lnTo>
                    <a:lnTo>
                      <a:pt x="88" y="12"/>
                    </a:lnTo>
                    <a:lnTo>
                      <a:pt x="92" y="8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96" y="8"/>
                    </a:lnTo>
                    <a:lnTo>
                      <a:pt x="96" y="4"/>
                    </a:lnTo>
                    <a:lnTo>
                      <a:pt x="96" y="0"/>
                    </a:lnTo>
                    <a:lnTo>
                      <a:pt x="100" y="0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4" y="8"/>
                    </a:lnTo>
                    <a:lnTo>
                      <a:pt x="104" y="12"/>
                    </a:lnTo>
                    <a:lnTo>
                      <a:pt x="100" y="12"/>
                    </a:lnTo>
                    <a:lnTo>
                      <a:pt x="100" y="16"/>
                    </a:lnTo>
                    <a:lnTo>
                      <a:pt x="100" y="20"/>
                    </a:lnTo>
                    <a:lnTo>
                      <a:pt x="96" y="20"/>
                    </a:lnTo>
                    <a:lnTo>
                      <a:pt x="96" y="24"/>
                    </a:lnTo>
                    <a:lnTo>
                      <a:pt x="96" y="20"/>
                    </a:lnTo>
                    <a:lnTo>
                      <a:pt x="92" y="20"/>
                    </a:lnTo>
                    <a:lnTo>
                      <a:pt x="88" y="20"/>
                    </a:lnTo>
                    <a:lnTo>
                      <a:pt x="84" y="20"/>
                    </a:lnTo>
                    <a:lnTo>
                      <a:pt x="80" y="16"/>
                    </a:lnTo>
                    <a:lnTo>
                      <a:pt x="76" y="20"/>
                    </a:lnTo>
                    <a:lnTo>
                      <a:pt x="72" y="20"/>
                    </a:lnTo>
                    <a:lnTo>
                      <a:pt x="72" y="16"/>
                    </a:lnTo>
                    <a:lnTo>
                      <a:pt x="72" y="20"/>
                    </a:lnTo>
                    <a:lnTo>
                      <a:pt x="68" y="20"/>
                    </a:lnTo>
                    <a:lnTo>
                      <a:pt x="68" y="24"/>
                    </a:lnTo>
                    <a:lnTo>
                      <a:pt x="64" y="24"/>
                    </a:lnTo>
                    <a:lnTo>
                      <a:pt x="64" y="20"/>
                    </a:lnTo>
                    <a:lnTo>
                      <a:pt x="60" y="20"/>
                    </a:lnTo>
                    <a:lnTo>
                      <a:pt x="60" y="24"/>
                    </a:lnTo>
                    <a:lnTo>
                      <a:pt x="60" y="28"/>
                    </a:lnTo>
                    <a:lnTo>
                      <a:pt x="64" y="28"/>
                    </a:lnTo>
                    <a:lnTo>
                      <a:pt x="68" y="32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68" y="36"/>
                    </a:lnTo>
                    <a:lnTo>
                      <a:pt x="68" y="32"/>
                    </a:lnTo>
                    <a:lnTo>
                      <a:pt x="64" y="32"/>
                    </a:lnTo>
                    <a:lnTo>
                      <a:pt x="60" y="32"/>
                    </a:lnTo>
                    <a:lnTo>
                      <a:pt x="64" y="36"/>
                    </a:lnTo>
                    <a:lnTo>
                      <a:pt x="64" y="40"/>
                    </a:lnTo>
                    <a:lnTo>
                      <a:pt x="60" y="36"/>
                    </a:lnTo>
                    <a:lnTo>
                      <a:pt x="60" y="32"/>
                    </a:lnTo>
                    <a:lnTo>
                      <a:pt x="56" y="32"/>
                    </a:lnTo>
                    <a:lnTo>
                      <a:pt x="56" y="36"/>
                    </a:lnTo>
                    <a:lnTo>
                      <a:pt x="60" y="36"/>
                    </a:lnTo>
                    <a:lnTo>
                      <a:pt x="60" y="40"/>
                    </a:lnTo>
                    <a:lnTo>
                      <a:pt x="56" y="40"/>
                    </a:lnTo>
                    <a:lnTo>
                      <a:pt x="56" y="36"/>
                    </a:lnTo>
                    <a:lnTo>
                      <a:pt x="56" y="32"/>
                    </a:lnTo>
                    <a:lnTo>
                      <a:pt x="52" y="32"/>
                    </a:lnTo>
                    <a:lnTo>
                      <a:pt x="48" y="28"/>
                    </a:lnTo>
                    <a:lnTo>
                      <a:pt x="48" y="24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8" y="44"/>
                    </a:lnTo>
                    <a:lnTo>
                      <a:pt x="48" y="48"/>
                    </a:lnTo>
                    <a:lnTo>
                      <a:pt x="52" y="48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48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52" y="64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80"/>
                    </a:lnTo>
                    <a:lnTo>
                      <a:pt x="64" y="84"/>
                    </a:lnTo>
                    <a:lnTo>
                      <a:pt x="64" y="88"/>
                    </a:lnTo>
                    <a:lnTo>
                      <a:pt x="64" y="84"/>
                    </a:lnTo>
                    <a:lnTo>
                      <a:pt x="60" y="84"/>
                    </a:lnTo>
                    <a:lnTo>
                      <a:pt x="56" y="80"/>
                    </a:lnTo>
                    <a:lnTo>
                      <a:pt x="60" y="80"/>
                    </a:lnTo>
                    <a:lnTo>
                      <a:pt x="56" y="80"/>
                    </a:lnTo>
                    <a:lnTo>
                      <a:pt x="52" y="80"/>
                    </a:lnTo>
                    <a:lnTo>
                      <a:pt x="48" y="80"/>
                    </a:lnTo>
                    <a:lnTo>
                      <a:pt x="48" y="84"/>
                    </a:lnTo>
                    <a:lnTo>
                      <a:pt x="52" y="84"/>
                    </a:lnTo>
                    <a:lnTo>
                      <a:pt x="52" y="88"/>
                    </a:lnTo>
                    <a:lnTo>
                      <a:pt x="56" y="88"/>
                    </a:lnTo>
                    <a:lnTo>
                      <a:pt x="56" y="92"/>
                    </a:lnTo>
                    <a:lnTo>
                      <a:pt x="52" y="92"/>
                    </a:lnTo>
                    <a:lnTo>
                      <a:pt x="48" y="88"/>
                    </a:lnTo>
                    <a:lnTo>
                      <a:pt x="44" y="88"/>
                    </a:lnTo>
                    <a:lnTo>
                      <a:pt x="44" y="92"/>
                    </a:lnTo>
                    <a:lnTo>
                      <a:pt x="48" y="92"/>
                    </a:lnTo>
                    <a:lnTo>
                      <a:pt x="48" y="96"/>
                    </a:lnTo>
                    <a:lnTo>
                      <a:pt x="48" y="100"/>
                    </a:lnTo>
                    <a:lnTo>
                      <a:pt x="48" y="104"/>
                    </a:lnTo>
                    <a:lnTo>
                      <a:pt x="52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52" y="108"/>
                    </a:lnTo>
                    <a:lnTo>
                      <a:pt x="52" y="112"/>
                    </a:lnTo>
                    <a:lnTo>
                      <a:pt x="48" y="108"/>
                    </a:lnTo>
                    <a:lnTo>
                      <a:pt x="44" y="104"/>
                    </a:lnTo>
                    <a:lnTo>
                      <a:pt x="40" y="108"/>
                    </a:lnTo>
                    <a:lnTo>
                      <a:pt x="40" y="112"/>
                    </a:lnTo>
                    <a:lnTo>
                      <a:pt x="40" y="108"/>
                    </a:lnTo>
                    <a:lnTo>
                      <a:pt x="40" y="104"/>
                    </a:lnTo>
                    <a:lnTo>
                      <a:pt x="36" y="104"/>
                    </a:lnTo>
                    <a:lnTo>
                      <a:pt x="36" y="100"/>
                    </a:lnTo>
                    <a:lnTo>
                      <a:pt x="32" y="100"/>
                    </a:lnTo>
                    <a:lnTo>
                      <a:pt x="32" y="104"/>
                    </a:lnTo>
                    <a:lnTo>
                      <a:pt x="28" y="104"/>
                    </a:lnTo>
                    <a:lnTo>
                      <a:pt x="28" y="100"/>
                    </a:lnTo>
                    <a:lnTo>
                      <a:pt x="28" y="96"/>
                    </a:lnTo>
                    <a:lnTo>
                      <a:pt x="28" y="92"/>
                    </a:lnTo>
                    <a:lnTo>
                      <a:pt x="28" y="88"/>
                    </a:lnTo>
                    <a:lnTo>
                      <a:pt x="24" y="88"/>
                    </a:lnTo>
                    <a:lnTo>
                      <a:pt x="24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4" y="80"/>
                    </a:lnTo>
                    <a:lnTo>
                      <a:pt x="24" y="76"/>
                    </a:lnTo>
                    <a:lnTo>
                      <a:pt x="28" y="76"/>
                    </a:lnTo>
                    <a:lnTo>
                      <a:pt x="28" y="72"/>
                    </a:lnTo>
                    <a:lnTo>
                      <a:pt x="32" y="72"/>
                    </a:lnTo>
                    <a:lnTo>
                      <a:pt x="36" y="72"/>
                    </a:lnTo>
                    <a:lnTo>
                      <a:pt x="36" y="76"/>
                    </a:lnTo>
                    <a:lnTo>
                      <a:pt x="40" y="76"/>
                    </a:lnTo>
                    <a:lnTo>
                      <a:pt x="44" y="76"/>
                    </a:lnTo>
                    <a:lnTo>
                      <a:pt x="44" y="80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4" y="76"/>
                    </a:lnTo>
                    <a:lnTo>
                      <a:pt x="44" y="72"/>
                    </a:lnTo>
                    <a:lnTo>
                      <a:pt x="40" y="72"/>
                    </a:lnTo>
                    <a:lnTo>
                      <a:pt x="40" y="68"/>
                    </a:lnTo>
                    <a:lnTo>
                      <a:pt x="40" y="72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28" y="72"/>
                    </a:lnTo>
                    <a:lnTo>
                      <a:pt x="24" y="72"/>
                    </a:lnTo>
                    <a:lnTo>
                      <a:pt x="20" y="72"/>
                    </a:lnTo>
                    <a:lnTo>
                      <a:pt x="20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close/>
                    <a:moveTo>
                      <a:pt x="76" y="24"/>
                    </a:moveTo>
                    <a:lnTo>
                      <a:pt x="72" y="24"/>
                    </a:lnTo>
                    <a:lnTo>
                      <a:pt x="72" y="20"/>
                    </a:lnTo>
                    <a:lnTo>
                      <a:pt x="76" y="20"/>
                    </a:lnTo>
                    <a:lnTo>
                      <a:pt x="76" y="24"/>
                    </a:lnTo>
                    <a:close/>
                    <a:moveTo>
                      <a:pt x="88" y="28"/>
                    </a:moveTo>
                    <a:lnTo>
                      <a:pt x="92" y="28"/>
                    </a:lnTo>
                    <a:lnTo>
                      <a:pt x="88" y="28"/>
                    </a:lnTo>
                    <a:close/>
                    <a:moveTo>
                      <a:pt x="88" y="36"/>
                    </a:moveTo>
                    <a:lnTo>
                      <a:pt x="84" y="40"/>
                    </a:lnTo>
                    <a:lnTo>
                      <a:pt x="84" y="44"/>
                    </a:lnTo>
                    <a:lnTo>
                      <a:pt x="84" y="40"/>
                    </a:lnTo>
                    <a:lnTo>
                      <a:pt x="80" y="40"/>
                    </a:lnTo>
                    <a:lnTo>
                      <a:pt x="80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36"/>
                    </a:lnTo>
                    <a:lnTo>
                      <a:pt x="88" y="36"/>
                    </a:lnTo>
                    <a:close/>
                    <a:moveTo>
                      <a:pt x="0" y="40"/>
                    </a:moveTo>
                    <a:lnTo>
                      <a:pt x="4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8"/>
                    </a:lnTo>
                    <a:lnTo>
                      <a:pt x="4" y="52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close/>
                    <a:moveTo>
                      <a:pt x="100" y="52"/>
                    </a:moveTo>
                    <a:lnTo>
                      <a:pt x="104" y="56"/>
                    </a:lnTo>
                    <a:lnTo>
                      <a:pt x="104" y="60"/>
                    </a:lnTo>
                    <a:lnTo>
                      <a:pt x="100" y="60"/>
                    </a:lnTo>
                    <a:lnTo>
                      <a:pt x="96" y="60"/>
                    </a:lnTo>
                    <a:lnTo>
                      <a:pt x="96" y="56"/>
                    </a:lnTo>
                    <a:lnTo>
                      <a:pt x="100" y="56"/>
                    </a:lnTo>
                    <a:lnTo>
                      <a:pt x="96" y="56"/>
                    </a:lnTo>
                    <a:lnTo>
                      <a:pt x="92" y="56"/>
                    </a:lnTo>
                    <a:lnTo>
                      <a:pt x="92" y="52"/>
                    </a:lnTo>
                    <a:lnTo>
                      <a:pt x="96" y="52"/>
                    </a:lnTo>
                    <a:lnTo>
                      <a:pt x="100" y="52"/>
                    </a:lnTo>
                    <a:close/>
                    <a:moveTo>
                      <a:pt x="64" y="72"/>
                    </a:moveTo>
                    <a:lnTo>
                      <a:pt x="60" y="72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4"/>
                    </a:lnTo>
                    <a:lnTo>
                      <a:pt x="52" y="60"/>
                    </a:lnTo>
                    <a:lnTo>
                      <a:pt x="48" y="60"/>
                    </a:lnTo>
                    <a:lnTo>
                      <a:pt x="52" y="60"/>
                    </a:lnTo>
                    <a:lnTo>
                      <a:pt x="52" y="56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8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68" y="80"/>
                    </a:lnTo>
                    <a:lnTo>
                      <a:pt x="68" y="76"/>
                    </a:lnTo>
                    <a:lnTo>
                      <a:pt x="68" y="72"/>
                    </a:lnTo>
                    <a:lnTo>
                      <a:pt x="64" y="72"/>
                    </a:lnTo>
                    <a:close/>
                    <a:moveTo>
                      <a:pt x="72" y="64"/>
                    </a:moveTo>
                    <a:lnTo>
                      <a:pt x="72" y="60"/>
                    </a:lnTo>
                    <a:lnTo>
                      <a:pt x="76" y="64"/>
                    </a:lnTo>
                    <a:lnTo>
                      <a:pt x="72" y="64"/>
                    </a:lnTo>
                    <a:close/>
                    <a:moveTo>
                      <a:pt x="16" y="60"/>
                    </a:moveTo>
                    <a:lnTo>
                      <a:pt x="16" y="64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6" y="60"/>
                    </a:lnTo>
                    <a:close/>
                    <a:moveTo>
                      <a:pt x="96" y="76"/>
                    </a:moveTo>
                    <a:lnTo>
                      <a:pt x="92" y="76"/>
                    </a:lnTo>
                    <a:lnTo>
                      <a:pt x="92" y="72"/>
                    </a:lnTo>
                    <a:lnTo>
                      <a:pt x="96" y="72"/>
                    </a:lnTo>
                    <a:lnTo>
                      <a:pt x="92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96" y="76"/>
                    </a:lnTo>
                    <a:close/>
                    <a:moveTo>
                      <a:pt x="16" y="72"/>
                    </a:moveTo>
                    <a:lnTo>
                      <a:pt x="12" y="72"/>
                    </a:lnTo>
                    <a:lnTo>
                      <a:pt x="12" y="68"/>
                    </a:lnTo>
                    <a:lnTo>
                      <a:pt x="16" y="68"/>
                    </a:lnTo>
                    <a:lnTo>
                      <a:pt x="16" y="72"/>
                    </a:lnTo>
                    <a:close/>
                    <a:moveTo>
                      <a:pt x="12" y="68"/>
                    </a:moveTo>
                    <a:lnTo>
                      <a:pt x="12" y="72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2" y="68"/>
                    </a:lnTo>
                    <a:close/>
                    <a:moveTo>
                      <a:pt x="80" y="84"/>
                    </a:moveTo>
                    <a:lnTo>
                      <a:pt x="76" y="84"/>
                    </a:lnTo>
                    <a:lnTo>
                      <a:pt x="76" y="80"/>
                    </a:lnTo>
                    <a:lnTo>
                      <a:pt x="80" y="80"/>
                    </a:lnTo>
                    <a:lnTo>
                      <a:pt x="80" y="84"/>
                    </a:lnTo>
                    <a:close/>
                    <a:moveTo>
                      <a:pt x="16" y="88"/>
                    </a:moveTo>
                    <a:lnTo>
                      <a:pt x="16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84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8"/>
                    </a:lnTo>
                    <a:close/>
                    <a:moveTo>
                      <a:pt x="108" y="88"/>
                    </a:moveTo>
                    <a:lnTo>
                      <a:pt x="108" y="84"/>
                    </a:lnTo>
                    <a:lnTo>
                      <a:pt x="104" y="84"/>
                    </a:lnTo>
                    <a:lnTo>
                      <a:pt x="108" y="84"/>
                    </a:lnTo>
                    <a:lnTo>
                      <a:pt x="112" y="84"/>
                    </a:lnTo>
                    <a:lnTo>
                      <a:pt x="108" y="84"/>
                    </a:lnTo>
                    <a:lnTo>
                      <a:pt x="108" y="88"/>
                    </a:lnTo>
                    <a:close/>
                    <a:moveTo>
                      <a:pt x="96" y="88"/>
                    </a:moveTo>
                    <a:lnTo>
                      <a:pt x="100" y="84"/>
                    </a:lnTo>
                    <a:lnTo>
                      <a:pt x="100" y="88"/>
                    </a:lnTo>
                    <a:lnTo>
                      <a:pt x="96" y="88"/>
                    </a:lnTo>
                    <a:close/>
                    <a:moveTo>
                      <a:pt x="68" y="88"/>
                    </a:moveTo>
                    <a:lnTo>
                      <a:pt x="68" y="84"/>
                    </a:lnTo>
                    <a:lnTo>
                      <a:pt x="72" y="84"/>
                    </a:lnTo>
                    <a:lnTo>
                      <a:pt x="72" y="88"/>
                    </a:lnTo>
                    <a:lnTo>
                      <a:pt x="68" y="88"/>
                    </a:lnTo>
                    <a:close/>
                    <a:moveTo>
                      <a:pt x="80" y="84"/>
                    </a:moveTo>
                    <a:lnTo>
                      <a:pt x="80" y="88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4"/>
                    </a:lnTo>
                    <a:close/>
                    <a:moveTo>
                      <a:pt x="72" y="88"/>
                    </a:moveTo>
                    <a:lnTo>
                      <a:pt x="72" y="92"/>
                    </a:lnTo>
                    <a:lnTo>
                      <a:pt x="68" y="92"/>
                    </a:lnTo>
                    <a:lnTo>
                      <a:pt x="72" y="92"/>
                    </a:lnTo>
                    <a:lnTo>
                      <a:pt x="72" y="88"/>
                    </a:lnTo>
                    <a:close/>
                    <a:moveTo>
                      <a:pt x="88" y="100"/>
                    </a:moveTo>
                    <a:lnTo>
                      <a:pt x="84" y="96"/>
                    </a:lnTo>
                    <a:lnTo>
                      <a:pt x="88" y="96"/>
                    </a:lnTo>
                    <a:lnTo>
                      <a:pt x="88" y="100"/>
                    </a:lnTo>
                    <a:close/>
                    <a:moveTo>
                      <a:pt x="84" y="100"/>
                    </a:moveTo>
                    <a:lnTo>
                      <a:pt x="80" y="100"/>
                    </a:lnTo>
                    <a:lnTo>
                      <a:pt x="80" y="96"/>
                    </a:lnTo>
                    <a:lnTo>
                      <a:pt x="84" y="96"/>
                    </a:lnTo>
                    <a:lnTo>
                      <a:pt x="84" y="100"/>
                    </a:lnTo>
                    <a:close/>
                    <a:moveTo>
                      <a:pt x="108" y="100"/>
                    </a:moveTo>
                    <a:lnTo>
                      <a:pt x="108" y="96"/>
                    </a:lnTo>
                    <a:lnTo>
                      <a:pt x="108" y="100"/>
                    </a:lnTo>
                    <a:lnTo>
                      <a:pt x="112" y="100"/>
                    </a:lnTo>
                    <a:lnTo>
                      <a:pt x="108" y="100"/>
                    </a:lnTo>
                    <a:close/>
                    <a:moveTo>
                      <a:pt x="108" y="108"/>
                    </a:moveTo>
                    <a:lnTo>
                      <a:pt x="108" y="104"/>
                    </a:lnTo>
                    <a:lnTo>
                      <a:pt x="112" y="104"/>
                    </a:lnTo>
                    <a:lnTo>
                      <a:pt x="112" y="100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12" y="104"/>
                    </a:lnTo>
                    <a:lnTo>
                      <a:pt x="108" y="104"/>
                    </a:lnTo>
                    <a:lnTo>
                      <a:pt x="108" y="108"/>
                    </a:lnTo>
                    <a:close/>
                    <a:moveTo>
                      <a:pt x="84" y="108"/>
                    </a:moveTo>
                    <a:lnTo>
                      <a:pt x="84" y="104"/>
                    </a:lnTo>
                    <a:lnTo>
                      <a:pt x="84" y="108"/>
                    </a:lnTo>
                    <a:close/>
                    <a:moveTo>
                      <a:pt x="68" y="108"/>
                    </a:moveTo>
                    <a:lnTo>
                      <a:pt x="68" y="104"/>
                    </a:lnTo>
                    <a:lnTo>
                      <a:pt x="72" y="104"/>
                    </a:lnTo>
                    <a:lnTo>
                      <a:pt x="72" y="108"/>
                    </a:lnTo>
                    <a:lnTo>
                      <a:pt x="68" y="108"/>
                    </a:lnTo>
                    <a:close/>
                    <a:moveTo>
                      <a:pt x="127" y="112"/>
                    </a:moveTo>
                    <a:lnTo>
                      <a:pt x="127" y="116"/>
                    </a:lnTo>
                    <a:lnTo>
                      <a:pt x="124" y="120"/>
                    </a:lnTo>
                    <a:lnTo>
                      <a:pt x="120" y="120"/>
                    </a:lnTo>
                    <a:lnTo>
                      <a:pt x="120" y="116"/>
                    </a:lnTo>
                    <a:lnTo>
                      <a:pt x="124" y="116"/>
                    </a:lnTo>
                    <a:lnTo>
                      <a:pt x="124" y="112"/>
                    </a:lnTo>
                    <a:lnTo>
                      <a:pt x="127" y="112"/>
                    </a:lnTo>
                    <a:close/>
                    <a:moveTo>
                      <a:pt x="48" y="112"/>
                    </a:moveTo>
                    <a:lnTo>
                      <a:pt x="52" y="116"/>
                    </a:lnTo>
                    <a:lnTo>
                      <a:pt x="48" y="116"/>
                    </a:lnTo>
                    <a:lnTo>
                      <a:pt x="48" y="112"/>
                    </a:lnTo>
                    <a:close/>
                    <a:moveTo>
                      <a:pt x="112" y="132"/>
                    </a:moveTo>
                    <a:lnTo>
                      <a:pt x="112" y="128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12" y="132"/>
                    </a:lnTo>
                    <a:close/>
                    <a:moveTo>
                      <a:pt x="60" y="136"/>
                    </a:moveTo>
                    <a:lnTo>
                      <a:pt x="56" y="136"/>
                    </a:lnTo>
                    <a:lnTo>
                      <a:pt x="56" y="128"/>
                    </a:lnTo>
                    <a:lnTo>
                      <a:pt x="60" y="128"/>
                    </a:lnTo>
                    <a:lnTo>
                      <a:pt x="64" y="128"/>
                    </a:lnTo>
                    <a:lnTo>
                      <a:pt x="68" y="128"/>
                    </a:lnTo>
                    <a:lnTo>
                      <a:pt x="64" y="132"/>
                    </a:lnTo>
                    <a:lnTo>
                      <a:pt x="68" y="132"/>
                    </a:lnTo>
                    <a:lnTo>
                      <a:pt x="72" y="132"/>
                    </a:lnTo>
                    <a:lnTo>
                      <a:pt x="76" y="132"/>
                    </a:lnTo>
                    <a:lnTo>
                      <a:pt x="80" y="132"/>
                    </a:lnTo>
                    <a:lnTo>
                      <a:pt x="84" y="132"/>
                    </a:lnTo>
                    <a:lnTo>
                      <a:pt x="88" y="136"/>
                    </a:lnTo>
                    <a:lnTo>
                      <a:pt x="88" y="132"/>
                    </a:lnTo>
                    <a:lnTo>
                      <a:pt x="92" y="132"/>
                    </a:lnTo>
                    <a:lnTo>
                      <a:pt x="92" y="136"/>
                    </a:lnTo>
                    <a:lnTo>
                      <a:pt x="96" y="136"/>
                    </a:lnTo>
                    <a:lnTo>
                      <a:pt x="100" y="136"/>
                    </a:lnTo>
                    <a:lnTo>
                      <a:pt x="100" y="140"/>
                    </a:lnTo>
                    <a:lnTo>
                      <a:pt x="96" y="140"/>
                    </a:lnTo>
                    <a:lnTo>
                      <a:pt x="88" y="140"/>
                    </a:lnTo>
                    <a:lnTo>
                      <a:pt x="84" y="140"/>
                    </a:lnTo>
                    <a:lnTo>
                      <a:pt x="80" y="140"/>
                    </a:lnTo>
                    <a:lnTo>
                      <a:pt x="76" y="140"/>
                    </a:lnTo>
                    <a:lnTo>
                      <a:pt x="72" y="140"/>
                    </a:lnTo>
                    <a:lnTo>
                      <a:pt x="72" y="136"/>
                    </a:lnTo>
                    <a:lnTo>
                      <a:pt x="68" y="136"/>
                    </a:lnTo>
                    <a:lnTo>
                      <a:pt x="64" y="136"/>
                    </a:lnTo>
                    <a:lnTo>
                      <a:pt x="60" y="13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7" name="Freeform 117">
                <a:extLst>
                  <a:ext uri="{FF2B5EF4-FFF2-40B4-BE49-F238E27FC236}">
                    <a16:creationId xmlns:a16="http://schemas.microsoft.com/office/drawing/2014/main" id="{35CDA14D-2B81-4ECA-B878-6DF09EA957B3}"/>
                  </a:ext>
                </a:extLst>
              </p:cNvPr>
              <p:cNvSpPr>
                <a:spLocks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3626624" y="5076936"/>
                <a:ext cx="392048" cy="447514"/>
              </a:xfrm>
              <a:custGeom>
                <a:avLst/>
                <a:gdLst/>
                <a:ahLst/>
                <a:cxnLst>
                  <a:cxn ang="0">
                    <a:pos x="215" y="12"/>
                  </a:cxn>
                  <a:cxn ang="0">
                    <a:pos x="227" y="4"/>
                  </a:cxn>
                  <a:cxn ang="0">
                    <a:pos x="239" y="4"/>
                  </a:cxn>
                  <a:cxn ang="0">
                    <a:pos x="243" y="4"/>
                  </a:cxn>
                  <a:cxn ang="0">
                    <a:pos x="251" y="8"/>
                  </a:cxn>
                  <a:cxn ang="0">
                    <a:pos x="263" y="8"/>
                  </a:cxn>
                  <a:cxn ang="0">
                    <a:pos x="255" y="12"/>
                  </a:cxn>
                  <a:cxn ang="0">
                    <a:pos x="259" y="28"/>
                  </a:cxn>
                  <a:cxn ang="0">
                    <a:pos x="255" y="48"/>
                  </a:cxn>
                  <a:cxn ang="0">
                    <a:pos x="247" y="60"/>
                  </a:cxn>
                  <a:cxn ang="0">
                    <a:pos x="247" y="72"/>
                  </a:cxn>
                  <a:cxn ang="0">
                    <a:pos x="255" y="84"/>
                  </a:cxn>
                  <a:cxn ang="0">
                    <a:pos x="263" y="96"/>
                  </a:cxn>
                  <a:cxn ang="0">
                    <a:pos x="271" y="120"/>
                  </a:cxn>
                  <a:cxn ang="0">
                    <a:pos x="275" y="140"/>
                  </a:cxn>
                  <a:cxn ang="0">
                    <a:pos x="279" y="152"/>
                  </a:cxn>
                  <a:cxn ang="0">
                    <a:pos x="279" y="172"/>
                  </a:cxn>
                  <a:cxn ang="0">
                    <a:pos x="279" y="192"/>
                  </a:cxn>
                  <a:cxn ang="0">
                    <a:pos x="283" y="208"/>
                  </a:cxn>
                  <a:cxn ang="0">
                    <a:pos x="283" y="232"/>
                  </a:cxn>
                  <a:cxn ang="0">
                    <a:pos x="287" y="248"/>
                  </a:cxn>
                  <a:cxn ang="0">
                    <a:pos x="303" y="252"/>
                  </a:cxn>
                  <a:cxn ang="0">
                    <a:pos x="307" y="272"/>
                  </a:cxn>
                  <a:cxn ang="0">
                    <a:pos x="287" y="288"/>
                  </a:cxn>
                  <a:cxn ang="0">
                    <a:pos x="263" y="304"/>
                  </a:cxn>
                  <a:cxn ang="0">
                    <a:pos x="243" y="320"/>
                  </a:cxn>
                  <a:cxn ang="0">
                    <a:pos x="223" y="343"/>
                  </a:cxn>
                  <a:cxn ang="0">
                    <a:pos x="200" y="351"/>
                  </a:cxn>
                  <a:cxn ang="0">
                    <a:pos x="180" y="351"/>
                  </a:cxn>
                  <a:cxn ang="0">
                    <a:pos x="172" y="335"/>
                  </a:cxn>
                  <a:cxn ang="0">
                    <a:pos x="160" y="327"/>
                  </a:cxn>
                  <a:cxn ang="0">
                    <a:pos x="152" y="320"/>
                  </a:cxn>
                  <a:cxn ang="0">
                    <a:pos x="136" y="304"/>
                  </a:cxn>
                  <a:cxn ang="0">
                    <a:pos x="112" y="284"/>
                  </a:cxn>
                  <a:cxn ang="0">
                    <a:pos x="84" y="260"/>
                  </a:cxn>
                  <a:cxn ang="0">
                    <a:pos x="60" y="240"/>
                  </a:cxn>
                  <a:cxn ang="0">
                    <a:pos x="36" y="224"/>
                  </a:cxn>
                  <a:cxn ang="0">
                    <a:pos x="20" y="212"/>
                  </a:cxn>
                  <a:cxn ang="0">
                    <a:pos x="0" y="192"/>
                  </a:cxn>
                  <a:cxn ang="0">
                    <a:pos x="4" y="164"/>
                  </a:cxn>
                  <a:cxn ang="0">
                    <a:pos x="16" y="156"/>
                  </a:cxn>
                  <a:cxn ang="0">
                    <a:pos x="32" y="152"/>
                  </a:cxn>
                  <a:cxn ang="0">
                    <a:pos x="44" y="144"/>
                  </a:cxn>
                  <a:cxn ang="0">
                    <a:pos x="56" y="136"/>
                  </a:cxn>
                  <a:cxn ang="0">
                    <a:pos x="72" y="124"/>
                  </a:cxn>
                  <a:cxn ang="0">
                    <a:pos x="72" y="116"/>
                  </a:cxn>
                  <a:cxn ang="0">
                    <a:pos x="80" y="108"/>
                  </a:cxn>
                  <a:cxn ang="0">
                    <a:pos x="100" y="100"/>
                  </a:cxn>
                  <a:cxn ang="0">
                    <a:pos x="116" y="100"/>
                  </a:cxn>
                  <a:cxn ang="0">
                    <a:pos x="112" y="92"/>
                  </a:cxn>
                  <a:cxn ang="0">
                    <a:pos x="108" y="72"/>
                  </a:cxn>
                  <a:cxn ang="0">
                    <a:pos x="104" y="56"/>
                  </a:cxn>
                  <a:cxn ang="0">
                    <a:pos x="100" y="44"/>
                  </a:cxn>
                  <a:cxn ang="0">
                    <a:pos x="112" y="36"/>
                  </a:cxn>
                  <a:cxn ang="0">
                    <a:pos x="128" y="24"/>
                  </a:cxn>
                  <a:cxn ang="0">
                    <a:pos x="140" y="20"/>
                  </a:cxn>
                  <a:cxn ang="0">
                    <a:pos x="152" y="12"/>
                  </a:cxn>
                  <a:cxn ang="0">
                    <a:pos x="172" y="12"/>
                  </a:cxn>
                  <a:cxn ang="0">
                    <a:pos x="188" y="8"/>
                  </a:cxn>
                </a:cxnLst>
                <a:rect l="0" t="0" r="r" b="b"/>
                <a:pathLst>
                  <a:path w="311" h="355">
                    <a:moveTo>
                      <a:pt x="200" y="4"/>
                    </a:moveTo>
                    <a:lnTo>
                      <a:pt x="204" y="4"/>
                    </a:lnTo>
                    <a:lnTo>
                      <a:pt x="207" y="8"/>
                    </a:lnTo>
                    <a:lnTo>
                      <a:pt x="211" y="12"/>
                    </a:lnTo>
                    <a:lnTo>
                      <a:pt x="215" y="12"/>
                    </a:lnTo>
                    <a:lnTo>
                      <a:pt x="215" y="8"/>
                    </a:lnTo>
                    <a:lnTo>
                      <a:pt x="219" y="8"/>
                    </a:lnTo>
                    <a:lnTo>
                      <a:pt x="223" y="8"/>
                    </a:lnTo>
                    <a:lnTo>
                      <a:pt x="223" y="4"/>
                    </a:lnTo>
                    <a:lnTo>
                      <a:pt x="227" y="4"/>
                    </a:lnTo>
                    <a:lnTo>
                      <a:pt x="227" y="0"/>
                    </a:lnTo>
                    <a:lnTo>
                      <a:pt x="231" y="0"/>
                    </a:lnTo>
                    <a:lnTo>
                      <a:pt x="231" y="4"/>
                    </a:lnTo>
                    <a:lnTo>
                      <a:pt x="235" y="4"/>
                    </a:lnTo>
                    <a:lnTo>
                      <a:pt x="239" y="4"/>
                    </a:lnTo>
                    <a:lnTo>
                      <a:pt x="243" y="4"/>
                    </a:lnTo>
                    <a:lnTo>
                      <a:pt x="239" y="4"/>
                    </a:lnTo>
                    <a:lnTo>
                      <a:pt x="239" y="0"/>
                    </a:lnTo>
                    <a:lnTo>
                      <a:pt x="243" y="0"/>
                    </a:lnTo>
                    <a:lnTo>
                      <a:pt x="243" y="4"/>
                    </a:lnTo>
                    <a:lnTo>
                      <a:pt x="243" y="0"/>
                    </a:lnTo>
                    <a:lnTo>
                      <a:pt x="243" y="4"/>
                    </a:lnTo>
                    <a:lnTo>
                      <a:pt x="247" y="4"/>
                    </a:lnTo>
                    <a:lnTo>
                      <a:pt x="251" y="4"/>
                    </a:lnTo>
                    <a:lnTo>
                      <a:pt x="251" y="8"/>
                    </a:lnTo>
                    <a:lnTo>
                      <a:pt x="255" y="8"/>
                    </a:lnTo>
                    <a:lnTo>
                      <a:pt x="255" y="4"/>
                    </a:lnTo>
                    <a:lnTo>
                      <a:pt x="259" y="4"/>
                    </a:lnTo>
                    <a:lnTo>
                      <a:pt x="263" y="4"/>
                    </a:lnTo>
                    <a:lnTo>
                      <a:pt x="263" y="8"/>
                    </a:lnTo>
                    <a:lnTo>
                      <a:pt x="259" y="8"/>
                    </a:lnTo>
                    <a:lnTo>
                      <a:pt x="259" y="12"/>
                    </a:lnTo>
                    <a:lnTo>
                      <a:pt x="255" y="12"/>
                    </a:lnTo>
                    <a:lnTo>
                      <a:pt x="255" y="16"/>
                    </a:lnTo>
                    <a:lnTo>
                      <a:pt x="255" y="12"/>
                    </a:lnTo>
                    <a:lnTo>
                      <a:pt x="259" y="16"/>
                    </a:lnTo>
                    <a:lnTo>
                      <a:pt x="259" y="20"/>
                    </a:lnTo>
                    <a:lnTo>
                      <a:pt x="255" y="24"/>
                    </a:lnTo>
                    <a:lnTo>
                      <a:pt x="255" y="28"/>
                    </a:lnTo>
                    <a:lnTo>
                      <a:pt x="259" y="28"/>
                    </a:lnTo>
                    <a:lnTo>
                      <a:pt x="259" y="32"/>
                    </a:lnTo>
                    <a:lnTo>
                      <a:pt x="259" y="36"/>
                    </a:lnTo>
                    <a:lnTo>
                      <a:pt x="259" y="40"/>
                    </a:lnTo>
                    <a:lnTo>
                      <a:pt x="255" y="44"/>
                    </a:lnTo>
                    <a:lnTo>
                      <a:pt x="255" y="48"/>
                    </a:lnTo>
                    <a:lnTo>
                      <a:pt x="255" y="52"/>
                    </a:lnTo>
                    <a:lnTo>
                      <a:pt x="251" y="52"/>
                    </a:lnTo>
                    <a:lnTo>
                      <a:pt x="251" y="56"/>
                    </a:lnTo>
                    <a:lnTo>
                      <a:pt x="251" y="60"/>
                    </a:lnTo>
                    <a:lnTo>
                      <a:pt x="247" y="60"/>
                    </a:lnTo>
                    <a:lnTo>
                      <a:pt x="247" y="64"/>
                    </a:lnTo>
                    <a:lnTo>
                      <a:pt x="243" y="64"/>
                    </a:lnTo>
                    <a:lnTo>
                      <a:pt x="243" y="68"/>
                    </a:lnTo>
                    <a:lnTo>
                      <a:pt x="247" y="68"/>
                    </a:lnTo>
                    <a:lnTo>
                      <a:pt x="247" y="72"/>
                    </a:lnTo>
                    <a:lnTo>
                      <a:pt x="247" y="76"/>
                    </a:lnTo>
                    <a:lnTo>
                      <a:pt x="247" y="80"/>
                    </a:lnTo>
                    <a:lnTo>
                      <a:pt x="251" y="80"/>
                    </a:lnTo>
                    <a:lnTo>
                      <a:pt x="255" y="80"/>
                    </a:lnTo>
                    <a:lnTo>
                      <a:pt x="255" y="84"/>
                    </a:lnTo>
                    <a:lnTo>
                      <a:pt x="255" y="88"/>
                    </a:lnTo>
                    <a:lnTo>
                      <a:pt x="259" y="88"/>
                    </a:lnTo>
                    <a:lnTo>
                      <a:pt x="259" y="92"/>
                    </a:lnTo>
                    <a:lnTo>
                      <a:pt x="259" y="96"/>
                    </a:lnTo>
                    <a:lnTo>
                      <a:pt x="263" y="96"/>
                    </a:lnTo>
                    <a:lnTo>
                      <a:pt x="267" y="100"/>
                    </a:lnTo>
                    <a:lnTo>
                      <a:pt x="267" y="104"/>
                    </a:lnTo>
                    <a:lnTo>
                      <a:pt x="271" y="104"/>
                    </a:lnTo>
                    <a:lnTo>
                      <a:pt x="271" y="112"/>
                    </a:lnTo>
                    <a:lnTo>
                      <a:pt x="271" y="120"/>
                    </a:lnTo>
                    <a:lnTo>
                      <a:pt x="271" y="124"/>
                    </a:lnTo>
                    <a:lnTo>
                      <a:pt x="275" y="128"/>
                    </a:lnTo>
                    <a:lnTo>
                      <a:pt x="275" y="132"/>
                    </a:lnTo>
                    <a:lnTo>
                      <a:pt x="275" y="136"/>
                    </a:lnTo>
                    <a:lnTo>
                      <a:pt x="275" y="140"/>
                    </a:lnTo>
                    <a:lnTo>
                      <a:pt x="271" y="140"/>
                    </a:lnTo>
                    <a:lnTo>
                      <a:pt x="275" y="144"/>
                    </a:lnTo>
                    <a:lnTo>
                      <a:pt x="275" y="148"/>
                    </a:lnTo>
                    <a:lnTo>
                      <a:pt x="279" y="148"/>
                    </a:lnTo>
                    <a:lnTo>
                      <a:pt x="279" y="152"/>
                    </a:lnTo>
                    <a:lnTo>
                      <a:pt x="279" y="156"/>
                    </a:lnTo>
                    <a:lnTo>
                      <a:pt x="279" y="160"/>
                    </a:lnTo>
                    <a:lnTo>
                      <a:pt x="279" y="164"/>
                    </a:lnTo>
                    <a:lnTo>
                      <a:pt x="279" y="168"/>
                    </a:lnTo>
                    <a:lnTo>
                      <a:pt x="279" y="172"/>
                    </a:lnTo>
                    <a:lnTo>
                      <a:pt x="279" y="176"/>
                    </a:lnTo>
                    <a:lnTo>
                      <a:pt x="279" y="180"/>
                    </a:lnTo>
                    <a:lnTo>
                      <a:pt x="283" y="184"/>
                    </a:lnTo>
                    <a:lnTo>
                      <a:pt x="283" y="188"/>
                    </a:lnTo>
                    <a:lnTo>
                      <a:pt x="279" y="192"/>
                    </a:lnTo>
                    <a:lnTo>
                      <a:pt x="279" y="196"/>
                    </a:lnTo>
                    <a:lnTo>
                      <a:pt x="279" y="200"/>
                    </a:lnTo>
                    <a:lnTo>
                      <a:pt x="279" y="204"/>
                    </a:lnTo>
                    <a:lnTo>
                      <a:pt x="283" y="204"/>
                    </a:lnTo>
                    <a:lnTo>
                      <a:pt x="283" y="208"/>
                    </a:lnTo>
                    <a:lnTo>
                      <a:pt x="279" y="212"/>
                    </a:lnTo>
                    <a:lnTo>
                      <a:pt x="275" y="216"/>
                    </a:lnTo>
                    <a:lnTo>
                      <a:pt x="275" y="220"/>
                    </a:lnTo>
                    <a:lnTo>
                      <a:pt x="279" y="228"/>
                    </a:lnTo>
                    <a:lnTo>
                      <a:pt x="283" y="232"/>
                    </a:lnTo>
                    <a:lnTo>
                      <a:pt x="283" y="236"/>
                    </a:lnTo>
                    <a:lnTo>
                      <a:pt x="283" y="240"/>
                    </a:lnTo>
                    <a:lnTo>
                      <a:pt x="283" y="244"/>
                    </a:lnTo>
                    <a:lnTo>
                      <a:pt x="287" y="244"/>
                    </a:lnTo>
                    <a:lnTo>
                      <a:pt x="287" y="248"/>
                    </a:lnTo>
                    <a:lnTo>
                      <a:pt x="291" y="252"/>
                    </a:lnTo>
                    <a:lnTo>
                      <a:pt x="291" y="248"/>
                    </a:lnTo>
                    <a:lnTo>
                      <a:pt x="295" y="248"/>
                    </a:lnTo>
                    <a:lnTo>
                      <a:pt x="299" y="252"/>
                    </a:lnTo>
                    <a:lnTo>
                      <a:pt x="303" y="252"/>
                    </a:lnTo>
                    <a:lnTo>
                      <a:pt x="307" y="252"/>
                    </a:lnTo>
                    <a:lnTo>
                      <a:pt x="311" y="260"/>
                    </a:lnTo>
                    <a:lnTo>
                      <a:pt x="311" y="268"/>
                    </a:lnTo>
                    <a:lnTo>
                      <a:pt x="311" y="272"/>
                    </a:lnTo>
                    <a:lnTo>
                      <a:pt x="307" y="272"/>
                    </a:lnTo>
                    <a:lnTo>
                      <a:pt x="299" y="280"/>
                    </a:lnTo>
                    <a:lnTo>
                      <a:pt x="295" y="280"/>
                    </a:lnTo>
                    <a:lnTo>
                      <a:pt x="295" y="284"/>
                    </a:lnTo>
                    <a:lnTo>
                      <a:pt x="291" y="284"/>
                    </a:lnTo>
                    <a:lnTo>
                      <a:pt x="287" y="288"/>
                    </a:lnTo>
                    <a:lnTo>
                      <a:pt x="283" y="288"/>
                    </a:lnTo>
                    <a:lnTo>
                      <a:pt x="279" y="292"/>
                    </a:lnTo>
                    <a:lnTo>
                      <a:pt x="275" y="296"/>
                    </a:lnTo>
                    <a:lnTo>
                      <a:pt x="267" y="300"/>
                    </a:lnTo>
                    <a:lnTo>
                      <a:pt x="263" y="304"/>
                    </a:lnTo>
                    <a:lnTo>
                      <a:pt x="263" y="308"/>
                    </a:lnTo>
                    <a:lnTo>
                      <a:pt x="255" y="312"/>
                    </a:lnTo>
                    <a:lnTo>
                      <a:pt x="251" y="316"/>
                    </a:lnTo>
                    <a:lnTo>
                      <a:pt x="247" y="316"/>
                    </a:lnTo>
                    <a:lnTo>
                      <a:pt x="243" y="320"/>
                    </a:lnTo>
                    <a:lnTo>
                      <a:pt x="235" y="327"/>
                    </a:lnTo>
                    <a:lnTo>
                      <a:pt x="231" y="331"/>
                    </a:lnTo>
                    <a:lnTo>
                      <a:pt x="231" y="335"/>
                    </a:lnTo>
                    <a:lnTo>
                      <a:pt x="227" y="339"/>
                    </a:lnTo>
                    <a:lnTo>
                      <a:pt x="223" y="343"/>
                    </a:lnTo>
                    <a:lnTo>
                      <a:pt x="219" y="347"/>
                    </a:lnTo>
                    <a:lnTo>
                      <a:pt x="215" y="347"/>
                    </a:lnTo>
                    <a:lnTo>
                      <a:pt x="211" y="347"/>
                    </a:lnTo>
                    <a:lnTo>
                      <a:pt x="207" y="347"/>
                    </a:lnTo>
                    <a:lnTo>
                      <a:pt x="200" y="351"/>
                    </a:lnTo>
                    <a:lnTo>
                      <a:pt x="196" y="351"/>
                    </a:lnTo>
                    <a:lnTo>
                      <a:pt x="192" y="351"/>
                    </a:lnTo>
                    <a:lnTo>
                      <a:pt x="188" y="351"/>
                    </a:lnTo>
                    <a:lnTo>
                      <a:pt x="184" y="355"/>
                    </a:lnTo>
                    <a:lnTo>
                      <a:pt x="180" y="351"/>
                    </a:lnTo>
                    <a:lnTo>
                      <a:pt x="180" y="347"/>
                    </a:lnTo>
                    <a:lnTo>
                      <a:pt x="180" y="343"/>
                    </a:lnTo>
                    <a:lnTo>
                      <a:pt x="180" y="339"/>
                    </a:lnTo>
                    <a:lnTo>
                      <a:pt x="176" y="335"/>
                    </a:lnTo>
                    <a:lnTo>
                      <a:pt x="172" y="335"/>
                    </a:lnTo>
                    <a:lnTo>
                      <a:pt x="168" y="335"/>
                    </a:lnTo>
                    <a:lnTo>
                      <a:pt x="168" y="331"/>
                    </a:lnTo>
                    <a:lnTo>
                      <a:pt x="164" y="331"/>
                    </a:lnTo>
                    <a:lnTo>
                      <a:pt x="160" y="331"/>
                    </a:lnTo>
                    <a:lnTo>
                      <a:pt x="160" y="327"/>
                    </a:lnTo>
                    <a:lnTo>
                      <a:pt x="156" y="327"/>
                    </a:lnTo>
                    <a:lnTo>
                      <a:pt x="156" y="324"/>
                    </a:lnTo>
                    <a:lnTo>
                      <a:pt x="152" y="324"/>
                    </a:lnTo>
                    <a:lnTo>
                      <a:pt x="148" y="320"/>
                    </a:lnTo>
                    <a:lnTo>
                      <a:pt x="152" y="320"/>
                    </a:lnTo>
                    <a:lnTo>
                      <a:pt x="152" y="316"/>
                    </a:lnTo>
                    <a:lnTo>
                      <a:pt x="148" y="316"/>
                    </a:lnTo>
                    <a:lnTo>
                      <a:pt x="144" y="312"/>
                    </a:lnTo>
                    <a:lnTo>
                      <a:pt x="140" y="304"/>
                    </a:lnTo>
                    <a:lnTo>
                      <a:pt x="136" y="304"/>
                    </a:lnTo>
                    <a:lnTo>
                      <a:pt x="132" y="300"/>
                    </a:lnTo>
                    <a:lnTo>
                      <a:pt x="124" y="296"/>
                    </a:lnTo>
                    <a:lnTo>
                      <a:pt x="120" y="292"/>
                    </a:lnTo>
                    <a:lnTo>
                      <a:pt x="116" y="288"/>
                    </a:lnTo>
                    <a:lnTo>
                      <a:pt x="112" y="284"/>
                    </a:lnTo>
                    <a:lnTo>
                      <a:pt x="104" y="280"/>
                    </a:lnTo>
                    <a:lnTo>
                      <a:pt x="100" y="276"/>
                    </a:lnTo>
                    <a:lnTo>
                      <a:pt x="96" y="268"/>
                    </a:lnTo>
                    <a:lnTo>
                      <a:pt x="88" y="264"/>
                    </a:lnTo>
                    <a:lnTo>
                      <a:pt x="84" y="260"/>
                    </a:lnTo>
                    <a:lnTo>
                      <a:pt x="80" y="256"/>
                    </a:lnTo>
                    <a:lnTo>
                      <a:pt x="76" y="252"/>
                    </a:lnTo>
                    <a:lnTo>
                      <a:pt x="68" y="248"/>
                    </a:lnTo>
                    <a:lnTo>
                      <a:pt x="64" y="244"/>
                    </a:lnTo>
                    <a:lnTo>
                      <a:pt x="60" y="240"/>
                    </a:lnTo>
                    <a:lnTo>
                      <a:pt x="56" y="240"/>
                    </a:lnTo>
                    <a:lnTo>
                      <a:pt x="52" y="236"/>
                    </a:lnTo>
                    <a:lnTo>
                      <a:pt x="48" y="232"/>
                    </a:lnTo>
                    <a:lnTo>
                      <a:pt x="44" y="228"/>
                    </a:lnTo>
                    <a:lnTo>
                      <a:pt x="36" y="224"/>
                    </a:lnTo>
                    <a:lnTo>
                      <a:pt x="32" y="220"/>
                    </a:lnTo>
                    <a:lnTo>
                      <a:pt x="28" y="216"/>
                    </a:lnTo>
                    <a:lnTo>
                      <a:pt x="24" y="216"/>
                    </a:lnTo>
                    <a:lnTo>
                      <a:pt x="24" y="212"/>
                    </a:lnTo>
                    <a:lnTo>
                      <a:pt x="20" y="212"/>
                    </a:lnTo>
                    <a:lnTo>
                      <a:pt x="16" y="208"/>
                    </a:lnTo>
                    <a:lnTo>
                      <a:pt x="8" y="204"/>
                    </a:lnTo>
                    <a:lnTo>
                      <a:pt x="8" y="200"/>
                    </a:lnTo>
                    <a:lnTo>
                      <a:pt x="0" y="196"/>
                    </a:lnTo>
                    <a:lnTo>
                      <a:pt x="0" y="192"/>
                    </a:lnTo>
                    <a:lnTo>
                      <a:pt x="0" y="188"/>
                    </a:lnTo>
                    <a:lnTo>
                      <a:pt x="0" y="184"/>
                    </a:lnTo>
                    <a:lnTo>
                      <a:pt x="0" y="168"/>
                    </a:lnTo>
                    <a:lnTo>
                      <a:pt x="4" y="168"/>
                    </a:lnTo>
                    <a:lnTo>
                      <a:pt x="4" y="164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12" y="160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20" y="156"/>
                    </a:lnTo>
                    <a:lnTo>
                      <a:pt x="20" y="152"/>
                    </a:lnTo>
                    <a:lnTo>
                      <a:pt x="24" y="152"/>
                    </a:lnTo>
                    <a:lnTo>
                      <a:pt x="28" y="152"/>
                    </a:lnTo>
                    <a:lnTo>
                      <a:pt x="32" y="152"/>
                    </a:lnTo>
                    <a:lnTo>
                      <a:pt x="32" y="148"/>
                    </a:lnTo>
                    <a:lnTo>
                      <a:pt x="36" y="148"/>
                    </a:lnTo>
                    <a:lnTo>
                      <a:pt x="40" y="148"/>
                    </a:lnTo>
                    <a:lnTo>
                      <a:pt x="44" y="148"/>
                    </a:lnTo>
                    <a:lnTo>
                      <a:pt x="44" y="144"/>
                    </a:lnTo>
                    <a:lnTo>
                      <a:pt x="48" y="144"/>
                    </a:lnTo>
                    <a:lnTo>
                      <a:pt x="52" y="144"/>
                    </a:lnTo>
                    <a:lnTo>
                      <a:pt x="52" y="140"/>
                    </a:lnTo>
                    <a:lnTo>
                      <a:pt x="56" y="140"/>
                    </a:lnTo>
                    <a:lnTo>
                      <a:pt x="56" y="136"/>
                    </a:lnTo>
                    <a:lnTo>
                      <a:pt x="56" y="132"/>
                    </a:lnTo>
                    <a:lnTo>
                      <a:pt x="60" y="132"/>
                    </a:lnTo>
                    <a:lnTo>
                      <a:pt x="64" y="132"/>
                    </a:lnTo>
                    <a:lnTo>
                      <a:pt x="68" y="128"/>
                    </a:lnTo>
                    <a:lnTo>
                      <a:pt x="72" y="124"/>
                    </a:lnTo>
                    <a:lnTo>
                      <a:pt x="76" y="124"/>
                    </a:lnTo>
                    <a:lnTo>
                      <a:pt x="76" y="120"/>
                    </a:lnTo>
                    <a:lnTo>
                      <a:pt x="72" y="120"/>
                    </a:lnTo>
                    <a:lnTo>
                      <a:pt x="76" y="116"/>
                    </a:lnTo>
                    <a:lnTo>
                      <a:pt x="72" y="116"/>
                    </a:lnTo>
                    <a:lnTo>
                      <a:pt x="72" y="112"/>
                    </a:lnTo>
                    <a:lnTo>
                      <a:pt x="76" y="108"/>
                    </a:lnTo>
                    <a:lnTo>
                      <a:pt x="76" y="112"/>
                    </a:lnTo>
                    <a:lnTo>
                      <a:pt x="80" y="112"/>
                    </a:lnTo>
                    <a:lnTo>
                      <a:pt x="80" y="108"/>
                    </a:lnTo>
                    <a:lnTo>
                      <a:pt x="84" y="108"/>
                    </a:lnTo>
                    <a:lnTo>
                      <a:pt x="88" y="108"/>
                    </a:lnTo>
                    <a:lnTo>
                      <a:pt x="88" y="104"/>
                    </a:lnTo>
                    <a:lnTo>
                      <a:pt x="96" y="100"/>
                    </a:lnTo>
                    <a:lnTo>
                      <a:pt x="100" y="100"/>
                    </a:lnTo>
                    <a:lnTo>
                      <a:pt x="104" y="100"/>
                    </a:lnTo>
                    <a:lnTo>
                      <a:pt x="108" y="100"/>
                    </a:lnTo>
                    <a:lnTo>
                      <a:pt x="112" y="100"/>
                    </a:lnTo>
                    <a:lnTo>
                      <a:pt x="112" y="104"/>
                    </a:lnTo>
                    <a:lnTo>
                      <a:pt x="116" y="100"/>
                    </a:lnTo>
                    <a:lnTo>
                      <a:pt x="112" y="100"/>
                    </a:lnTo>
                    <a:lnTo>
                      <a:pt x="112" y="96"/>
                    </a:lnTo>
                    <a:lnTo>
                      <a:pt x="116" y="96"/>
                    </a:lnTo>
                    <a:lnTo>
                      <a:pt x="116" y="92"/>
                    </a:lnTo>
                    <a:lnTo>
                      <a:pt x="112" y="92"/>
                    </a:lnTo>
                    <a:lnTo>
                      <a:pt x="112" y="88"/>
                    </a:lnTo>
                    <a:lnTo>
                      <a:pt x="108" y="84"/>
                    </a:lnTo>
                    <a:lnTo>
                      <a:pt x="108" y="80"/>
                    </a:lnTo>
                    <a:lnTo>
                      <a:pt x="108" y="76"/>
                    </a:lnTo>
                    <a:lnTo>
                      <a:pt x="108" y="72"/>
                    </a:lnTo>
                    <a:lnTo>
                      <a:pt x="104" y="68"/>
                    </a:lnTo>
                    <a:lnTo>
                      <a:pt x="108" y="68"/>
                    </a:lnTo>
                    <a:lnTo>
                      <a:pt x="108" y="64"/>
                    </a:lnTo>
                    <a:lnTo>
                      <a:pt x="104" y="60"/>
                    </a:lnTo>
                    <a:lnTo>
                      <a:pt x="104" y="56"/>
                    </a:lnTo>
                    <a:lnTo>
                      <a:pt x="108" y="56"/>
                    </a:lnTo>
                    <a:lnTo>
                      <a:pt x="104" y="56"/>
                    </a:lnTo>
                    <a:lnTo>
                      <a:pt x="104" y="52"/>
                    </a:lnTo>
                    <a:lnTo>
                      <a:pt x="104" y="48"/>
                    </a:lnTo>
                    <a:lnTo>
                      <a:pt x="100" y="44"/>
                    </a:lnTo>
                    <a:lnTo>
                      <a:pt x="104" y="44"/>
                    </a:lnTo>
                    <a:lnTo>
                      <a:pt x="104" y="40"/>
                    </a:lnTo>
                    <a:lnTo>
                      <a:pt x="108" y="40"/>
                    </a:lnTo>
                    <a:lnTo>
                      <a:pt x="108" y="36"/>
                    </a:lnTo>
                    <a:lnTo>
                      <a:pt x="112" y="36"/>
                    </a:lnTo>
                    <a:lnTo>
                      <a:pt x="112" y="32"/>
                    </a:lnTo>
                    <a:lnTo>
                      <a:pt x="116" y="32"/>
                    </a:lnTo>
                    <a:lnTo>
                      <a:pt x="120" y="28"/>
                    </a:lnTo>
                    <a:lnTo>
                      <a:pt x="124" y="28"/>
                    </a:lnTo>
                    <a:lnTo>
                      <a:pt x="128" y="24"/>
                    </a:lnTo>
                    <a:lnTo>
                      <a:pt x="128" y="28"/>
                    </a:lnTo>
                    <a:lnTo>
                      <a:pt x="132" y="28"/>
                    </a:lnTo>
                    <a:lnTo>
                      <a:pt x="132" y="24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0" y="16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2"/>
                    </a:lnTo>
                    <a:lnTo>
                      <a:pt x="152" y="12"/>
                    </a:lnTo>
                    <a:lnTo>
                      <a:pt x="156" y="12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12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6" y="4"/>
                    </a:lnTo>
                    <a:lnTo>
                      <a:pt x="200" y="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8" name="Freeform 118">
                <a:extLst>
                  <a:ext uri="{FF2B5EF4-FFF2-40B4-BE49-F238E27FC236}">
                    <a16:creationId xmlns:a16="http://schemas.microsoft.com/office/drawing/2014/main" id="{4E859E1F-FEF3-437A-B0B1-B204F1E4A9C6}"/>
                  </a:ext>
                </a:extLst>
              </p:cNvPr>
              <p:cNvSpPr>
                <a:spLocks noEditPoints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018672" y="6067771"/>
                <a:ext cx="231951" cy="317672"/>
              </a:xfrm>
              <a:custGeom>
                <a:avLst/>
                <a:gdLst/>
                <a:ahLst/>
                <a:cxnLst>
                  <a:cxn ang="0">
                    <a:pos x="12" y="12"/>
                  </a:cxn>
                  <a:cxn ang="0">
                    <a:pos x="4" y="24"/>
                  </a:cxn>
                  <a:cxn ang="0">
                    <a:pos x="4" y="8"/>
                  </a:cxn>
                  <a:cxn ang="0">
                    <a:pos x="16" y="0"/>
                  </a:cxn>
                  <a:cxn ang="0">
                    <a:pos x="172" y="244"/>
                  </a:cxn>
                  <a:cxn ang="0">
                    <a:pos x="152" y="248"/>
                  </a:cxn>
                  <a:cxn ang="0">
                    <a:pos x="136" y="252"/>
                  </a:cxn>
                  <a:cxn ang="0">
                    <a:pos x="124" y="248"/>
                  </a:cxn>
                  <a:cxn ang="0">
                    <a:pos x="108" y="248"/>
                  </a:cxn>
                  <a:cxn ang="0">
                    <a:pos x="96" y="240"/>
                  </a:cxn>
                  <a:cxn ang="0">
                    <a:pos x="72" y="240"/>
                  </a:cxn>
                  <a:cxn ang="0">
                    <a:pos x="44" y="240"/>
                  </a:cxn>
                  <a:cxn ang="0">
                    <a:pos x="32" y="236"/>
                  </a:cxn>
                  <a:cxn ang="0">
                    <a:pos x="16" y="232"/>
                  </a:cxn>
                  <a:cxn ang="0">
                    <a:pos x="0" y="236"/>
                  </a:cxn>
                  <a:cxn ang="0">
                    <a:pos x="0" y="220"/>
                  </a:cxn>
                  <a:cxn ang="0">
                    <a:pos x="4" y="204"/>
                  </a:cxn>
                  <a:cxn ang="0">
                    <a:pos x="8" y="188"/>
                  </a:cxn>
                  <a:cxn ang="0">
                    <a:pos x="8" y="172"/>
                  </a:cxn>
                  <a:cxn ang="0">
                    <a:pos x="12" y="160"/>
                  </a:cxn>
                  <a:cxn ang="0">
                    <a:pos x="20" y="152"/>
                  </a:cxn>
                  <a:cxn ang="0">
                    <a:pos x="24" y="144"/>
                  </a:cxn>
                  <a:cxn ang="0">
                    <a:pos x="28" y="132"/>
                  </a:cxn>
                  <a:cxn ang="0">
                    <a:pos x="28" y="116"/>
                  </a:cxn>
                  <a:cxn ang="0">
                    <a:pos x="24" y="100"/>
                  </a:cxn>
                  <a:cxn ang="0">
                    <a:pos x="20" y="88"/>
                  </a:cxn>
                  <a:cxn ang="0">
                    <a:pos x="16" y="84"/>
                  </a:cxn>
                  <a:cxn ang="0">
                    <a:pos x="24" y="76"/>
                  </a:cxn>
                  <a:cxn ang="0">
                    <a:pos x="20" y="64"/>
                  </a:cxn>
                  <a:cxn ang="0">
                    <a:pos x="16" y="48"/>
                  </a:cxn>
                  <a:cxn ang="0">
                    <a:pos x="8" y="36"/>
                  </a:cxn>
                  <a:cxn ang="0">
                    <a:pos x="12" y="28"/>
                  </a:cxn>
                  <a:cxn ang="0">
                    <a:pos x="20" y="28"/>
                  </a:cxn>
                  <a:cxn ang="0">
                    <a:pos x="32" y="24"/>
                  </a:cxn>
                  <a:cxn ang="0">
                    <a:pos x="44" y="24"/>
                  </a:cxn>
                  <a:cxn ang="0">
                    <a:pos x="68" y="24"/>
                  </a:cxn>
                  <a:cxn ang="0">
                    <a:pos x="72" y="36"/>
                  </a:cxn>
                  <a:cxn ang="0">
                    <a:pos x="76" y="52"/>
                  </a:cxn>
                  <a:cxn ang="0">
                    <a:pos x="84" y="64"/>
                  </a:cxn>
                  <a:cxn ang="0">
                    <a:pos x="92" y="68"/>
                  </a:cxn>
                  <a:cxn ang="0">
                    <a:pos x="104" y="64"/>
                  </a:cxn>
                  <a:cxn ang="0">
                    <a:pos x="112" y="60"/>
                  </a:cxn>
                  <a:cxn ang="0">
                    <a:pos x="116" y="48"/>
                  </a:cxn>
                  <a:cxn ang="0">
                    <a:pos x="132" y="44"/>
                  </a:cxn>
                  <a:cxn ang="0">
                    <a:pos x="148" y="52"/>
                  </a:cxn>
                  <a:cxn ang="0">
                    <a:pos x="152" y="64"/>
                  </a:cxn>
                  <a:cxn ang="0">
                    <a:pos x="152" y="80"/>
                  </a:cxn>
                  <a:cxn ang="0">
                    <a:pos x="152" y="96"/>
                  </a:cxn>
                  <a:cxn ang="0">
                    <a:pos x="160" y="112"/>
                  </a:cxn>
                  <a:cxn ang="0">
                    <a:pos x="156" y="124"/>
                  </a:cxn>
                  <a:cxn ang="0">
                    <a:pos x="168" y="120"/>
                  </a:cxn>
                  <a:cxn ang="0">
                    <a:pos x="184" y="120"/>
                  </a:cxn>
                  <a:cxn ang="0">
                    <a:pos x="184" y="128"/>
                  </a:cxn>
                  <a:cxn ang="0">
                    <a:pos x="184" y="148"/>
                  </a:cxn>
                  <a:cxn ang="0">
                    <a:pos x="176" y="156"/>
                  </a:cxn>
                  <a:cxn ang="0">
                    <a:pos x="152" y="156"/>
                  </a:cxn>
                  <a:cxn ang="0">
                    <a:pos x="152" y="184"/>
                  </a:cxn>
                  <a:cxn ang="0">
                    <a:pos x="152" y="212"/>
                  </a:cxn>
                  <a:cxn ang="0">
                    <a:pos x="156" y="224"/>
                  </a:cxn>
                  <a:cxn ang="0">
                    <a:pos x="172" y="240"/>
                  </a:cxn>
                </a:cxnLst>
                <a:rect l="0" t="0" r="r" b="b"/>
                <a:pathLst>
                  <a:path w="184" h="252">
                    <a:moveTo>
                      <a:pt x="20" y="4"/>
                    </a:moveTo>
                    <a:lnTo>
                      <a:pt x="16" y="4"/>
                    </a:lnTo>
                    <a:lnTo>
                      <a:pt x="12" y="8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20" y="4"/>
                    </a:lnTo>
                    <a:close/>
                    <a:moveTo>
                      <a:pt x="176" y="244"/>
                    </a:moveTo>
                    <a:lnTo>
                      <a:pt x="172" y="244"/>
                    </a:lnTo>
                    <a:lnTo>
                      <a:pt x="168" y="244"/>
                    </a:lnTo>
                    <a:lnTo>
                      <a:pt x="164" y="248"/>
                    </a:lnTo>
                    <a:lnTo>
                      <a:pt x="160" y="248"/>
                    </a:lnTo>
                    <a:lnTo>
                      <a:pt x="152" y="248"/>
                    </a:lnTo>
                    <a:lnTo>
                      <a:pt x="144" y="252"/>
                    </a:lnTo>
                    <a:lnTo>
                      <a:pt x="144" y="248"/>
                    </a:lnTo>
                    <a:lnTo>
                      <a:pt x="140" y="248"/>
                    </a:lnTo>
                    <a:lnTo>
                      <a:pt x="136" y="252"/>
                    </a:lnTo>
                    <a:lnTo>
                      <a:pt x="132" y="252"/>
                    </a:lnTo>
                    <a:lnTo>
                      <a:pt x="132" y="248"/>
                    </a:lnTo>
                    <a:lnTo>
                      <a:pt x="128" y="248"/>
                    </a:lnTo>
                    <a:lnTo>
                      <a:pt x="124" y="248"/>
                    </a:lnTo>
                    <a:lnTo>
                      <a:pt x="120" y="248"/>
                    </a:lnTo>
                    <a:lnTo>
                      <a:pt x="116" y="248"/>
                    </a:lnTo>
                    <a:lnTo>
                      <a:pt x="112" y="248"/>
                    </a:lnTo>
                    <a:lnTo>
                      <a:pt x="108" y="248"/>
                    </a:lnTo>
                    <a:lnTo>
                      <a:pt x="104" y="248"/>
                    </a:lnTo>
                    <a:lnTo>
                      <a:pt x="104" y="244"/>
                    </a:lnTo>
                    <a:lnTo>
                      <a:pt x="100" y="240"/>
                    </a:lnTo>
                    <a:lnTo>
                      <a:pt x="96" y="240"/>
                    </a:lnTo>
                    <a:lnTo>
                      <a:pt x="92" y="240"/>
                    </a:lnTo>
                    <a:lnTo>
                      <a:pt x="88" y="240"/>
                    </a:lnTo>
                    <a:lnTo>
                      <a:pt x="84" y="240"/>
                    </a:lnTo>
                    <a:lnTo>
                      <a:pt x="72" y="240"/>
                    </a:lnTo>
                    <a:lnTo>
                      <a:pt x="64" y="240"/>
                    </a:lnTo>
                    <a:lnTo>
                      <a:pt x="56" y="240"/>
                    </a:lnTo>
                    <a:lnTo>
                      <a:pt x="48" y="240"/>
                    </a:lnTo>
                    <a:lnTo>
                      <a:pt x="44" y="240"/>
                    </a:lnTo>
                    <a:lnTo>
                      <a:pt x="40" y="240"/>
                    </a:lnTo>
                    <a:lnTo>
                      <a:pt x="36" y="240"/>
                    </a:lnTo>
                    <a:lnTo>
                      <a:pt x="32" y="240"/>
                    </a:lnTo>
                    <a:lnTo>
                      <a:pt x="32" y="236"/>
                    </a:lnTo>
                    <a:lnTo>
                      <a:pt x="28" y="236"/>
                    </a:lnTo>
                    <a:lnTo>
                      <a:pt x="24" y="232"/>
                    </a:lnTo>
                    <a:lnTo>
                      <a:pt x="20" y="232"/>
                    </a:lnTo>
                    <a:lnTo>
                      <a:pt x="16" y="232"/>
                    </a:lnTo>
                    <a:lnTo>
                      <a:pt x="12" y="236"/>
                    </a:lnTo>
                    <a:lnTo>
                      <a:pt x="8" y="236"/>
                    </a:lnTo>
                    <a:lnTo>
                      <a:pt x="4" y="236"/>
                    </a:lnTo>
                    <a:lnTo>
                      <a:pt x="0" y="236"/>
                    </a:lnTo>
                    <a:lnTo>
                      <a:pt x="0" y="232"/>
                    </a:lnTo>
                    <a:lnTo>
                      <a:pt x="0" y="228"/>
                    </a:lnTo>
                    <a:lnTo>
                      <a:pt x="0" y="224"/>
                    </a:lnTo>
                    <a:lnTo>
                      <a:pt x="0" y="220"/>
                    </a:lnTo>
                    <a:lnTo>
                      <a:pt x="0" y="216"/>
                    </a:lnTo>
                    <a:lnTo>
                      <a:pt x="0" y="212"/>
                    </a:lnTo>
                    <a:lnTo>
                      <a:pt x="0" y="208"/>
                    </a:lnTo>
                    <a:lnTo>
                      <a:pt x="4" y="204"/>
                    </a:lnTo>
                    <a:lnTo>
                      <a:pt x="4" y="200"/>
                    </a:lnTo>
                    <a:lnTo>
                      <a:pt x="4" y="196"/>
                    </a:lnTo>
                    <a:lnTo>
                      <a:pt x="4" y="192"/>
                    </a:lnTo>
                    <a:lnTo>
                      <a:pt x="8" y="188"/>
                    </a:lnTo>
                    <a:lnTo>
                      <a:pt x="8" y="184"/>
                    </a:lnTo>
                    <a:lnTo>
                      <a:pt x="8" y="180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68"/>
                    </a:lnTo>
                    <a:lnTo>
                      <a:pt x="8" y="164"/>
                    </a:lnTo>
                    <a:lnTo>
                      <a:pt x="12" y="164"/>
                    </a:lnTo>
                    <a:lnTo>
                      <a:pt x="12" y="160"/>
                    </a:lnTo>
                    <a:lnTo>
                      <a:pt x="16" y="160"/>
                    </a:lnTo>
                    <a:lnTo>
                      <a:pt x="16" y="156"/>
                    </a:lnTo>
                    <a:lnTo>
                      <a:pt x="16" y="152"/>
                    </a:lnTo>
                    <a:lnTo>
                      <a:pt x="20" y="152"/>
                    </a:lnTo>
                    <a:lnTo>
                      <a:pt x="20" y="148"/>
                    </a:lnTo>
                    <a:lnTo>
                      <a:pt x="20" y="152"/>
                    </a:lnTo>
                    <a:lnTo>
                      <a:pt x="24" y="148"/>
                    </a:lnTo>
                    <a:lnTo>
                      <a:pt x="24" y="144"/>
                    </a:lnTo>
                    <a:lnTo>
                      <a:pt x="28" y="144"/>
                    </a:lnTo>
                    <a:lnTo>
                      <a:pt x="28" y="140"/>
                    </a:lnTo>
                    <a:lnTo>
                      <a:pt x="28" y="136"/>
                    </a:lnTo>
                    <a:lnTo>
                      <a:pt x="28" y="132"/>
                    </a:lnTo>
                    <a:lnTo>
                      <a:pt x="28" y="128"/>
                    </a:lnTo>
                    <a:lnTo>
                      <a:pt x="28" y="124"/>
                    </a:lnTo>
                    <a:lnTo>
                      <a:pt x="32" y="120"/>
                    </a:lnTo>
                    <a:lnTo>
                      <a:pt x="28" y="116"/>
                    </a:lnTo>
                    <a:lnTo>
                      <a:pt x="28" y="112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4" y="100"/>
                    </a:lnTo>
                    <a:lnTo>
                      <a:pt x="20" y="100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16" y="84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4" y="80"/>
                    </a:lnTo>
                    <a:lnTo>
                      <a:pt x="24" y="76"/>
                    </a:lnTo>
                    <a:lnTo>
                      <a:pt x="24" y="72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20" y="64"/>
                    </a:lnTo>
                    <a:lnTo>
                      <a:pt x="20" y="60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8"/>
                    </a:lnTo>
                    <a:lnTo>
                      <a:pt x="20" y="24"/>
                    </a:lnTo>
                    <a:lnTo>
                      <a:pt x="24" y="24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40" y="28"/>
                    </a:lnTo>
                    <a:lnTo>
                      <a:pt x="44" y="24"/>
                    </a:lnTo>
                    <a:lnTo>
                      <a:pt x="48" y="24"/>
                    </a:lnTo>
                    <a:lnTo>
                      <a:pt x="60" y="24"/>
                    </a:lnTo>
                    <a:lnTo>
                      <a:pt x="64" y="24"/>
                    </a:lnTo>
                    <a:lnTo>
                      <a:pt x="68" y="24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32"/>
                    </a:lnTo>
                    <a:lnTo>
                      <a:pt x="72" y="36"/>
                    </a:lnTo>
                    <a:lnTo>
                      <a:pt x="76" y="40"/>
                    </a:lnTo>
                    <a:lnTo>
                      <a:pt x="76" y="44"/>
                    </a:lnTo>
                    <a:lnTo>
                      <a:pt x="76" y="48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4" y="60"/>
                    </a:lnTo>
                    <a:lnTo>
                      <a:pt x="84" y="64"/>
                    </a:lnTo>
                    <a:lnTo>
                      <a:pt x="88" y="64"/>
                    </a:lnTo>
                    <a:lnTo>
                      <a:pt x="88" y="68"/>
                    </a:lnTo>
                    <a:lnTo>
                      <a:pt x="92" y="64"/>
                    </a:lnTo>
                    <a:lnTo>
                      <a:pt x="92" y="68"/>
                    </a:lnTo>
                    <a:lnTo>
                      <a:pt x="96" y="68"/>
                    </a:lnTo>
                    <a:lnTo>
                      <a:pt x="96" y="64"/>
                    </a:lnTo>
                    <a:lnTo>
                      <a:pt x="100" y="64"/>
                    </a:lnTo>
                    <a:lnTo>
                      <a:pt x="104" y="64"/>
                    </a:lnTo>
                    <a:lnTo>
                      <a:pt x="108" y="64"/>
                    </a:lnTo>
                    <a:lnTo>
                      <a:pt x="116" y="64"/>
                    </a:lnTo>
                    <a:lnTo>
                      <a:pt x="112" y="64"/>
                    </a:lnTo>
                    <a:lnTo>
                      <a:pt x="112" y="60"/>
                    </a:lnTo>
                    <a:lnTo>
                      <a:pt x="116" y="60"/>
                    </a:lnTo>
                    <a:lnTo>
                      <a:pt x="116" y="56"/>
                    </a:lnTo>
                    <a:lnTo>
                      <a:pt x="116" y="52"/>
                    </a:lnTo>
                    <a:lnTo>
                      <a:pt x="116" y="48"/>
                    </a:lnTo>
                    <a:lnTo>
                      <a:pt x="124" y="48"/>
                    </a:lnTo>
                    <a:lnTo>
                      <a:pt x="128" y="48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2" y="48"/>
                    </a:lnTo>
                    <a:lnTo>
                      <a:pt x="132" y="52"/>
                    </a:lnTo>
                    <a:lnTo>
                      <a:pt x="140" y="52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2" y="56"/>
                    </a:lnTo>
                    <a:lnTo>
                      <a:pt x="152" y="60"/>
                    </a:lnTo>
                    <a:lnTo>
                      <a:pt x="152" y="64"/>
                    </a:lnTo>
                    <a:lnTo>
                      <a:pt x="152" y="68"/>
                    </a:lnTo>
                    <a:lnTo>
                      <a:pt x="152" y="72"/>
                    </a:lnTo>
                    <a:lnTo>
                      <a:pt x="152" y="76"/>
                    </a:lnTo>
                    <a:lnTo>
                      <a:pt x="152" y="80"/>
                    </a:lnTo>
                    <a:lnTo>
                      <a:pt x="152" y="84"/>
                    </a:lnTo>
                    <a:lnTo>
                      <a:pt x="152" y="88"/>
                    </a:lnTo>
                    <a:lnTo>
                      <a:pt x="152" y="92"/>
                    </a:lnTo>
                    <a:lnTo>
                      <a:pt x="152" y="96"/>
                    </a:lnTo>
                    <a:lnTo>
                      <a:pt x="156" y="100"/>
                    </a:lnTo>
                    <a:lnTo>
                      <a:pt x="156" y="104"/>
                    </a:lnTo>
                    <a:lnTo>
                      <a:pt x="160" y="108"/>
                    </a:lnTo>
                    <a:lnTo>
                      <a:pt x="160" y="112"/>
                    </a:lnTo>
                    <a:lnTo>
                      <a:pt x="160" y="116"/>
                    </a:lnTo>
                    <a:lnTo>
                      <a:pt x="156" y="116"/>
                    </a:lnTo>
                    <a:lnTo>
                      <a:pt x="156" y="120"/>
                    </a:lnTo>
                    <a:lnTo>
                      <a:pt x="156" y="124"/>
                    </a:lnTo>
                    <a:lnTo>
                      <a:pt x="160" y="124"/>
                    </a:lnTo>
                    <a:lnTo>
                      <a:pt x="160" y="120"/>
                    </a:lnTo>
                    <a:lnTo>
                      <a:pt x="164" y="120"/>
                    </a:lnTo>
                    <a:lnTo>
                      <a:pt x="168" y="120"/>
                    </a:lnTo>
                    <a:lnTo>
                      <a:pt x="172" y="120"/>
                    </a:lnTo>
                    <a:lnTo>
                      <a:pt x="176" y="120"/>
                    </a:lnTo>
                    <a:lnTo>
                      <a:pt x="180" y="120"/>
                    </a:lnTo>
                    <a:lnTo>
                      <a:pt x="184" y="120"/>
                    </a:lnTo>
                    <a:lnTo>
                      <a:pt x="184" y="116"/>
                    </a:lnTo>
                    <a:lnTo>
                      <a:pt x="184" y="120"/>
                    </a:lnTo>
                    <a:lnTo>
                      <a:pt x="184" y="124"/>
                    </a:lnTo>
                    <a:lnTo>
                      <a:pt x="184" y="128"/>
                    </a:lnTo>
                    <a:lnTo>
                      <a:pt x="184" y="132"/>
                    </a:lnTo>
                    <a:lnTo>
                      <a:pt x="184" y="136"/>
                    </a:lnTo>
                    <a:lnTo>
                      <a:pt x="184" y="144"/>
                    </a:lnTo>
                    <a:lnTo>
                      <a:pt x="184" y="148"/>
                    </a:lnTo>
                    <a:lnTo>
                      <a:pt x="184" y="152"/>
                    </a:lnTo>
                    <a:lnTo>
                      <a:pt x="184" y="156"/>
                    </a:lnTo>
                    <a:lnTo>
                      <a:pt x="180" y="156"/>
                    </a:lnTo>
                    <a:lnTo>
                      <a:pt x="176" y="156"/>
                    </a:lnTo>
                    <a:lnTo>
                      <a:pt x="172" y="156"/>
                    </a:lnTo>
                    <a:lnTo>
                      <a:pt x="168" y="156"/>
                    </a:lnTo>
                    <a:lnTo>
                      <a:pt x="160" y="156"/>
                    </a:lnTo>
                    <a:lnTo>
                      <a:pt x="152" y="156"/>
                    </a:lnTo>
                    <a:lnTo>
                      <a:pt x="152" y="164"/>
                    </a:lnTo>
                    <a:lnTo>
                      <a:pt x="152" y="172"/>
                    </a:lnTo>
                    <a:lnTo>
                      <a:pt x="152" y="176"/>
                    </a:lnTo>
                    <a:lnTo>
                      <a:pt x="152" y="184"/>
                    </a:lnTo>
                    <a:lnTo>
                      <a:pt x="152" y="188"/>
                    </a:lnTo>
                    <a:lnTo>
                      <a:pt x="152" y="192"/>
                    </a:lnTo>
                    <a:lnTo>
                      <a:pt x="152" y="204"/>
                    </a:lnTo>
                    <a:lnTo>
                      <a:pt x="152" y="212"/>
                    </a:lnTo>
                    <a:lnTo>
                      <a:pt x="152" y="216"/>
                    </a:lnTo>
                    <a:lnTo>
                      <a:pt x="156" y="216"/>
                    </a:lnTo>
                    <a:lnTo>
                      <a:pt x="156" y="220"/>
                    </a:lnTo>
                    <a:lnTo>
                      <a:pt x="156" y="224"/>
                    </a:lnTo>
                    <a:lnTo>
                      <a:pt x="160" y="224"/>
                    </a:lnTo>
                    <a:lnTo>
                      <a:pt x="160" y="228"/>
                    </a:lnTo>
                    <a:lnTo>
                      <a:pt x="164" y="232"/>
                    </a:lnTo>
                    <a:lnTo>
                      <a:pt x="172" y="240"/>
                    </a:lnTo>
                    <a:lnTo>
                      <a:pt x="176" y="24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49" name="Freeform 119">
                <a:extLst>
                  <a:ext uri="{FF2B5EF4-FFF2-40B4-BE49-F238E27FC236}">
                    <a16:creationId xmlns:a16="http://schemas.microsoft.com/office/drawing/2014/main" id="{B9781A8C-A9F6-47CB-AAE6-D5C61338B838}"/>
                  </a:ext>
                </a:extLst>
              </p:cNvPr>
              <p:cNvSpPr>
                <a:spLocks/>
              </p:cNvSpPr>
              <p:nvPr>
                <p:custDataLst>
                  <p:tags r:id="rId39"/>
                </p:custDataLst>
              </p:nvPr>
            </p:nvSpPr>
            <p:spPr bwMode="gray">
              <a:xfrm>
                <a:off x="3808151" y="5675723"/>
                <a:ext cx="60509" cy="146230"/>
              </a:xfrm>
              <a:custGeom>
                <a:avLst/>
                <a:gdLst/>
                <a:ahLst/>
                <a:cxnLst>
                  <a:cxn ang="0">
                    <a:pos x="32" y="96"/>
                  </a:cxn>
                  <a:cxn ang="0">
                    <a:pos x="28" y="104"/>
                  </a:cxn>
                  <a:cxn ang="0">
                    <a:pos x="28" y="112"/>
                  </a:cxn>
                  <a:cxn ang="0">
                    <a:pos x="28" y="112"/>
                  </a:cxn>
                  <a:cxn ang="0">
                    <a:pos x="24" y="112"/>
                  </a:cxn>
                  <a:cxn ang="0">
                    <a:pos x="20" y="116"/>
                  </a:cxn>
                  <a:cxn ang="0">
                    <a:pos x="12" y="116"/>
                  </a:cxn>
                  <a:cxn ang="0">
                    <a:pos x="12" y="116"/>
                  </a:cxn>
                  <a:cxn ang="0">
                    <a:pos x="16" y="116"/>
                  </a:cxn>
                  <a:cxn ang="0">
                    <a:pos x="12" y="108"/>
                  </a:cxn>
                  <a:cxn ang="0">
                    <a:pos x="12" y="108"/>
                  </a:cxn>
                  <a:cxn ang="0">
                    <a:pos x="12" y="104"/>
                  </a:cxn>
                  <a:cxn ang="0">
                    <a:pos x="12" y="96"/>
                  </a:cxn>
                  <a:cxn ang="0">
                    <a:pos x="12" y="92"/>
                  </a:cxn>
                  <a:cxn ang="0">
                    <a:pos x="12" y="84"/>
                  </a:cxn>
                  <a:cxn ang="0">
                    <a:pos x="12" y="72"/>
                  </a:cxn>
                  <a:cxn ang="0">
                    <a:pos x="12" y="64"/>
                  </a:cxn>
                  <a:cxn ang="0">
                    <a:pos x="12" y="60"/>
                  </a:cxn>
                  <a:cxn ang="0">
                    <a:pos x="8" y="60"/>
                  </a:cxn>
                  <a:cxn ang="0">
                    <a:pos x="8" y="56"/>
                  </a:cxn>
                  <a:cxn ang="0">
                    <a:pos x="8" y="52"/>
                  </a:cxn>
                  <a:cxn ang="0">
                    <a:pos x="8" y="44"/>
                  </a:cxn>
                  <a:cxn ang="0">
                    <a:pos x="0" y="40"/>
                  </a:cxn>
                  <a:cxn ang="0">
                    <a:pos x="0" y="36"/>
                  </a:cxn>
                  <a:cxn ang="0">
                    <a:pos x="0" y="32"/>
                  </a:cxn>
                  <a:cxn ang="0">
                    <a:pos x="0" y="28"/>
                  </a:cxn>
                  <a:cxn ang="0">
                    <a:pos x="4" y="24"/>
                  </a:cxn>
                  <a:cxn ang="0">
                    <a:pos x="8" y="20"/>
                  </a:cxn>
                  <a:cxn ang="0">
                    <a:pos x="8" y="20"/>
                  </a:cxn>
                  <a:cxn ang="0">
                    <a:pos x="12" y="20"/>
                  </a:cxn>
                  <a:cxn ang="0">
                    <a:pos x="16" y="20"/>
                  </a:cxn>
                  <a:cxn ang="0">
                    <a:pos x="20" y="20"/>
                  </a:cxn>
                  <a:cxn ang="0">
                    <a:pos x="20" y="16"/>
                  </a:cxn>
                  <a:cxn ang="0">
                    <a:pos x="24" y="12"/>
                  </a:cxn>
                  <a:cxn ang="0">
                    <a:pos x="24" y="8"/>
                  </a:cxn>
                  <a:cxn ang="0">
                    <a:pos x="28" y="4"/>
                  </a:cxn>
                  <a:cxn ang="0">
                    <a:pos x="32" y="0"/>
                  </a:cxn>
                  <a:cxn ang="0">
                    <a:pos x="36" y="8"/>
                  </a:cxn>
                  <a:cxn ang="0">
                    <a:pos x="40" y="12"/>
                  </a:cxn>
                  <a:cxn ang="0">
                    <a:pos x="40" y="12"/>
                  </a:cxn>
                  <a:cxn ang="0">
                    <a:pos x="44" y="16"/>
                  </a:cxn>
                  <a:cxn ang="0">
                    <a:pos x="44" y="24"/>
                  </a:cxn>
                  <a:cxn ang="0">
                    <a:pos x="44" y="28"/>
                  </a:cxn>
                  <a:cxn ang="0">
                    <a:pos x="44" y="32"/>
                  </a:cxn>
                  <a:cxn ang="0">
                    <a:pos x="48" y="32"/>
                  </a:cxn>
                  <a:cxn ang="0">
                    <a:pos x="44" y="40"/>
                  </a:cxn>
                  <a:cxn ang="0">
                    <a:pos x="44" y="40"/>
                  </a:cxn>
                  <a:cxn ang="0">
                    <a:pos x="44" y="44"/>
                  </a:cxn>
                  <a:cxn ang="0">
                    <a:pos x="40" y="48"/>
                  </a:cxn>
                  <a:cxn ang="0">
                    <a:pos x="40" y="52"/>
                  </a:cxn>
                  <a:cxn ang="0">
                    <a:pos x="36" y="56"/>
                  </a:cxn>
                  <a:cxn ang="0">
                    <a:pos x="36" y="60"/>
                  </a:cxn>
                  <a:cxn ang="0">
                    <a:pos x="32" y="64"/>
                  </a:cxn>
                  <a:cxn ang="0">
                    <a:pos x="32" y="64"/>
                  </a:cxn>
                  <a:cxn ang="0">
                    <a:pos x="28" y="72"/>
                  </a:cxn>
                  <a:cxn ang="0">
                    <a:pos x="28" y="76"/>
                  </a:cxn>
                  <a:cxn ang="0">
                    <a:pos x="28" y="80"/>
                  </a:cxn>
                  <a:cxn ang="0">
                    <a:pos x="28" y="84"/>
                  </a:cxn>
                  <a:cxn ang="0">
                    <a:pos x="28" y="88"/>
                  </a:cxn>
                </a:cxnLst>
                <a:rect l="0" t="0" r="r" b="b"/>
                <a:pathLst>
                  <a:path w="48" h="116">
                    <a:moveTo>
                      <a:pt x="28" y="88"/>
                    </a:moveTo>
                    <a:lnTo>
                      <a:pt x="28" y="88"/>
                    </a:lnTo>
                    <a:lnTo>
                      <a:pt x="28" y="92"/>
                    </a:lnTo>
                    <a:lnTo>
                      <a:pt x="32" y="96"/>
                    </a:lnTo>
                    <a:lnTo>
                      <a:pt x="32" y="100"/>
                    </a:lnTo>
                    <a:lnTo>
                      <a:pt x="28" y="100"/>
                    </a:lnTo>
                    <a:lnTo>
                      <a:pt x="28" y="104"/>
                    </a:lnTo>
                    <a:lnTo>
                      <a:pt x="28" y="104"/>
                    </a:lnTo>
                    <a:lnTo>
                      <a:pt x="28" y="104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4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2"/>
                    </a:lnTo>
                    <a:lnTo>
                      <a:pt x="12" y="108"/>
                    </a:lnTo>
                    <a:lnTo>
                      <a:pt x="12" y="108"/>
                    </a:lnTo>
                    <a:lnTo>
                      <a:pt x="12" y="108"/>
                    </a:lnTo>
                    <a:lnTo>
                      <a:pt x="12" y="108"/>
                    </a:lnTo>
                    <a:lnTo>
                      <a:pt x="12" y="108"/>
                    </a:lnTo>
                    <a:lnTo>
                      <a:pt x="12" y="108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4"/>
                    </a:lnTo>
                    <a:lnTo>
                      <a:pt x="44" y="48"/>
                    </a:lnTo>
                    <a:lnTo>
                      <a:pt x="44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48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60"/>
                    </a:lnTo>
                    <a:lnTo>
                      <a:pt x="36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8"/>
                    </a:lnTo>
                    <a:lnTo>
                      <a:pt x="28" y="88"/>
                    </a:lnTo>
                    <a:lnTo>
                      <a:pt x="28" y="88"/>
                    </a:lnTo>
                    <a:lnTo>
                      <a:pt x="28" y="8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0" name="Freeform 120">
                <a:extLst>
                  <a:ext uri="{FF2B5EF4-FFF2-40B4-BE49-F238E27FC236}">
                    <a16:creationId xmlns:a16="http://schemas.microsoft.com/office/drawing/2014/main" id="{07075342-BC01-4B5B-BCF9-F8134E79F71A}"/>
                  </a:ext>
                </a:extLst>
              </p:cNvPr>
              <p:cNvSpPr>
                <a:spLocks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174987" y="6380401"/>
                <a:ext cx="175224" cy="215563"/>
              </a:xfrm>
              <a:custGeom>
                <a:avLst/>
                <a:gdLst/>
                <a:ahLst/>
                <a:cxnLst>
                  <a:cxn ang="0">
                    <a:pos x="88" y="132"/>
                  </a:cxn>
                  <a:cxn ang="0">
                    <a:pos x="84" y="144"/>
                  </a:cxn>
                  <a:cxn ang="0">
                    <a:pos x="80" y="152"/>
                  </a:cxn>
                  <a:cxn ang="0">
                    <a:pos x="72" y="152"/>
                  </a:cxn>
                  <a:cxn ang="0">
                    <a:pos x="68" y="148"/>
                  </a:cxn>
                  <a:cxn ang="0">
                    <a:pos x="64" y="148"/>
                  </a:cxn>
                  <a:cxn ang="0">
                    <a:pos x="56" y="144"/>
                  </a:cxn>
                  <a:cxn ang="0">
                    <a:pos x="48" y="140"/>
                  </a:cxn>
                  <a:cxn ang="0">
                    <a:pos x="44" y="148"/>
                  </a:cxn>
                  <a:cxn ang="0">
                    <a:pos x="40" y="156"/>
                  </a:cxn>
                  <a:cxn ang="0">
                    <a:pos x="32" y="163"/>
                  </a:cxn>
                  <a:cxn ang="0">
                    <a:pos x="28" y="167"/>
                  </a:cxn>
                  <a:cxn ang="0">
                    <a:pos x="28" y="171"/>
                  </a:cxn>
                  <a:cxn ang="0">
                    <a:pos x="20" y="171"/>
                  </a:cxn>
                  <a:cxn ang="0">
                    <a:pos x="16" y="171"/>
                  </a:cxn>
                  <a:cxn ang="0">
                    <a:pos x="12" y="171"/>
                  </a:cxn>
                  <a:cxn ang="0">
                    <a:pos x="8" y="163"/>
                  </a:cxn>
                  <a:cxn ang="0">
                    <a:pos x="12" y="160"/>
                  </a:cxn>
                  <a:cxn ang="0">
                    <a:pos x="8" y="148"/>
                  </a:cxn>
                  <a:cxn ang="0">
                    <a:pos x="4" y="136"/>
                  </a:cxn>
                  <a:cxn ang="0">
                    <a:pos x="0" y="132"/>
                  </a:cxn>
                  <a:cxn ang="0">
                    <a:pos x="0" y="112"/>
                  </a:cxn>
                  <a:cxn ang="0">
                    <a:pos x="0" y="96"/>
                  </a:cxn>
                  <a:cxn ang="0">
                    <a:pos x="0" y="80"/>
                  </a:cxn>
                  <a:cxn ang="0">
                    <a:pos x="16" y="72"/>
                  </a:cxn>
                  <a:cxn ang="0">
                    <a:pos x="16" y="24"/>
                  </a:cxn>
                  <a:cxn ang="0">
                    <a:pos x="28" y="8"/>
                  </a:cxn>
                  <a:cxn ang="0">
                    <a:pos x="48" y="4"/>
                  </a:cxn>
                  <a:cxn ang="0">
                    <a:pos x="52" y="8"/>
                  </a:cxn>
                  <a:cxn ang="0">
                    <a:pos x="56" y="12"/>
                  </a:cxn>
                  <a:cxn ang="0">
                    <a:pos x="60" y="8"/>
                  </a:cxn>
                  <a:cxn ang="0">
                    <a:pos x="68" y="4"/>
                  </a:cxn>
                  <a:cxn ang="0">
                    <a:pos x="72" y="0"/>
                  </a:cxn>
                  <a:cxn ang="0">
                    <a:pos x="80" y="0"/>
                  </a:cxn>
                  <a:cxn ang="0">
                    <a:pos x="80" y="4"/>
                  </a:cxn>
                  <a:cxn ang="0">
                    <a:pos x="84" y="8"/>
                  </a:cxn>
                  <a:cxn ang="0">
                    <a:pos x="88" y="20"/>
                  </a:cxn>
                  <a:cxn ang="0">
                    <a:pos x="92" y="24"/>
                  </a:cxn>
                  <a:cxn ang="0">
                    <a:pos x="96" y="32"/>
                  </a:cxn>
                  <a:cxn ang="0">
                    <a:pos x="100" y="36"/>
                  </a:cxn>
                  <a:cxn ang="0">
                    <a:pos x="108" y="40"/>
                  </a:cxn>
                  <a:cxn ang="0">
                    <a:pos x="112" y="48"/>
                  </a:cxn>
                  <a:cxn ang="0">
                    <a:pos x="116" y="48"/>
                  </a:cxn>
                  <a:cxn ang="0">
                    <a:pos x="116" y="56"/>
                  </a:cxn>
                  <a:cxn ang="0">
                    <a:pos x="120" y="68"/>
                  </a:cxn>
                  <a:cxn ang="0">
                    <a:pos x="123" y="72"/>
                  </a:cxn>
                  <a:cxn ang="0">
                    <a:pos x="127" y="72"/>
                  </a:cxn>
                  <a:cxn ang="0">
                    <a:pos x="135" y="72"/>
                  </a:cxn>
                  <a:cxn ang="0">
                    <a:pos x="135" y="80"/>
                  </a:cxn>
                  <a:cxn ang="0">
                    <a:pos x="139" y="80"/>
                  </a:cxn>
                  <a:cxn ang="0">
                    <a:pos x="135" y="84"/>
                  </a:cxn>
                  <a:cxn ang="0">
                    <a:pos x="135" y="88"/>
                  </a:cxn>
                  <a:cxn ang="0">
                    <a:pos x="123" y="92"/>
                  </a:cxn>
                  <a:cxn ang="0">
                    <a:pos x="120" y="96"/>
                  </a:cxn>
                  <a:cxn ang="0">
                    <a:pos x="116" y="104"/>
                  </a:cxn>
                  <a:cxn ang="0">
                    <a:pos x="108" y="108"/>
                  </a:cxn>
                  <a:cxn ang="0">
                    <a:pos x="104" y="116"/>
                  </a:cxn>
                  <a:cxn ang="0">
                    <a:pos x="100" y="124"/>
                  </a:cxn>
                  <a:cxn ang="0">
                    <a:pos x="96" y="128"/>
                  </a:cxn>
                </a:cxnLst>
                <a:rect l="0" t="0" r="r" b="b"/>
                <a:pathLst>
                  <a:path w="139" h="171">
                    <a:moveTo>
                      <a:pt x="96" y="128"/>
                    </a:moveTo>
                    <a:lnTo>
                      <a:pt x="96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2" y="128"/>
                    </a:lnTo>
                    <a:lnTo>
                      <a:pt x="92" y="128"/>
                    </a:lnTo>
                    <a:lnTo>
                      <a:pt x="88" y="132"/>
                    </a:lnTo>
                    <a:lnTo>
                      <a:pt x="88" y="132"/>
                    </a:lnTo>
                    <a:lnTo>
                      <a:pt x="88" y="132"/>
                    </a:lnTo>
                    <a:lnTo>
                      <a:pt x="88" y="132"/>
                    </a:lnTo>
                    <a:lnTo>
                      <a:pt x="88" y="136"/>
                    </a:lnTo>
                    <a:lnTo>
                      <a:pt x="88" y="140"/>
                    </a:lnTo>
                    <a:lnTo>
                      <a:pt x="84" y="144"/>
                    </a:lnTo>
                    <a:lnTo>
                      <a:pt x="84" y="144"/>
                    </a:lnTo>
                    <a:lnTo>
                      <a:pt x="84" y="148"/>
                    </a:lnTo>
                    <a:lnTo>
                      <a:pt x="84" y="148"/>
                    </a:lnTo>
                    <a:lnTo>
                      <a:pt x="84" y="148"/>
                    </a:lnTo>
                    <a:lnTo>
                      <a:pt x="84" y="148"/>
                    </a:lnTo>
                    <a:lnTo>
                      <a:pt x="80" y="148"/>
                    </a:lnTo>
                    <a:lnTo>
                      <a:pt x="80" y="152"/>
                    </a:lnTo>
                    <a:lnTo>
                      <a:pt x="80" y="152"/>
                    </a:lnTo>
                    <a:lnTo>
                      <a:pt x="76" y="152"/>
                    </a:lnTo>
                    <a:lnTo>
                      <a:pt x="76" y="148"/>
                    </a:lnTo>
                    <a:lnTo>
                      <a:pt x="76" y="148"/>
                    </a:lnTo>
                    <a:lnTo>
                      <a:pt x="76" y="148"/>
                    </a:lnTo>
                    <a:lnTo>
                      <a:pt x="76" y="148"/>
                    </a:lnTo>
                    <a:lnTo>
                      <a:pt x="76" y="152"/>
                    </a:lnTo>
                    <a:lnTo>
                      <a:pt x="72" y="152"/>
                    </a:lnTo>
                    <a:lnTo>
                      <a:pt x="72" y="152"/>
                    </a:lnTo>
                    <a:lnTo>
                      <a:pt x="72" y="152"/>
                    </a:lnTo>
                    <a:lnTo>
                      <a:pt x="72" y="152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8" y="152"/>
                    </a:lnTo>
                    <a:lnTo>
                      <a:pt x="68" y="148"/>
                    </a:lnTo>
                    <a:lnTo>
                      <a:pt x="68" y="148"/>
                    </a:lnTo>
                    <a:lnTo>
                      <a:pt x="68" y="152"/>
                    </a:lnTo>
                    <a:lnTo>
                      <a:pt x="64" y="152"/>
                    </a:lnTo>
                    <a:lnTo>
                      <a:pt x="64" y="148"/>
                    </a:lnTo>
                    <a:lnTo>
                      <a:pt x="64" y="148"/>
                    </a:lnTo>
                    <a:lnTo>
                      <a:pt x="64" y="148"/>
                    </a:lnTo>
                    <a:lnTo>
                      <a:pt x="64" y="148"/>
                    </a:lnTo>
                    <a:lnTo>
                      <a:pt x="64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60" y="148"/>
                    </a:lnTo>
                    <a:lnTo>
                      <a:pt x="56" y="144"/>
                    </a:lnTo>
                    <a:lnTo>
                      <a:pt x="56" y="144"/>
                    </a:lnTo>
                    <a:lnTo>
                      <a:pt x="56" y="144"/>
                    </a:lnTo>
                    <a:lnTo>
                      <a:pt x="56" y="144"/>
                    </a:lnTo>
                    <a:lnTo>
                      <a:pt x="56" y="144"/>
                    </a:lnTo>
                    <a:lnTo>
                      <a:pt x="52" y="140"/>
                    </a:lnTo>
                    <a:lnTo>
                      <a:pt x="52" y="140"/>
                    </a:lnTo>
                    <a:lnTo>
                      <a:pt x="48" y="140"/>
                    </a:lnTo>
                    <a:lnTo>
                      <a:pt x="48" y="140"/>
                    </a:lnTo>
                    <a:lnTo>
                      <a:pt x="44" y="140"/>
                    </a:lnTo>
                    <a:lnTo>
                      <a:pt x="44" y="140"/>
                    </a:lnTo>
                    <a:lnTo>
                      <a:pt x="44" y="144"/>
                    </a:lnTo>
                    <a:lnTo>
                      <a:pt x="44" y="144"/>
                    </a:lnTo>
                    <a:lnTo>
                      <a:pt x="44" y="148"/>
                    </a:lnTo>
                    <a:lnTo>
                      <a:pt x="44" y="148"/>
                    </a:lnTo>
                    <a:lnTo>
                      <a:pt x="44" y="148"/>
                    </a:lnTo>
                    <a:lnTo>
                      <a:pt x="40" y="148"/>
                    </a:lnTo>
                    <a:lnTo>
                      <a:pt x="40" y="148"/>
                    </a:lnTo>
                    <a:lnTo>
                      <a:pt x="40" y="152"/>
                    </a:lnTo>
                    <a:lnTo>
                      <a:pt x="40" y="152"/>
                    </a:lnTo>
                    <a:lnTo>
                      <a:pt x="40" y="156"/>
                    </a:lnTo>
                    <a:lnTo>
                      <a:pt x="40" y="156"/>
                    </a:lnTo>
                    <a:lnTo>
                      <a:pt x="40" y="156"/>
                    </a:lnTo>
                    <a:lnTo>
                      <a:pt x="40" y="156"/>
                    </a:lnTo>
                    <a:lnTo>
                      <a:pt x="40" y="156"/>
                    </a:lnTo>
                    <a:lnTo>
                      <a:pt x="36" y="160"/>
                    </a:lnTo>
                    <a:lnTo>
                      <a:pt x="36" y="160"/>
                    </a:lnTo>
                    <a:lnTo>
                      <a:pt x="32" y="160"/>
                    </a:lnTo>
                    <a:lnTo>
                      <a:pt x="32" y="163"/>
                    </a:lnTo>
                    <a:lnTo>
                      <a:pt x="32" y="163"/>
                    </a:lnTo>
                    <a:lnTo>
                      <a:pt x="32" y="163"/>
                    </a:lnTo>
                    <a:lnTo>
                      <a:pt x="32" y="163"/>
                    </a:lnTo>
                    <a:lnTo>
                      <a:pt x="32" y="167"/>
                    </a:lnTo>
                    <a:lnTo>
                      <a:pt x="32" y="167"/>
                    </a:lnTo>
                    <a:lnTo>
                      <a:pt x="28" y="167"/>
                    </a:lnTo>
                    <a:lnTo>
                      <a:pt x="28" y="167"/>
                    </a:lnTo>
                    <a:lnTo>
                      <a:pt x="28" y="167"/>
                    </a:lnTo>
                    <a:lnTo>
                      <a:pt x="28" y="167"/>
                    </a:lnTo>
                    <a:lnTo>
                      <a:pt x="28" y="167"/>
                    </a:lnTo>
                    <a:lnTo>
                      <a:pt x="28" y="167"/>
                    </a:lnTo>
                    <a:lnTo>
                      <a:pt x="28" y="167"/>
                    </a:lnTo>
                    <a:lnTo>
                      <a:pt x="28" y="171"/>
                    </a:lnTo>
                    <a:lnTo>
                      <a:pt x="28" y="171"/>
                    </a:lnTo>
                    <a:lnTo>
                      <a:pt x="24" y="171"/>
                    </a:lnTo>
                    <a:lnTo>
                      <a:pt x="24" y="171"/>
                    </a:lnTo>
                    <a:lnTo>
                      <a:pt x="24" y="171"/>
                    </a:lnTo>
                    <a:lnTo>
                      <a:pt x="24" y="171"/>
                    </a:lnTo>
                    <a:lnTo>
                      <a:pt x="24" y="171"/>
                    </a:lnTo>
                    <a:lnTo>
                      <a:pt x="20" y="171"/>
                    </a:lnTo>
                    <a:lnTo>
                      <a:pt x="20" y="171"/>
                    </a:lnTo>
                    <a:lnTo>
                      <a:pt x="20" y="171"/>
                    </a:lnTo>
                    <a:lnTo>
                      <a:pt x="20" y="171"/>
                    </a:lnTo>
                    <a:lnTo>
                      <a:pt x="20" y="171"/>
                    </a:lnTo>
                    <a:lnTo>
                      <a:pt x="20" y="171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2" y="171"/>
                    </a:lnTo>
                    <a:lnTo>
                      <a:pt x="12" y="171"/>
                    </a:lnTo>
                    <a:lnTo>
                      <a:pt x="12" y="171"/>
                    </a:lnTo>
                    <a:lnTo>
                      <a:pt x="12" y="171"/>
                    </a:lnTo>
                    <a:lnTo>
                      <a:pt x="12" y="171"/>
                    </a:lnTo>
                    <a:lnTo>
                      <a:pt x="12" y="171"/>
                    </a:lnTo>
                    <a:lnTo>
                      <a:pt x="12" y="171"/>
                    </a:lnTo>
                    <a:lnTo>
                      <a:pt x="8" y="171"/>
                    </a:lnTo>
                    <a:lnTo>
                      <a:pt x="8" y="167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12" y="163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12" y="152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8" y="148"/>
                    </a:lnTo>
                    <a:lnTo>
                      <a:pt x="12" y="148"/>
                    </a:lnTo>
                    <a:lnTo>
                      <a:pt x="8" y="144"/>
                    </a:lnTo>
                    <a:lnTo>
                      <a:pt x="8" y="144"/>
                    </a:lnTo>
                    <a:lnTo>
                      <a:pt x="8" y="144"/>
                    </a:lnTo>
                    <a:lnTo>
                      <a:pt x="8" y="140"/>
                    </a:lnTo>
                    <a:lnTo>
                      <a:pt x="8" y="140"/>
                    </a:lnTo>
                    <a:lnTo>
                      <a:pt x="4" y="136"/>
                    </a:lnTo>
                    <a:lnTo>
                      <a:pt x="4" y="136"/>
                    </a:lnTo>
                    <a:lnTo>
                      <a:pt x="4" y="132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4" y="80"/>
                    </a:lnTo>
                    <a:lnTo>
                      <a:pt x="8" y="80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24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8" y="8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0" y="4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12"/>
                    </a:lnTo>
                    <a:lnTo>
                      <a:pt x="84" y="12"/>
                    </a:lnTo>
                    <a:lnTo>
                      <a:pt x="84" y="12"/>
                    </a:lnTo>
                    <a:lnTo>
                      <a:pt x="88" y="12"/>
                    </a:lnTo>
                    <a:lnTo>
                      <a:pt x="88" y="16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2" y="20"/>
                    </a:lnTo>
                    <a:lnTo>
                      <a:pt x="92" y="20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96" y="32"/>
                    </a:lnTo>
                    <a:lnTo>
                      <a:pt x="96" y="32"/>
                    </a:lnTo>
                    <a:lnTo>
                      <a:pt x="96" y="32"/>
                    </a:lnTo>
                    <a:lnTo>
                      <a:pt x="96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4" y="40"/>
                    </a:lnTo>
                    <a:lnTo>
                      <a:pt x="108" y="40"/>
                    </a:lnTo>
                    <a:lnTo>
                      <a:pt x="108" y="40"/>
                    </a:lnTo>
                    <a:lnTo>
                      <a:pt x="108" y="44"/>
                    </a:lnTo>
                    <a:lnTo>
                      <a:pt x="112" y="44"/>
                    </a:lnTo>
                    <a:lnTo>
                      <a:pt x="112" y="44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2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52"/>
                    </a:lnTo>
                    <a:lnTo>
                      <a:pt x="116" y="56"/>
                    </a:lnTo>
                    <a:lnTo>
                      <a:pt x="116" y="56"/>
                    </a:lnTo>
                    <a:lnTo>
                      <a:pt x="116" y="56"/>
                    </a:lnTo>
                    <a:lnTo>
                      <a:pt x="116" y="56"/>
                    </a:lnTo>
                    <a:lnTo>
                      <a:pt x="116" y="56"/>
                    </a:lnTo>
                    <a:lnTo>
                      <a:pt x="116" y="60"/>
                    </a:lnTo>
                    <a:lnTo>
                      <a:pt x="116" y="60"/>
                    </a:lnTo>
                    <a:lnTo>
                      <a:pt x="116" y="64"/>
                    </a:lnTo>
                    <a:lnTo>
                      <a:pt x="116" y="64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68"/>
                    </a:lnTo>
                    <a:lnTo>
                      <a:pt x="120" y="72"/>
                    </a:lnTo>
                    <a:lnTo>
                      <a:pt x="123" y="72"/>
                    </a:lnTo>
                    <a:lnTo>
                      <a:pt x="123" y="72"/>
                    </a:lnTo>
                    <a:lnTo>
                      <a:pt x="123" y="72"/>
                    </a:lnTo>
                    <a:lnTo>
                      <a:pt x="123" y="72"/>
                    </a:lnTo>
                    <a:lnTo>
                      <a:pt x="127" y="72"/>
                    </a:lnTo>
                    <a:lnTo>
                      <a:pt x="127" y="72"/>
                    </a:lnTo>
                    <a:lnTo>
                      <a:pt x="127" y="72"/>
                    </a:lnTo>
                    <a:lnTo>
                      <a:pt x="127" y="72"/>
                    </a:lnTo>
                    <a:lnTo>
                      <a:pt x="127" y="72"/>
                    </a:lnTo>
                    <a:lnTo>
                      <a:pt x="127" y="72"/>
                    </a:lnTo>
                    <a:lnTo>
                      <a:pt x="127" y="72"/>
                    </a:lnTo>
                    <a:lnTo>
                      <a:pt x="131" y="72"/>
                    </a:lnTo>
                    <a:lnTo>
                      <a:pt x="135" y="72"/>
                    </a:lnTo>
                    <a:lnTo>
                      <a:pt x="135" y="72"/>
                    </a:lnTo>
                    <a:lnTo>
                      <a:pt x="135" y="72"/>
                    </a:lnTo>
                    <a:lnTo>
                      <a:pt x="135" y="72"/>
                    </a:lnTo>
                    <a:lnTo>
                      <a:pt x="135" y="76"/>
                    </a:lnTo>
                    <a:lnTo>
                      <a:pt x="135" y="76"/>
                    </a:lnTo>
                    <a:lnTo>
                      <a:pt x="135" y="76"/>
                    </a:lnTo>
                    <a:lnTo>
                      <a:pt x="135" y="76"/>
                    </a:lnTo>
                    <a:lnTo>
                      <a:pt x="135" y="76"/>
                    </a:lnTo>
                    <a:lnTo>
                      <a:pt x="135" y="76"/>
                    </a:lnTo>
                    <a:lnTo>
                      <a:pt x="135" y="80"/>
                    </a:lnTo>
                    <a:lnTo>
                      <a:pt x="135" y="80"/>
                    </a:lnTo>
                    <a:lnTo>
                      <a:pt x="135" y="80"/>
                    </a:lnTo>
                    <a:lnTo>
                      <a:pt x="135" y="80"/>
                    </a:lnTo>
                    <a:lnTo>
                      <a:pt x="135" y="80"/>
                    </a:lnTo>
                    <a:lnTo>
                      <a:pt x="139" y="80"/>
                    </a:lnTo>
                    <a:lnTo>
                      <a:pt x="139" y="80"/>
                    </a:lnTo>
                    <a:lnTo>
                      <a:pt x="139" y="80"/>
                    </a:lnTo>
                    <a:lnTo>
                      <a:pt x="139" y="80"/>
                    </a:lnTo>
                    <a:lnTo>
                      <a:pt x="139" y="80"/>
                    </a:lnTo>
                    <a:lnTo>
                      <a:pt x="139" y="80"/>
                    </a:lnTo>
                    <a:lnTo>
                      <a:pt x="139" y="80"/>
                    </a:lnTo>
                    <a:lnTo>
                      <a:pt x="139" y="80"/>
                    </a:lnTo>
                    <a:lnTo>
                      <a:pt x="135" y="84"/>
                    </a:lnTo>
                    <a:lnTo>
                      <a:pt x="135" y="84"/>
                    </a:lnTo>
                    <a:lnTo>
                      <a:pt x="135" y="84"/>
                    </a:lnTo>
                    <a:lnTo>
                      <a:pt x="135" y="84"/>
                    </a:lnTo>
                    <a:lnTo>
                      <a:pt x="135" y="84"/>
                    </a:lnTo>
                    <a:lnTo>
                      <a:pt x="135" y="84"/>
                    </a:lnTo>
                    <a:lnTo>
                      <a:pt x="135" y="84"/>
                    </a:lnTo>
                    <a:lnTo>
                      <a:pt x="135" y="88"/>
                    </a:lnTo>
                    <a:lnTo>
                      <a:pt x="135" y="88"/>
                    </a:lnTo>
                    <a:lnTo>
                      <a:pt x="131" y="88"/>
                    </a:lnTo>
                    <a:lnTo>
                      <a:pt x="131" y="88"/>
                    </a:lnTo>
                    <a:lnTo>
                      <a:pt x="127" y="88"/>
                    </a:lnTo>
                    <a:lnTo>
                      <a:pt x="127" y="88"/>
                    </a:lnTo>
                    <a:lnTo>
                      <a:pt x="123" y="88"/>
                    </a:lnTo>
                    <a:lnTo>
                      <a:pt x="123" y="92"/>
                    </a:lnTo>
                    <a:lnTo>
                      <a:pt x="123" y="92"/>
                    </a:lnTo>
                    <a:lnTo>
                      <a:pt x="123" y="92"/>
                    </a:lnTo>
                    <a:lnTo>
                      <a:pt x="123" y="92"/>
                    </a:lnTo>
                    <a:lnTo>
                      <a:pt x="123" y="92"/>
                    </a:lnTo>
                    <a:lnTo>
                      <a:pt x="123" y="92"/>
                    </a:lnTo>
                    <a:lnTo>
                      <a:pt x="123" y="92"/>
                    </a:lnTo>
                    <a:lnTo>
                      <a:pt x="120" y="96"/>
                    </a:lnTo>
                    <a:lnTo>
                      <a:pt x="120" y="96"/>
                    </a:lnTo>
                    <a:lnTo>
                      <a:pt x="120" y="96"/>
                    </a:lnTo>
                    <a:lnTo>
                      <a:pt x="116" y="100"/>
                    </a:lnTo>
                    <a:lnTo>
                      <a:pt x="116" y="100"/>
                    </a:lnTo>
                    <a:lnTo>
                      <a:pt x="116" y="100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6" y="104"/>
                    </a:lnTo>
                    <a:lnTo>
                      <a:pt x="112" y="104"/>
                    </a:lnTo>
                    <a:lnTo>
                      <a:pt x="112" y="104"/>
                    </a:lnTo>
                    <a:lnTo>
                      <a:pt x="112" y="104"/>
                    </a:lnTo>
                    <a:lnTo>
                      <a:pt x="112" y="104"/>
                    </a:lnTo>
                    <a:lnTo>
                      <a:pt x="112" y="104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2"/>
                    </a:lnTo>
                    <a:lnTo>
                      <a:pt x="104" y="116"/>
                    </a:lnTo>
                    <a:lnTo>
                      <a:pt x="104" y="116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0"/>
                    </a:lnTo>
                    <a:lnTo>
                      <a:pt x="104" y="124"/>
                    </a:lnTo>
                    <a:lnTo>
                      <a:pt x="100" y="124"/>
                    </a:lnTo>
                    <a:lnTo>
                      <a:pt x="100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6" y="12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1" name="Freeform 121">
                <a:extLst>
                  <a:ext uri="{FF2B5EF4-FFF2-40B4-BE49-F238E27FC236}">
                    <a16:creationId xmlns:a16="http://schemas.microsoft.com/office/drawing/2014/main" id="{AC5657CF-1C89-442A-8540-43F256BD9DF7}"/>
                  </a:ext>
                </a:extLst>
              </p:cNvPr>
              <p:cNvSpPr>
                <a:spLocks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3687133" y="5615214"/>
                <a:ext cx="151273" cy="131103"/>
              </a:xfrm>
              <a:custGeom>
                <a:avLst/>
                <a:gdLst/>
                <a:ahLst/>
                <a:cxnLst>
                  <a:cxn ang="0">
                    <a:pos x="92" y="76"/>
                  </a:cxn>
                  <a:cxn ang="0">
                    <a:pos x="88" y="76"/>
                  </a:cxn>
                  <a:cxn ang="0">
                    <a:pos x="80" y="72"/>
                  </a:cxn>
                  <a:cxn ang="0">
                    <a:pos x="72" y="76"/>
                  </a:cxn>
                  <a:cxn ang="0">
                    <a:pos x="68" y="76"/>
                  </a:cxn>
                  <a:cxn ang="0">
                    <a:pos x="60" y="76"/>
                  </a:cxn>
                  <a:cxn ang="0">
                    <a:pos x="40" y="76"/>
                  </a:cxn>
                  <a:cxn ang="0">
                    <a:pos x="40" y="84"/>
                  </a:cxn>
                  <a:cxn ang="0">
                    <a:pos x="40" y="92"/>
                  </a:cxn>
                  <a:cxn ang="0">
                    <a:pos x="40" y="100"/>
                  </a:cxn>
                  <a:cxn ang="0">
                    <a:pos x="40" y="100"/>
                  </a:cxn>
                  <a:cxn ang="0">
                    <a:pos x="44" y="104"/>
                  </a:cxn>
                  <a:cxn ang="0">
                    <a:pos x="40" y="104"/>
                  </a:cxn>
                  <a:cxn ang="0">
                    <a:pos x="36" y="96"/>
                  </a:cxn>
                  <a:cxn ang="0">
                    <a:pos x="28" y="96"/>
                  </a:cxn>
                  <a:cxn ang="0">
                    <a:pos x="24" y="96"/>
                  </a:cxn>
                  <a:cxn ang="0">
                    <a:pos x="20" y="100"/>
                  </a:cxn>
                  <a:cxn ang="0">
                    <a:pos x="16" y="100"/>
                  </a:cxn>
                  <a:cxn ang="0">
                    <a:pos x="12" y="100"/>
                  </a:cxn>
                  <a:cxn ang="0">
                    <a:pos x="8" y="88"/>
                  </a:cxn>
                  <a:cxn ang="0">
                    <a:pos x="4" y="88"/>
                  </a:cxn>
                  <a:cxn ang="0">
                    <a:pos x="0" y="84"/>
                  </a:cxn>
                  <a:cxn ang="0">
                    <a:pos x="0" y="80"/>
                  </a:cxn>
                  <a:cxn ang="0">
                    <a:pos x="0" y="76"/>
                  </a:cxn>
                  <a:cxn ang="0">
                    <a:pos x="4" y="72"/>
                  </a:cxn>
                  <a:cxn ang="0">
                    <a:pos x="4" y="64"/>
                  </a:cxn>
                  <a:cxn ang="0">
                    <a:pos x="8" y="56"/>
                  </a:cxn>
                  <a:cxn ang="0">
                    <a:pos x="12" y="56"/>
                  </a:cxn>
                  <a:cxn ang="0">
                    <a:pos x="16" y="48"/>
                  </a:cxn>
                  <a:cxn ang="0">
                    <a:pos x="16" y="44"/>
                  </a:cxn>
                  <a:cxn ang="0">
                    <a:pos x="20" y="44"/>
                  </a:cxn>
                  <a:cxn ang="0">
                    <a:pos x="20" y="40"/>
                  </a:cxn>
                  <a:cxn ang="0">
                    <a:pos x="20" y="36"/>
                  </a:cxn>
                  <a:cxn ang="0">
                    <a:pos x="24" y="28"/>
                  </a:cxn>
                  <a:cxn ang="0">
                    <a:pos x="32" y="36"/>
                  </a:cxn>
                  <a:cxn ang="0">
                    <a:pos x="32" y="36"/>
                  </a:cxn>
                  <a:cxn ang="0">
                    <a:pos x="32" y="32"/>
                  </a:cxn>
                  <a:cxn ang="0">
                    <a:pos x="36" y="28"/>
                  </a:cxn>
                  <a:cxn ang="0">
                    <a:pos x="40" y="28"/>
                  </a:cxn>
                  <a:cxn ang="0">
                    <a:pos x="40" y="20"/>
                  </a:cxn>
                  <a:cxn ang="0">
                    <a:pos x="48" y="16"/>
                  </a:cxn>
                  <a:cxn ang="0">
                    <a:pos x="52" y="16"/>
                  </a:cxn>
                  <a:cxn ang="0">
                    <a:pos x="56" y="12"/>
                  </a:cxn>
                  <a:cxn ang="0">
                    <a:pos x="68" y="4"/>
                  </a:cxn>
                  <a:cxn ang="0">
                    <a:pos x="76" y="0"/>
                  </a:cxn>
                  <a:cxn ang="0">
                    <a:pos x="88" y="4"/>
                  </a:cxn>
                  <a:cxn ang="0">
                    <a:pos x="88" y="12"/>
                  </a:cxn>
                  <a:cxn ang="0">
                    <a:pos x="88" y="16"/>
                  </a:cxn>
                  <a:cxn ang="0">
                    <a:pos x="92" y="24"/>
                  </a:cxn>
                  <a:cxn ang="0">
                    <a:pos x="100" y="28"/>
                  </a:cxn>
                  <a:cxn ang="0">
                    <a:pos x="104" y="32"/>
                  </a:cxn>
                  <a:cxn ang="0">
                    <a:pos x="100" y="32"/>
                  </a:cxn>
                  <a:cxn ang="0">
                    <a:pos x="100" y="36"/>
                  </a:cxn>
                  <a:cxn ang="0">
                    <a:pos x="108" y="44"/>
                  </a:cxn>
                  <a:cxn ang="0">
                    <a:pos x="116" y="44"/>
                  </a:cxn>
                  <a:cxn ang="0">
                    <a:pos x="116" y="48"/>
                  </a:cxn>
                  <a:cxn ang="0">
                    <a:pos x="120" y="60"/>
                  </a:cxn>
                  <a:cxn ang="0">
                    <a:pos x="116" y="64"/>
                  </a:cxn>
                  <a:cxn ang="0">
                    <a:pos x="116" y="68"/>
                  </a:cxn>
                  <a:cxn ang="0">
                    <a:pos x="108" y="68"/>
                  </a:cxn>
                  <a:cxn ang="0">
                    <a:pos x="104" y="68"/>
                  </a:cxn>
                  <a:cxn ang="0">
                    <a:pos x="104" y="68"/>
                  </a:cxn>
                  <a:cxn ang="0">
                    <a:pos x="100" y="76"/>
                  </a:cxn>
                </a:cxnLst>
                <a:rect l="0" t="0" r="r" b="b"/>
                <a:pathLst>
                  <a:path w="120" h="104">
                    <a:moveTo>
                      <a:pt x="96" y="76"/>
                    </a:moveTo>
                    <a:lnTo>
                      <a:pt x="96" y="76"/>
                    </a:lnTo>
                    <a:lnTo>
                      <a:pt x="96" y="76"/>
                    </a:lnTo>
                    <a:lnTo>
                      <a:pt x="96" y="76"/>
                    </a:lnTo>
                    <a:lnTo>
                      <a:pt x="92" y="76"/>
                    </a:lnTo>
                    <a:lnTo>
                      <a:pt x="92" y="76"/>
                    </a:lnTo>
                    <a:lnTo>
                      <a:pt x="92" y="76"/>
                    </a:lnTo>
                    <a:lnTo>
                      <a:pt x="92" y="76"/>
                    </a:lnTo>
                    <a:lnTo>
                      <a:pt x="92" y="76"/>
                    </a:lnTo>
                    <a:lnTo>
                      <a:pt x="88" y="76"/>
                    </a:lnTo>
                    <a:lnTo>
                      <a:pt x="88" y="76"/>
                    </a:lnTo>
                    <a:lnTo>
                      <a:pt x="84" y="72"/>
                    </a:lnTo>
                    <a:lnTo>
                      <a:pt x="84" y="72"/>
                    </a:lnTo>
                    <a:lnTo>
                      <a:pt x="80" y="72"/>
                    </a:lnTo>
                    <a:lnTo>
                      <a:pt x="80" y="72"/>
                    </a:lnTo>
                    <a:lnTo>
                      <a:pt x="80" y="72"/>
                    </a:lnTo>
                    <a:lnTo>
                      <a:pt x="80" y="72"/>
                    </a:lnTo>
                    <a:lnTo>
                      <a:pt x="80" y="76"/>
                    </a:lnTo>
                    <a:lnTo>
                      <a:pt x="76" y="76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0" y="76"/>
                    </a:lnTo>
                    <a:lnTo>
                      <a:pt x="40" y="80"/>
                    </a:lnTo>
                    <a:lnTo>
                      <a:pt x="40" y="80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40" y="84"/>
                    </a:lnTo>
                    <a:lnTo>
                      <a:pt x="40" y="88"/>
                    </a:lnTo>
                    <a:lnTo>
                      <a:pt x="40" y="88"/>
                    </a:lnTo>
                    <a:lnTo>
                      <a:pt x="40" y="92"/>
                    </a:lnTo>
                    <a:lnTo>
                      <a:pt x="40" y="92"/>
                    </a:lnTo>
                    <a:lnTo>
                      <a:pt x="40" y="92"/>
                    </a:lnTo>
                    <a:lnTo>
                      <a:pt x="40" y="96"/>
                    </a:lnTo>
                    <a:lnTo>
                      <a:pt x="44" y="96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4" y="100"/>
                    </a:lnTo>
                    <a:lnTo>
                      <a:pt x="40" y="100"/>
                    </a:lnTo>
                    <a:lnTo>
                      <a:pt x="40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4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40" y="100"/>
                    </a:lnTo>
                    <a:lnTo>
                      <a:pt x="36" y="96"/>
                    </a:lnTo>
                    <a:lnTo>
                      <a:pt x="36" y="96"/>
                    </a:lnTo>
                    <a:lnTo>
                      <a:pt x="32" y="96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4" y="96"/>
                    </a:lnTo>
                    <a:lnTo>
                      <a:pt x="24" y="96"/>
                    </a:lnTo>
                    <a:lnTo>
                      <a:pt x="24" y="96"/>
                    </a:lnTo>
                    <a:lnTo>
                      <a:pt x="24" y="96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72" y="0"/>
                    </a:lnTo>
                    <a:lnTo>
                      <a:pt x="72" y="0"/>
                    </a:lnTo>
                    <a:lnTo>
                      <a:pt x="76" y="0"/>
                    </a:lnTo>
                    <a:lnTo>
                      <a:pt x="80" y="0"/>
                    </a:lnTo>
                    <a:lnTo>
                      <a:pt x="80" y="0"/>
                    </a:lnTo>
                    <a:lnTo>
                      <a:pt x="84" y="0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2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6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28"/>
                    </a:lnTo>
                    <a:lnTo>
                      <a:pt x="96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4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0"/>
                    </a:lnTo>
                    <a:lnTo>
                      <a:pt x="104" y="40"/>
                    </a:lnTo>
                    <a:lnTo>
                      <a:pt x="108" y="44"/>
                    </a:lnTo>
                    <a:lnTo>
                      <a:pt x="112" y="48"/>
                    </a:lnTo>
                    <a:lnTo>
                      <a:pt x="112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4"/>
                    </a:lnTo>
                    <a:lnTo>
                      <a:pt x="116" y="48"/>
                    </a:lnTo>
                    <a:lnTo>
                      <a:pt x="120" y="48"/>
                    </a:lnTo>
                    <a:lnTo>
                      <a:pt x="116" y="48"/>
                    </a:lnTo>
                    <a:lnTo>
                      <a:pt x="116" y="48"/>
                    </a:lnTo>
                    <a:lnTo>
                      <a:pt x="116" y="52"/>
                    </a:lnTo>
                    <a:lnTo>
                      <a:pt x="116" y="52"/>
                    </a:lnTo>
                    <a:lnTo>
                      <a:pt x="120" y="56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20" y="60"/>
                    </a:lnTo>
                    <a:lnTo>
                      <a:pt x="120" y="64"/>
                    </a:lnTo>
                    <a:lnTo>
                      <a:pt x="120" y="64"/>
                    </a:lnTo>
                    <a:lnTo>
                      <a:pt x="116" y="64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6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68"/>
                    </a:lnTo>
                    <a:lnTo>
                      <a:pt x="104" y="72"/>
                    </a:lnTo>
                    <a:lnTo>
                      <a:pt x="104" y="72"/>
                    </a:lnTo>
                    <a:lnTo>
                      <a:pt x="100" y="72"/>
                    </a:lnTo>
                    <a:lnTo>
                      <a:pt x="100" y="72"/>
                    </a:lnTo>
                    <a:lnTo>
                      <a:pt x="100" y="76"/>
                    </a:lnTo>
                    <a:lnTo>
                      <a:pt x="100" y="76"/>
                    </a:lnTo>
                    <a:lnTo>
                      <a:pt x="96" y="7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2" name="Freeform 122">
                <a:extLst>
                  <a:ext uri="{FF2B5EF4-FFF2-40B4-BE49-F238E27FC236}">
                    <a16:creationId xmlns:a16="http://schemas.microsoft.com/office/drawing/2014/main" id="{48EBDBE0-B4ED-485E-B833-DAA2E92F3AE5}"/>
                  </a:ext>
                </a:extLst>
              </p:cNvPr>
              <p:cNvSpPr>
                <a:spLocks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345168" y="6018608"/>
                <a:ext cx="35297" cy="49163"/>
              </a:xfrm>
              <a:custGeom>
                <a:avLst/>
                <a:gdLst/>
                <a:ahLst/>
                <a:cxnLst>
                  <a:cxn ang="0">
                    <a:pos x="28" y="15"/>
                  </a:cxn>
                  <a:cxn ang="0">
                    <a:pos x="28" y="19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4" y="19"/>
                  </a:cxn>
                  <a:cxn ang="0">
                    <a:pos x="20" y="23"/>
                  </a:cxn>
                  <a:cxn ang="0">
                    <a:pos x="20" y="27"/>
                  </a:cxn>
                  <a:cxn ang="0">
                    <a:pos x="20" y="27"/>
                  </a:cxn>
                  <a:cxn ang="0">
                    <a:pos x="20" y="31"/>
                  </a:cxn>
                  <a:cxn ang="0">
                    <a:pos x="12" y="39"/>
                  </a:cxn>
                  <a:cxn ang="0">
                    <a:pos x="8" y="39"/>
                  </a:cxn>
                  <a:cxn ang="0">
                    <a:pos x="8" y="35"/>
                  </a:cxn>
                  <a:cxn ang="0">
                    <a:pos x="4" y="31"/>
                  </a:cxn>
                  <a:cxn ang="0">
                    <a:pos x="4" y="31"/>
                  </a:cxn>
                  <a:cxn ang="0">
                    <a:pos x="4" y="31"/>
                  </a:cxn>
                  <a:cxn ang="0">
                    <a:pos x="4" y="27"/>
                  </a:cxn>
                  <a:cxn ang="0">
                    <a:pos x="4" y="27"/>
                  </a:cxn>
                  <a:cxn ang="0">
                    <a:pos x="4" y="23"/>
                  </a:cxn>
                  <a:cxn ang="0">
                    <a:pos x="4" y="19"/>
                  </a:cxn>
                  <a:cxn ang="0">
                    <a:pos x="4" y="19"/>
                  </a:cxn>
                  <a:cxn ang="0">
                    <a:pos x="4" y="15"/>
                  </a:cxn>
                  <a:cxn ang="0">
                    <a:pos x="4" y="1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4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6" y="4"/>
                  </a:cxn>
                  <a:cxn ang="0">
                    <a:pos x="16" y="0"/>
                  </a:cxn>
                  <a:cxn ang="0">
                    <a:pos x="16" y="4"/>
                  </a:cxn>
                  <a:cxn ang="0">
                    <a:pos x="20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0" y="12"/>
                  </a:cxn>
                  <a:cxn ang="0">
                    <a:pos x="24" y="12"/>
                  </a:cxn>
                  <a:cxn ang="0">
                    <a:pos x="24" y="12"/>
                  </a:cxn>
                </a:cxnLst>
                <a:rect l="0" t="0" r="r" b="b"/>
                <a:pathLst>
                  <a:path w="28" h="39">
                    <a:moveTo>
                      <a:pt x="28" y="12"/>
                    </a:moveTo>
                    <a:lnTo>
                      <a:pt x="28" y="12"/>
                    </a:lnTo>
                    <a:lnTo>
                      <a:pt x="28" y="15"/>
                    </a:lnTo>
                    <a:lnTo>
                      <a:pt x="28" y="15"/>
                    </a:lnTo>
                    <a:lnTo>
                      <a:pt x="28" y="15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28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19"/>
                    </a:lnTo>
                    <a:lnTo>
                      <a:pt x="24" y="23"/>
                    </a:lnTo>
                    <a:lnTo>
                      <a:pt x="24" y="23"/>
                    </a:lnTo>
                    <a:lnTo>
                      <a:pt x="20" y="23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0" y="27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20" y="31"/>
                    </a:lnTo>
                    <a:lnTo>
                      <a:pt x="16" y="35"/>
                    </a:lnTo>
                    <a:lnTo>
                      <a:pt x="16" y="35"/>
                    </a:lnTo>
                    <a:lnTo>
                      <a:pt x="12" y="39"/>
                    </a:lnTo>
                    <a:lnTo>
                      <a:pt x="12" y="39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8" y="39"/>
                    </a:lnTo>
                    <a:lnTo>
                      <a:pt x="8" y="35"/>
                    </a:lnTo>
                    <a:lnTo>
                      <a:pt x="8" y="35"/>
                    </a:lnTo>
                    <a:lnTo>
                      <a:pt x="8" y="35"/>
                    </a:lnTo>
                    <a:lnTo>
                      <a:pt x="8" y="35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7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23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4" y="19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4" y="15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3" name="Freeform 123">
                <a:extLst>
                  <a:ext uri="{FF2B5EF4-FFF2-40B4-BE49-F238E27FC236}">
                    <a16:creationId xmlns:a16="http://schemas.microsoft.com/office/drawing/2014/main" id="{CA68FE3D-2314-4AAE-84B2-15EFAE1A1EBA}"/>
                  </a:ext>
                </a:extLst>
              </p:cNvPr>
              <p:cNvSpPr>
                <a:spLocks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3953120" y="5660596"/>
                <a:ext cx="151273" cy="267248"/>
              </a:xfrm>
              <a:custGeom>
                <a:avLst/>
                <a:gdLst/>
                <a:ahLst/>
                <a:cxnLst>
                  <a:cxn ang="0">
                    <a:pos x="24" y="200"/>
                  </a:cxn>
                  <a:cxn ang="0">
                    <a:pos x="20" y="188"/>
                  </a:cxn>
                  <a:cxn ang="0">
                    <a:pos x="20" y="180"/>
                  </a:cxn>
                  <a:cxn ang="0">
                    <a:pos x="20" y="172"/>
                  </a:cxn>
                  <a:cxn ang="0">
                    <a:pos x="12" y="172"/>
                  </a:cxn>
                  <a:cxn ang="0">
                    <a:pos x="8" y="164"/>
                  </a:cxn>
                  <a:cxn ang="0">
                    <a:pos x="8" y="160"/>
                  </a:cxn>
                  <a:cxn ang="0">
                    <a:pos x="4" y="160"/>
                  </a:cxn>
                  <a:cxn ang="0">
                    <a:pos x="4" y="152"/>
                  </a:cxn>
                  <a:cxn ang="0">
                    <a:pos x="8" y="140"/>
                  </a:cxn>
                  <a:cxn ang="0">
                    <a:pos x="12" y="128"/>
                  </a:cxn>
                  <a:cxn ang="0">
                    <a:pos x="20" y="120"/>
                  </a:cxn>
                  <a:cxn ang="0">
                    <a:pos x="28" y="112"/>
                  </a:cxn>
                  <a:cxn ang="0">
                    <a:pos x="32" y="112"/>
                  </a:cxn>
                  <a:cxn ang="0">
                    <a:pos x="40" y="116"/>
                  </a:cxn>
                  <a:cxn ang="0">
                    <a:pos x="44" y="124"/>
                  </a:cxn>
                  <a:cxn ang="0">
                    <a:pos x="48" y="116"/>
                  </a:cxn>
                  <a:cxn ang="0">
                    <a:pos x="52" y="104"/>
                  </a:cxn>
                  <a:cxn ang="0">
                    <a:pos x="56" y="96"/>
                  </a:cxn>
                  <a:cxn ang="0">
                    <a:pos x="56" y="92"/>
                  </a:cxn>
                  <a:cxn ang="0">
                    <a:pos x="60" y="84"/>
                  </a:cxn>
                  <a:cxn ang="0">
                    <a:pos x="68" y="76"/>
                  </a:cxn>
                  <a:cxn ang="0">
                    <a:pos x="72" y="68"/>
                  </a:cxn>
                  <a:cxn ang="0">
                    <a:pos x="72" y="56"/>
                  </a:cxn>
                  <a:cxn ang="0">
                    <a:pos x="76" y="48"/>
                  </a:cxn>
                  <a:cxn ang="0">
                    <a:pos x="84" y="36"/>
                  </a:cxn>
                  <a:cxn ang="0">
                    <a:pos x="92" y="32"/>
                  </a:cxn>
                  <a:cxn ang="0">
                    <a:pos x="92" y="24"/>
                  </a:cxn>
                  <a:cxn ang="0">
                    <a:pos x="92" y="20"/>
                  </a:cxn>
                  <a:cxn ang="0">
                    <a:pos x="92" y="16"/>
                  </a:cxn>
                  <a:cxn ang="0">
                    <a:pos x="88" y="8"/>
                  </a:cxn>
                  <a:cxn ang="0">
                    <a:pos x="88" y="0"/>
                  </a:cxn>
                  <a:cxn ang="0">
                    <a:pos x="92" y="8"/>
                  </a:cxn>
                  <a:cxn ang="0">
                    <a:pos x="100" y="20"/>
                  </a:cxn>
                  <a:cxn ang="0">
                    <a:pos x="100" y="32"/>
                  </a:cxn>
                  <a:cxn ang="0">
                    <a:pos x="100" y="44"/>
                  </a:cxn>
                  <a:cxn ang="0">
                    <a:pos x="104" y="52"/>
                  </a:cxn>
                  <a:cxn ang="0">
                    <a:pos x="104" y="60"/>
                  </a:cxn>
                  <a:cxn ang="0">
                    <a:pos x="92" y="60"/>
                  </a:cxn>
                  <a:cxn ang="0">
                    <a:pos x="88" y="72"/>
                  </a:cxn>
                  <a:cxn ang="0">
                    <a:pos x="100" y="80"/>
                  </a:cxn>
                  <a:cxn ang="0">
                    <a:pos x="104" y="92"/>
                  </a:cxn>
                  <a:cxn ang="0">
                    <a:pos x="108" y="100"/>
                  </a:cxn>
                  <a:cxn ang="0">
                    <a:pos x="104" y="108"/>
                  </a:cxn>
                  <a:cxn ang="0">
                    <a:pos x="100" y="116"/>
                  </a:cxn>
                  <a:cxn ang="0">
                    <a:pos x="96" y="128"/>
                  </a:cxn>
                  <a:cxn ang="0">
                    <a:pos x="92" y="136"/>
                  </a:cxn>
                  <a:cxn ang="0">
                    <a:pos x="92" y="144"/>
                  </a:cxn>
                  <a:cxn ang="0">
                    <a:pos x="96" y="156"/>
                  </a:cxn>
                  <a:cxn ang="0">
                    <a:pos x="100" y="164"/>
                  </a:cxn>
                  <a:cxn ang="0">
                    <a:pos x="104" y="172"/>
                  </a:cxn>
                  <a:cxn ang="0">
                    <a:pos x="112" y="184"/>
                  </a:cxn>
                  <a:cxn ang="0">
                    <a:pos x="116" y="196"/>
                  </a:cxn>
                  <a:cxn ang="0">
                    <a:pos x="116" y="200"/>
                  </a:cxn>
                  <a:cxn ang="0">
                    <a:pos x="116" y="212"/>
                  </a:cxn>
                  <a:cxn ang="0">
                    <a:pos x="108" y="208"/>
                  </a:cxn>
                  <a:cxn ang="0">
                    <a:pos x="100" y="204"/>
                  </a:cxn>
                  <a:cxn ang="0">
                    <a:pos x="88" y="204"/>
                  </a:cxn>
                  <a:cxn ang="0">
                    <a:pos x="72" y="200"/>
                  </a:cxn>
                  <a:cxn ang="0">
                    <a:pos x="60" y="200"/>
                  </a:cxn>
                  <a:cxn ang="0">
                    <a:pos x="48" y="200"/>
                  </a:cxn>
                  <a:cxn ang="0">
                    <a:pos x="40" y="204"/>
                  </a:cxn>
                </a:cxnLst>
                <a:rect l="0" t="0" r="r" b="b"/>
                <a:pathLst>
                  <a:path w="120" h="212">
                    <a:moveTo>
                      <a:pt x="28" y="204"/>
                    </a:moveTo>
                    <a:lnTo>
                      <a:pt x="24" y="204"/>
                    </a:lnTo>
                    <a:lnTo>
                      <a:pt x="24" y="200"/>
                    </a:lnTo>
                    <a:lnTo>
                      <a:pt x="20" y="200"/>
                    </a:lnTo>
                    <a:lnTo>
                      <a:pt x="20" y="196"/>
                    </a:lnTo>
                    <a:lnTo>
                      <a:pt x="20" y="188"/>
                    </a:lnTo>
                    <a:lnTo>
                      <a:pt x="24" y="188"/>
                    </a:lnTo>
                    <a:lnTo>
                      <a:pt x="24" y="184"/>
                    </a:lnTo>
                    <a:lnTo>
                      <a:pt x="20" y="180"/>
                    </a:lnTo>
                    <a:lnTo>
                      <a:pt x="20" y="176"/>
                    </a:lnTo>
                    <a:lnTo>
                      <a:pt x="16" y="172"/>
                    </a:lnTo>
                    <a:lnTo>
                      <a:pt x="20" y="172"/>
                    </a:lnTo>
                    <a:lnTo>
                      <a:pt x="16" y="168"/>
                    </a:lnTo>
                    <a:lnTo>
                      <a:pt x="16" y="172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8" y="168"/>
                    </a:lnTo>
                    <a:lnTo>
                      <a:pt x="8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8" y="160"/>
                    </a:lnTo>
                    <a:lnTo>
                      <a:pt x="4" y="160"/>
                    </a:lnTo>
                    <a:lnTo>
                      <a:pt x="4" y="156"/>
                    </a:lnTo>
                    <a:lnTo>
                      <a:pt x="4" y="160"/>
                    </a:lnTo>
                    <a:lnTo>
                      <a:pt x="0" y="160"/>
                    </a:lnTo>
                    <a:lnTo>
                      <a:pt x="0" y="156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8" y="144"/>
                    </a:lnTo>
                    <a:lnTo>
                      <a:pt x="8" y="140"/>
                    </a:lnTo>
                    <a:lnTo>
                      <a:pt x="8" y="136"/>
                    </a:lnTo>
                    <a:lnTo>
                      <a:pt x="8" y="132"/>
                    </a:lnTo>
                    <a:lnTo>
                      <a:pt x="12" y="128"/>
                    </a:lnTo>
                    <a:lnTo>
                      <a:pt x="16" y="124"/>
                    </a:lnTo>
                    <a:lnTo>
                      <a:pt x="20" y="124"/>
                    </a:lnTo>
                    <a:lnTo>
                      <a:pt x="20" y="120"/>
                    </a:lnTo>
                    <a:lnTo>
                      <a:pt x="20" y="116"/>
                    </a:lnTo>
                    <a:lnTo>
                      <a:pt x="24" y="116"/>
                    </a:lnTo>
                    <a:lnTo>
                      <a:pt x="28" y="112"/>
                    </a:lnTo>
                    <a:lnTo>
                      <a:pt x="28" y="116"/>
                    </a:lnTo>
                    <a:lnTo>
                      <a:pt x="32" y="116"/>
                    </a:lnTo>
                    <a:lnTo>
                      <a:pt x="32" y="112"/>
                    </a:lnTo>
                    <a:lnTo>
                      <a:pt x="36" y="112"/>
                    </a:lnTo>
                    <a:lnTo>
                      <a:pt x="36" y="116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0" y="124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8" y="120"/>
                    </a:lnTo>
                    <a:lnTo>
                      <a:pt x="48" y="116"/>
                    </a:lnTo>
                    <a:lnTo>
                      <a:pt x="52" y="112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6" y="104"/>
                    </a:lnTo>
                    <a:lnTo>
                      <a:pt x="56" y="100"/>
                    </a:lnTo>
                    <a:lnTo>
                      <a:pt x="56" y="96"/>
                    </a:lnTo>
                    <a:lnTo>
                      <a:pt x="56" y="92"/>
                    </a:lnTo>
                    <a:lnTo>
                      <a:pt x="60" y="92"/>
                    </a:lnTo>
                    <a:lnTo>
                      <a:pt x="56" y="92"/>
                    </a:lnTo>
                    <a:lnTo>
                      <a:pt x="56" y="88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64" y="84"/>
                    </a:lnTo>
                    <a:lnTo>
                      <a:pt x="68" y="80"/>
                    </a:lnTo>
                    <a:lnTo>
                      <a:pt x="68" y="76"/>
                    </a:lnTo>
                    <a:lnTo>
                      <a:pt x="68" y="72"/>
                    </a:lnTo>
                    <a:lnTo>
                      <a:pt x="68" y="68"/>
                    </a:lnTo>
                    <a:lnTo>
                      <a:pt x="72" y="68"/>
                    </a:lnTo>
                    <a:lnTo>
                      <a:pt x="72" y="64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76" y="56"/>
                    </a:lnTo>
                    <a:lnTo>
                      <a:pt x="76" y="52"/>
                    </a:lnTo>
                    <a:lnTo>
                      <a:pt x="76" y="48"/>
                    </a:lnTo>
                    <a:lnTo>
                      <a:pt x="80" y="44"/>
                    </a:lnTo>
                    <a:lnTo>
                      <a:pt x="80" y="40"/>
                    </a:lnTo>
                    <a:lnTo>
                      <a:pt x="84" y="36"/>
                    </a:lnTo>
                    <a:lnTo>
                      <a:pt x="88" y="36"/>
                    </a:lnTo>
                    <a:lnTo>
                      <a:pt x="88" y="32"/>
                    </a:lnTo>
                    <a:lnTo>
                      <a:pt x="92" y="32"/>
                    </a:lnTo>
                    <a:lnTo>
                      <a:pt x="96" y="28"/>
                    </a:lnTo>
                    <a:lnTo>
                      <a:pt x="92" y="28"/>
                    </a:lnTo>
                    <a:lnTo>
                      <a:pt x="92" y="24"/>
                    </a:lnTo>
                    <a:lnTo>
                      <a:pt x="96" y="24"/>
                    </a:lnTo>
                    <a:lnTo>
                      <a:pt x="96" y="20"/>
                    </a:lnTo>
                    <a:lnTo>
                      <a:pt x="92" y="20"/>
                    </a:lnTo>
                    <a:lnTo>
                      <a:pt x="96" y="20"/>
                    </a:lnTo>
                    <a:lnTo>
                      <a:pt x="96" y="16"/>
                    </a:lnTo>
                    <a:lnTo>
                      <a:pt x="92" y="16"/>
                    </a:lnTo>
                    <a:lnTo>
                      <a:pt x="88" y="16"/>
                    </a:lnTo>
                    <a:lnTo>
                      <a:pt x="88" y="12"/>
                    </a:lnTo>
                    <a:lnTo>
                      <a:pt x="88" y="8"/>
                    </a:lnTo>
                    <a:lnTo>
                      <a:pt x="88" y="4"/>
                    </a:lnTo>
                    <a:lnTo>
                      <a:pt x="84" y="0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16"/>
                    </a:lnTo>
                    <a:lnTo>
                      <a:pt x="100" y="20"/>
                    </a:lnTo>
                    <a:lnTo>
                      <a:pt x="100" y="24"/>
                    </a:lnTo>
                    <a:lnTo>
                      <a:pt x="100" y="28"/>
                    </a:lnTo>
                    <a:lnTo>
                      <a:pt x="100" y="32"/>
                    </a:lnTo>
                    <a:lnTo>
                      <a:pt x="100" y="36"/>
                    </a:lnTo>
                    <a:lnTo>
                      <a:pt x="100" y="40"/>
                    </a:lnTo>
                    <a:lnTo>
                      <a:pt x="100" y="44"/>
                    </a:lnTo>
                    <a:lnTo>
                      <a:pt x="100" y="48"/>
                    </a:lnTo>
                    <a:lnTo>
                      <a:pt x="104" y="48"/>
                    </a:lnTo>
                    <a:lnTo>
                      <a:pt x="104" y="52"/>
                    </a:lnTo>
                    <a:lnTo>
                      <a:pt x="108" y="56"/>
                    </a:lnTo>
                    <a:lnTo>
                      <a:pt x="108" y="60"/>
                    </a:lnTo>
                    <a:lnTo>
                      <a:pt x="104" y="60"/>
                    </a:lnTo>
                    <a:lnTo>
                      <a:pt x="100" y="60"/>
                    </a:lnTo>
                    <a:lnTo>
                      <a:pt x="96" y="60"/>
                    </a:lnTo>
                    <a:lnTo>
                      <a:pt x="92" y="60"/>
                    </a:lnTo>
                    <a:lnTo>
                      <a:pt x="88" y="60"/>
                    </a:lnTo>
                    <a:lnTo>
                      <a:pt x="84" y="64"/>
                    </a:lnTo>
                    <a:lnTo>
                      <a:pt x="88" y="72"/>
                    </a:lnTo>
                    <a:lnTo>
                      <a:pt x="92" y="76"/>
                    </a:lnTo>
                    <a:lnTo>
                      <a:pt x="96" y="80"/>
                    </a:lnTo>
                    <a:lnTo>
                      <a:pt x="100" y="80"/>
                    </a:lnTo>
                    <a:lnTo>
                      <a:pt x="100" y="84"/>
                    </a:lnTo>
                    <a:lnTo>
                      <a:pt x="104" y="88"/>
                    </a:lnTo>
                    <a:lnTo>
                      <a:pt x="104" y="92"/>
                    </a:lnTo>
                    <a:lnTo>
                      <a:pt x="104" y="96"/>
                    </a:lnTo>
                    <a:lnTo>
                      <a:pt x="108" y="96"/>
                    </a:lnTo>
                    <a:lnTo>
                      <a:pt x="108" y="100"/>
                    </a:lnTo>
                    <a:lnTo>
                      <a:pt x="108" y="104"/>
                    </a:lnTo>
                    <a:lnTo>
                      <a:pt x="108" y="108"/>
                    </a:lnTo>
                    <a:lnTo>
                      <a:pt x="104" y="108"/>
                    </a:lnTo>
                    <a:lnTo>
                      <a:pt x="104" y="112"/>
                    </a:lnTo>
                    <a:lnTo>
                      <a:pt x="100" y="112"/>
                    </a:lnTo>
                    <a:lnTo>
                      <a:pt x="100" y="116"/>
                    </a:lnTo>
                    <a:lnTo>
                      <a:pt x="100" y="120"/>
                    </a:lnTo>
                    <a:lnTo>
                      <a:pt x="96" y="124"/>
                    </a:lnTo>
                    <a:lnTo>
                      <a:pt x="96" y="128"/>
                    </a:lnTo>
                    <a:lnTo>
                      <a:pt x="92" y="128"/>
                    </a:lnTo>
                    <a:lnTo>
                      <a:pt x="92" y="132"/>
                    </a:lnTo>
                    <a:lnTo>
                      <a:pt x="92" y="136"/>
                    </a:lnTo>
                    <a:lnTo>
                      <a:pt x="96" y="136"/>
                    </a:lnTo>
                    <a:lnTo>
                      <a:pt x="92" y="140"/>
                    </a:lnTo>
                    <a:lnTo>
                      <a:pt x="92" y="144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6" y="156"/>
                    </a:lnTo>
                    <a:lnTo>
                      <a:pt x="96" y="160"/>
                    </a:lnTo>
                    <a:lnTo>
                      <a:pt x="100" y="160"/>
                    </a:lnTo>
                    <a:lnTo>
                      <a:pt x="100" y="164"/>
                    </a:lnTo>
                    <a:lnTo>
                      <a:pt x="100" y="168"/>
                    </a:lnTo>
                    <a:lnTo>
                      <a:pt x="100" y="172"/>
                    </a:lnTo>
                    <a:lnTo>
                      <a:pt x="104" y="172"/>
                    </a:lnTo>
                    <a:lnTo>
                      <a:pt x="104" y="176"/>
                    </a:lnTo>
                    <a:lnTo>
                      <a:pt x="108" y="180"/>
                    </a:lnTo>
                    <a:lnTo>
                      <a:pt x="112" y="184"/>
                    </a:lnTo>
                    <a:lnTo>
                      <a:pt x="116" y="188"/>
                    </a:lnTo>
                    <a:lnTo>
                      <a:pt x="116" y="192"/>
                    </a:lnTo>
                    <a:lnTo>
                      <a:pt x="116" y="196"/>
                    </a:lnTo>
                    <a:lnTo>
                      <a:pt x="116" y="200"/>
                    </a:lnTo>
                    <a:lnTo>
                      <a:pt x="120" y="200"/>
                    </a:lnTo>
                    <a:lnTo>
                      <a:pt x="116" y="200"/>
                    </a:lnTo>
                    <a:lnTo>
                      <a:pt x="116" y="204"/>
                    </a:lnTo>
                    <a:lnTo>
                      <a:pt x="116" y="208"/>
                    </a:lnTo>
                    <a:lnTo>
                      <a:pt x="116" y="212"/>
                    </a:lnTo>
                    <a:lnTo>
                      <a:pt x="116" y="208"/>
                    </a:lnTo>
                    <a:lnTo>
                      <a:pt x="112" y="208"/>
                    </a:lnTo>
                    <a:lnTo>
                      <a:pt x="108" y="208"/>
                    </a:lnTo>
                    <a:lnTo>
                      <a:pt x="108" y="204"/>
                    </a:lnTo>
                    <a:lnTo>
                      <a:pt x="104" y="204"/>
                    </a:lnTo>
                    <a:lnTo>
                      <a:pt x="100" y="204"/>
                    </a:lnTo>
                    <a:lnTo>
                      <a:pt x="96" y="204"/>
                    </a:lnTo>
                    <a:lnTo>
                      <a:pt x="92" y="204"/>
                    </a:lnTo>
                    <a:lnTo>
                      <a:pt x="88" y="204"/>
                    </a:lnTo>
                    <a:lnTo>
                      <a:pt x="80" y="204"/>
                    </a:lnTo>
                    <a:lnTo>
                      <a:pt x="72" y="204"/>
                    </a:lnTo>
                    <a:lnTo>
                      <a:pt x="72" y="200"/>
                    </a:lnTo>
                    <a:lnTo>
                      <a:pt x="68" y="200"/>
                    </a:lnTo>
                    <a:lnTo>
                      <a:pt x="64" y="200"/>
                    </a:lnTo>
                    <a:lnTo>
                      <a:pt x="60" y="200"/>
                    </a:lnTo>
                    <a:lnTo>
                      <a:pt x="56" y="200"/>
                    </a:lnTo>
                    <a:lnTo>
                      <a:pt x="52" y="200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32" y="204"/>
                    </a:lnTo>
                    <a:lnTo>
                      <a:pt x="28" y="20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4" name="Freeform 124">
                <a:extLst>
                  <a:ext uri="{FF2B5EF4-FFF2-40B4-BE49-F238E27FC236}">
                    <a16:creationId xmlns:a16="http://schemas.microsoft.com/office/drawing/2014/main" id="{8FBEB10D-129A-44B2-9B73-FE34B6FE8F87}"/>
                  </a:ext>
                </a:extLst>
              </p:cNvPr>
              <p:cNvSpPr>
                <a:spLocks noEditPoint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3310212" y="5564790"/>
                <a:ext cx="50424" cy="55467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4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4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4"/>
                  </a:cxn>
                  <a:cxn ang="0">
                    <a:pos x="8" y="8"/>
                  </a:cxn>
                  <a:cxn ang="0">
                    <a:pos x="4" y="8"/>
                  </a:cxn>
                  <a:cxn ang="0">
                    <a:pos x="36" y="12"/>
                  </a:cxn>
                  <a:cxn ang="0">
                    <a:pos x="36" y="8"/>
                  </a:cxn>
                  <a:cxn ang="0">
                    <a:pos x="36" y="8"/>
                  </a:cxn>
                  <a:cxn ang="0">
                    <a:pos x="36" y="12"/>
                  </a:cxn>
                  <a:cxn ang="0">
                    <a:pos x="16" y="12"/>
                  </a:cxn>
                  <a:cxn ang="0">
                    <a:pos x="12" y="12"/>
                  </a:cxn>
                  <a:cxn ang="0">
                    <a:pos x="16" y="12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36" y="24"/>
                  </a:cxn>
                  <a:cxn ang="0">
                    <a:pos x="36" y="20"/>
                  </a:cxn>
                  <a:cxn ang="0">
                    <a:pos x="40" y="20"/>
                  </a:cxn>
                  <a:cxn ang="0">
                    <a:pos x="40" y="20"/>
                  </a:cxn>
                  <a:cxn ang="0">
                    <a:pos x="40" y="24"/>
                  </a:cxn>
                  <a:cxn ang="0">
                    <a:pos x="32" y="40"/>
                  </a:cxn>
                  <a:cxn ang="0">
                    <a:pos x="32" y="40"/>
                  </a:cxn>
                  <a:cxn ang="0">
                    <a:pos x="32" y="36"/>
                  </a:cxn>
                  <a:cxn ang="0">
                    <a:pos x="32" y="40"/>
                  </a:cxn>
                  <a:cxn ang="0">
                    <a:pos x="32" y="40"/>
                  </a:cxn>
                  <a:cxn ang="0">
                    <a:pos x="24" y="44"/>
                  </a:cxn>
                  <a:cxn ang="0">
                    <a:pos x="24" y="40"/>
                  </a:cxn>
                  <a:cxn ang="0">
                    <a:pos x="24" y="40"/>
                  </a:cxn>
                  <a:cxn ang="0">
                    <a:pos x="24" y="36"/>
                  </a:cxn>
                  <a:cxn ang="0">
                    <a:pos x="28" y="40"/>
                  </a:cxn>
                  <a:cxn ang="0">
                    <a:pos x="28" y="40"/>
                  </a:cxn>
                  <a:cxn ang="0">
                    <a:pos x="12" y="44"/>
                  </a:cxn>
                  <a:cxn ang="0">
                    <a:pos x="12" y="44"/>
                  </a:cxn>
                  <a:cxn ang="0">
                    <a:pos x="12" y="44"/>
                  </a:cxn>
                  <a:cxn ang="0">
                    <a:pos x="12" y="40"/>
                  </a:cxn>
                  <a:cxn ang="0">
                    <a:pos x="16" y="40"/>
                  </a:cxn>
                  <a:cxn ang="0">
                    <a:pos x="16" y="44"/>
                  </a:cxn>
                  <a:cxn ang="0">
                    <a:pos x="16" y="44"/>
                  </a:cxn>
                  <a:cxn ang="0">
                    <a:pos x="16" y="44"/>
                  </a:cxn>
                </a:cxnLst>
                <a:rect l="0" t="0" r="r" b="b"/>
                <a:pathLst>
                  <a:path w="40" h="44">
                    <a:moveTo>
                      <a:pt x="0" y="4"/>
                    </a:move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36" y="12"/>
                    </a:moveTo>
                    <a:lnTo>
                      <a:pt x="36" y="12"/>
                    </a:lnTo>
                    <a:lnTo>
                      <a:pt x="36" y="12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close/>
                    <a:moveTo>
                      <a:pt x="16" y="12"/>
                    </a:move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close/>
                    <a:moveTo>
                      <a:pt x="36" y="24"/>
                    </a:move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4"/>
                    </a:lnTo>
                    <a:lnTo>
                      <a:pt x="36" y="24"/>
                    </a:lnTo>
                    <a:close/>
                    <a:moveTo>
                      <a:pt x="32" y="40"/>
                    </a:move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32" y="40"/>
                    </a:lnTo>
                    <a:close/>
                    <a:moveTo>
                      <a:pt x="28" y="44"/>
                    </a:moveTo>
                    <a:lnTo>
                      <a:pt x="24" y="44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40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4"/>
                    </a:lnTo>
                    <a:close/>
                    <a:moveTo>
                      <a:pt x="12" y="44"/>
                    </a:move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5" name="Freeform 125">
                <a:extLst>
                  <a:ext uri="{FF2B5EF4-FFF2-40B4-BE49-F238E27FC236}">
                    <a16:creationId xmlns:a16="http://schemas.microsoft.com/office/drawing/2014/main" id="{4613A243-DC22-4646-8B0F-BB2F1D109181}"/>
                  </a:ext>
                </a:extLst>
              </p:cNvPr>
              <p:cNvSpPr>
                <a:spLocks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069096" y="5711020"/>
                <a:ext cx="247078" cy="201697"/>
              </a:xfrm>
              <a:custGeom>
                <a:avLst/>
                <a:gdLst/>
                <a:ahLst/>
                <a:cxnLst>
                  <a:cxn ang="0">
                    <a:pos x="88" y="112"/>
                  </a:cxn>
                  <a:cxn ang="0">
                    <a:pos x="76" y="108"/>
                  </a:cxn>
                  <a:cxn ang="0">
                    <a:pos x="64" y="120"/>
                  </a:cxn>
                  <a:cxn ang="0">
                    <a:pos x="64" y="124"/>
                  </a:cxn>
                  <a:cxn ang="0">
                    <a:pos x="64" y="140"/>
                  </a:cxn>
                  <a:cxn ang="0">
                    <a:pos x="56" y="140"/>
                  </a:cxn>
                  <a:cxn ang="0">
                    <a:pos x="44" y="136"/>
                  </a:cxn>
                  <a:cxn ang="0">
                    <a:pos x="36" y="136"/>
                  </a:cxn>
                  <a:cxn ang="0">
                    <a:pos x="28" y="148"/>
                  </a:cxn>
                  <a:cxn ang="0">
                    <a:pos x="28" y="156"/>
                  </a:cxn>
                  <a:cxn ang="0">
                    <a:pos x="24" y="152"/>
                  </a:cxn>
                  <a:cxn ang="0">
                    <a:pos x="12" y="136"/>
                  </a:cxn>
                  <a:cxn ang="0">
                    <a:pos x="8" y="124"/>
                  </a:cxn>
                  <a:cxn ang="0">
                    <a:pos x="4" y="112"/>
                  </a:cxn>
                  <a:cxn ang="0">
                    <a:pos x="4" y="96"/>
                  </a:cxn>
                  <a:cxn ang="0">
                    <a:pos x="4" y="88"/>
                  </a:cxn>
                  <a:cxn ang="0">
                    <a:pos x="8" y="72"/>
                  </a:cxn>
                  <a:cxn ang="0">
                    <a:pos x="16" y="64"/>
                  </a:cxn>
                  <a:cxn ang="0">
                    <a:pos x="28" y="60"/>
                  </a:cxn>
                  <a:cxn ang="0">
                    <a:pos x="36" y="60"/>
                  </a:cxn>
                  <a:cxn ang="0">
                    <a:pos x="52" y="56"/>
                  </a:cxn>
                  <a:cxn ang="0">
                    <a:pos x="64" y="52"/>
                  </a:cxn>
                  <a:cxn ang="0">
                    <a:pos x="72" y="44"/>
                  </a:cxn>
                  <a:cxn ang="0">
                    <a:pos x="76" y="36"/>
                  </a:cxn>
                  <a:cxn ang="0">
                    <a:pos x="92" y="36"/>
                  </a:cxn>
                  <a:cxn ang="0">
                    <a:pos x="104" y="20"/>
                  </a:cxn>
                  <a:cxn ang="0">
                    <a:pos x="112" y="12"/>
                  </a:cxn>
                  <a:cxn ang="0">
                    <a:pos x="116" y="4"/>
                  </a:cxn>
                  <a:cxn ang="0">
                    <a:pos x="128" y="0"/>
                  </a:cxn>
                  <a:cxn ang="0">
                    <a:pos x="136" y="16"/>
                  </a:cxn>
                  <a:cxn ang="0">
                    <a:pos x="140" y="32"/>
                  </a:cxn>
                  <a:cxn ang="0">
                    <a:pos x="136" y="44"/>
                  </a:cxn>
                  <a:cxn ang="0">
                    <a:pos x="144" y="44"/>
                  </a:cxn>
                  <a:cxn ang="0">
                    <a:pos x="152" y="52"/>
                  </a:cxn>
                  <a:cxn ang="0">
                    <a:pos x="164" y="56"/>
                  </a:cxn>
                  <a:cxn ang="0">
                    <a:pos x="168" y="68"/>
                  </a:cxn>
                  <a:cxn ang="0">
                    <a:pos x="180" y="80"/>
                  </a:cxn>
                  <a:cxn ang="0">
                    <a:pos x="180" y="88"/>
                  </a:cxn>
                  <a:cxn ang="0">
                    <a:pos x="188" y="96"/>
                  </a:cxn>
                  <a:cxn ang="0">
                    <a:pos x="192" y="100"/>
                  </a:cxn>
                  <a:cxn ang="0">
                    <a:pos x="196" y="112"/>
                  </a:cxn>
                  <a:cxn ang="0">
                    <a:pos x="184" y="108"/>
                  </a:cxn>
                  <a:cxn ang="0">
                    <a:pos x="176" y="108"/>
                  </a:cxn>
                  <a:cxn ang="0">
                    <a:pos x="164" y="104"/>
                  </a:cxn>
                  <a:cxn ang="0">
                    <a:pos x="156" y="112"/>
                  </a:cxn>
                  <a:cxn ang="0">
                    <a:pos x="148" y="112"/>
                  </a:cxn>
                  <a:cxn ang="0">
                    <a:pos x="132" y="116"/>
                  </a:cxn>
                  <a:cxn ang="0">
                    <a:pos x="124" y="116"/>
                  </a:cxn>
                  <a:cxn ang="0">
                    <a:pos x="120" y="128"/>
                  </a:cxn>
                  <a:cxn ang="0">
                    <a:pos x="108" y="124"/>
                  </a:cxn>
                  <a:cxn ang="0">
                    <a:pos x="92" y="120"/>
                  </a:cxn>
                </a:cxnLst>
                <a:rect l="0" t="0" r="r" b="b"/>
                <a:pathLst>
                  <a:path w="196" h="160">
                    <a:moveTo>
                      <a:pt x="92" y="120"/>
                    </a:moveTo>
                    <a:lnTo>
                      <a:pt x="92" y="116"/>
                    </a:lnTo>
                    <a:lnTo>
                      <a:pt x="88" y="116"/>
                    </a:lnTo>
                    <a:lnTo>
                      <a:pt x="88" y="112"/>
                    </a:lnTo>
                    <a:lnTo>
                      <a:pt x="84" y="112"/>
                    </a:lnTo>
                    <a:lnTo>
                      <a:pt x="80" y="112"/>
                    </a:lnTo>
                    <a:lnTo>
                      <a:pt x="80" y="108"/>
                    </a:lnTo>
                    <a:lnTo>
                      <a:pt x="76" y="108"/>
                    </a:lnTo>
                    <a:lnTo>
                      <a:pt x="72" y="112"/>
                    </a:lnTo>
                    <a:lnTo>
                      <a:pt x="68" y="112"/>
                    </a:lnTo>
                    <a:lnTo>
                      <a:pt x="68" y="116"/>
                    </a:lnTo>
                    <a:lnTo>
                      <a:pt x="64" y="120"/>
                    </a:lnTo>
                    <a:lnTo>
                      <a:pt x="64" y="124"/>
                    </a:lnTo>
                    <a:lnTo>
                      <a:pt x="64" y="120"/>
                    </a:lnTo>
                    <a:lnTo>
                      <a:pt x="60" y="124"/>
                    </a:lnTo>
                    <a:lnTo>
                      <a:pt x="64" y="124"/>
                    </a:lnTo>
                    <a:lnTo>
                      <a:pt x="64" y="128"/>
                    </a:lnTo>
                    <a:lnTo>
                      <a:pt x="64" y="132"/>
                    </a:lnTo>
                    <a:lnTo>
                      <a:pt x="64" y="136"/>
                    </a:lnTo>
                    <a:lnTo>
                      <a:pt x="64" y="140"/>
                    </a:lnTo>
                    <a:lnTo>
                      <a:pt x="64" y="136"/>
                    </a:lnTo>
                    <a:lnTo>
                      <a:pt x="60" y="136"/>
                    </a:lnTo>
                    <a:lnTo>
                      <a:pt x="56" y="136"/>
                    </a:lnTo>
                    <a:lnTo>
                      <a:pt x="56" y="140"/>
                    </a:lnTo>
                    <a:lnTo>
                      <a:pt x="56" y="136"/>
                    </a:lnTo>
                    <a:lnTo>
                      <a:pt x="52" y="136"/>
                    </a:lnTo>
                    <a:lnTo>
                      <a:pt x="48" y="136"/>
                    </a:lnTo>
                    <a:lnTo>
                      <a:pt x="44" y="136"/>
                    </a:lnTo>
                    <a:lnTo>
                      <a:pt x="44" y="132"/>
                    </a:lnTo>
                    <a:lnTo>
                      <a:pt x="44" y="136"/>
                    </a:lnTo>
                    <a:lnTo>
                      <a:pt x="40" y="136"/>
                    </a:lnTo>
                    <a:lnTo>
                      <a:pt x="36" y="136"/>
                    </a:lnTo>
                    <a:lnTo>
                      <a:pt x="32" y="136"/>
                    </a:lnTo>
                    <a:lnTo>
                      <a:pt x="32" y="140"/>
                    </a:lnTo>
                    <a:lnTo>
                      <a:pt x="32" y="144"/>
                    </a:lnTo>
                    <a:lnTo>
                      <a:pt x="28" y="148"/>
                    </a:lnTo>
                    <a:lnTo>
                      <a:pt x="32" y="148"/>
                    </a:lnTo>
                    <a:lnTo>
                      <a:pt x="32" y="152"/>
                    </a:lnTo>
                    <a:lnTo>
                      <a:pt x="28" y="152"/>
                    </a:lnTo>
                    <a:lnTo>
                      <a:pt x="28" y="156"/>
                    </a:lnTo>
                    <a:lnTo>
                      <a:pt x="28" y="160"/>
                    </a:lnTo>
                    <a:lnTo>
                      <a:pt x="24" y="160"/>
                    </a:lnTo>
                    <a:lnTo>
                      <a:pt x="24" y="156"/>
                    </a:lnTo>
                    <a:lnTo>
                      <a:pt x="24" y="152"/>
                    </a:lnTo>
                    <a:lnTo>
                      <a:pt x="24" y="148"/>
                    </a:lnTo>
                    <a:lnTo>
                      <a:pt x="20" y="144"/>
                    </a:lnTo>
                    <a:lnTo>
                      <a:pt x="16" y="140"/>
                    </a:lnTo>
                    <a:lnTo>
                      <a:pt x="12" y="136"/>
                    </a:lnTo>
                    <a:lnTo>
                      <a:pt x="12" y="132"/>
                    </a:lnTo>
                    <a:lnTo>
                      <a:pt x="8" y="132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4" y="96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8" y="80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20" y="64"/>
                    </a:lnTo>
                    <a:lnTo>
                      <a:pt x="24" y="64"/>
                    </a:lnTo>
                    <a:lnTo>
                      <a:pt x="28" y="64"/>
                    </a:lnTo>
                    <a:lnTo>
                      <a:pt x="28" y="60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4" y="56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6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2"/>
                    </a:lnTo>
                    <a:lnTo>
                      <a:pt x="64" y="48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68" y="40"/>
                    </a:lnTo>
                    <a:lnTo>
                      <a:pt x="68" y="36"/>
                    </a:lnTo>
                    <a:lnTo>
                      <a:pt x="72" y="36"/>
                    </a:lnTo>
                    <a:lnTo>
                      <a:pt x="76" y="36"/>
                    </a:lnTo>
                    <a:lnTo>
                      <a:pt x="80" y="36"/>
                    </a:lnTo>
                    <a:lnTo>
                      <a:pt x="84" y="36"/>
                    </a:lnTo>
                    <a:lnTo>
                      <a:pt x="88" y="36"/>
                    </a:lnTo>
                    <a:lnTo>
                      <a:pt x="92" y="36"/>
                    </a:lnTo>
                    <a:lnTo>
                      <a:pt x="92" y="32"/>
                    </a:lnTo>
                    <a:lnTo>
                      <a:pt x="96" y="28"/>
                    </a:lnTo>
                    <a:lnTo>
                      <a:pt x="100" y="24"/>
                    </a:lnTo>
                    <a:lnTo>
                      <a:pt x="104" y="20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08" y="12"/>
                    </a:lnTo>
                    <a:lnTo>
                      <a:pt x="108" y="8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4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32" y="8"/>
                    </a:lnTo>
                    <a:lnTo>
                      <a:pt x="136" y="12"/>
                    </a:lnTo>
                    <a:lnTo>
                      <a:pt x="136" y="16"/>
                    </a:lnTo>
                    <a:lnTo>
                      <a:pt x="140" y="20"/>
                    </a:lnTo>
                    <a:lnTo>
                      <a:pt x="140" y="24"/>
                    </a:lnTo>
                    <a:lnTo>
                      <a:pt x="140" y="28"/>
                    </a:lnTo>
                    <a:lnTo>
                      <a:pt x="140" y="32"/>
                    </a:lnTo>
                    <a:lnTo>
                      <a:pt x="136" y="32"/>
                    </a:lnTo>
                    <a:lnTo>
                      <a:pt x="136" y="36"/>
                    </a:lnTo>
                    <a:lnTo>
                      <a:pt x="136" y="40"/>
                    </a:lnTo>
                    <a:lnTo>
                      <a:pt x="136" y="44"/>
                    </a:lnTo>
                    <a:lnTo>
                      <a:pt x="140" y="44"/>
                    </a:lnTo>
                    <a:lnTo>
                      <a:pt x="140" y="40"/>
                    </a:lnTo>
                    <a:lnTo>
                      <a:pt x="144" y="40"/>
                    </a:lnTo>
                    <a:lnTo>
                      <a:pt x="144" y="44"/>
                    </a:lnTo>
                    <a:lnTo>
                      <a:pt x="148" y="44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52" y="52"/>
                    </a:lnTo>
                    <a:lnTo>
                      <a:pt x="156" y="52"/>
                    </a:lnTo>
                    <a:lnTo>
                      <a:pt x="160" y="52"/>
                    </a:lnTo>
                    <a:lnTo>
                      <a:pt x="160" y="56"/>
                    </a:lnTo>
                    <a:lnTo>
                      <a:pt x="164" y="56"/>
                    </a:lnTo>
                    <a:lnTo>
                      <a:pt x="164" y="60"/>
                    </a:lnTo>
                    <a:lnTo>
                      <a:pt x="164" y="64"/>
                    </a:lnTo>
                    <a:lnTo>
                      <a:pt x="164" y="68"/>
                    </a:lnTo>
                    <a:lnTo>
                      <a:pt x="168" y="68"/>
                    </a:lnTo>
                    <a:lnTo>
                      <a:pt x="172" y="72"/>
                    </a:lnTo>
                    <a:lnTo>
                      <a:pt x="176" y="72"/>
                    </a:lnTo>
                    <a:lnTo>
                      <a:pt x="176" y="76"/>
                    </a:lnTo>
                    <a:lnTo>
                      <a:pt x="180" y="80"/>
                    </a:lnTo>
                    <a:lnTo>
                      <a:pt x="180" y="84"/>
                    </a:lnTo>
                    <a:lnTo>
                      <a:pt x="180" y="88"/>
                    </a:lnTo>
                    <a:lnTo>
                      <a:pt x="184" y="88"/>
                    </a:lnTo>
                    <a:lnTo>
                      <a:pt x="180" y="88"/>
                    </a:lnTo>
                    <a:lnTo>
                      <a:pt x="180" y="92"/>
                    </a:lnTo>
                    <a:lnTo>
                      <a:pt x="184" y="92"/>
                    </a:lnTo>
                    <a:lnTo>
                      <a:pt x="188" y="92"/>
                    </a:lnTo>
                    <a:lnTo>
                      <a:pt x="188" y="96"/>
                    </a:lnTo>
                    <a:lnTo>
                      <a:pt x="192" y="96"/>
                    </a:lnTo>
                    <a:lnTo>
                      <a:pt x="192" y="100"/>
                    </a:lnTo>
                    <a:lnTo>
                      <a:pt x="196" y="100"/>
                    </a:lnTo>
                    <a:lnTo>
                      <a:pt x="192" y="100"/>
                    </a:lnTo>
                    <a:lnTo>
                      <a:pt x="192" y="104"/>
                    </a:lnTo>
                    <a:lnTo>
                      <a:pt x="196" y="104"/>
                    </a:lnTo>
                    <a:lnTo>
                      <a:pt x="196" y="108"/>
                    </a:lnTo>
                    <a:lnTo>
                      <a:pt x="196" y="112"/>
                    </a:lnTo>
                    <a:lnTo>
                      <a:pt x="196" y="108"/>
                    </a:lnTo>
                    <a:lnTo>
                      <a:pt x="192" y="108"/>
                    </a:lnTo>
                    <a:lnTo>
                      <a:pt x="188" y="108"/>
                    </a:lnTo>
                    <a:lnTo>
                      <a:pt x="184" y="108"/>
                    </a:lnTo>
                    <a:lnTo>
                      <a:pt x="180" y="108"/>
                    </a:lnTo>
                    <a:lnTo>
                      <a:pt x="176" y="108"/>
                    </a:lnTo>
                    <a:lnTo>
                      <a:pt x="176" y="104"/>
                    </a:lnTo>
                    <a:lnTo>
                      <a:pt x="176" y="108"/>
                    </a:lnTo>
                    <a:lnTo>
                      <a:pt x="172" y="108"/>
                    </a:lnTo>
                    <a:lnTo>
                      <a:pt x="172" y="104"/>
                    </a:lnTo>
                    <a:lnTo>
                      <a:pt x="168" y="104"/>
                    </a:lnTo>
                    <a:lnTo>
                      <a:pt x="164" y="104"/>
                    </a:lnTo>
                    <a:lnTo>
                      <a:pt x="164" y="108"/>
                    </a:lnTo>
                    <a:lnTo>
                      <a:pt x="164" y="112"/>
                    </a:lnTo>
                    <a:lnTo>
                      <a:pt x="160" y="112"/>
                    </a:lnTo>
                    <a:lnTo>
                      <a:pt x="156" y="112"/>
                    </a:lnTo>
                    <a:lnTo>
                      <a:pt x="152" y="108"/>
                    </a:lnTo>
                    <a:lnTo>
                      <a:pt x="148" y="108"/>
                    </a:lnTo>
                    <a:lnTo>
                      <a:pt x="152" y="108"/>
                    </a:lnTo>
                    <a:lnTo>
                      <a:pt x="148" y="112"/>
                    </a:lnTo>
                    <a:lnTo>
                      <a:pt x="144" y="112"/>
                    </a:lnTo>
                    <a:lnTo>
                      <a:pt x="140" y="112"/>
                    </a:lnTo>
                    <a:lnTo>
                      <a:pt x="136" y="116"/>
                    </a:lnTo>
                    <a:lnTo>
                      <a:pt x="132" y="116"/>
                    </a:lnTo>
                    <a:lnTo>
                      <a:pt x="128" y="116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4" y="116"/>
                    </a:lnTo>
                    <a:lnTo>
                      <a:pt x="124" y="120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20" y="128"/>
                    </a:lnTo>
                    <a:lnTo>
                      <a:pt x="116" y="128"/>
                    </a:lnTo>
                    <a:lnTo>
                      <a:pt x="116" y="124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0" y="124"/>
                    </a:lnTo>
                    <a:lnTo>
                      <a:pt x="100" y="120"/>
                    </a:lnTo>
                    <a:lnTo>
                      <a:pt x="96" y="120"/>
                    </a:lnTo>
                    <a:lnTo>
                      <a:pt x="92" y="12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6" name="Freeform 126">
                <a:extLst>
                  <a:ext uri="{FF2B5EF4-FFF2-40B4-BE49-F238E27FC236}">
                    <a16:creationId xmlns:a16="http://schemas.microsoft.com/office/drawing/2014/main" id="{43F40648-8519-4ECA-8364-1C5FE685BDD3}"/>
                  </a:ext>
                </a:extLst>
              </p:cNvPr>
              <p:cNvSpPr>
                <a:spLocks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4048926" y="5419820"/>
                <a:ext cx="201697" cy="371878"/>
              </a:xfrm>
              <a:custGeom>
                <a:avLst/>
                <a:gdLst/>
                <a:ahLst/>
                <a:cxnLst>
                  <a:cxn ang="0">
                    <a:pos x="24" y="251"/>
                  </a:cxn>
                  <a:cxn ang="0">
                    <a:pos x="32" y="251"/>
                  </a:cxn>
                  <a:cxn ang="0">
                    <a:pos x="28" y="243"/>
                  </a:cxn>
                  <a:cxn ang="0">
                    <a:pos x="24" y="235"/>
                  </a:cxn>
                  <a:cxn ang="0">
                    <a:pos x="24" y="223"/>
                  </a:cxn>
                  <a:cxn ang="0">
                    <a:pos x="24" y="211"/>
                  </a:cxn>
                  <a:cxn ang="0">
                    <a:pos x="16" y="199"/>
                  </a:cxn>
                  <a:cxn ang="0">
                    <a:pos x="16" y="191"/>
                  </a:cxn>
                  <a:cxn ang="0">
                    <a:pos x="0" y="175"/>
                  </a:cxn>
                  <a:cxn ang="0">
                    <a:pos x="4" y="167"/>
                  </a:cxn>
                  <a:cxn ang="0">
                    <a:pos x="4" y="159"/>
                  </a:cxn>
                  <a:cxn ang="0">
                    <a:pos x="16" y="139"/>
                  </a:cxn>
                  <a:cxn ang="0">
                    <a:pos x="32" y="119"/>
                  </a:cxn>
                  <a:cxn ang="0">
                    <a:pos x="36" y="71"/>
                  </a:cxn>
                  <a:cxn ang="0">
                    <a:pos x="32" y="52"/>
                  </a:cxn>
                  <a:cxn ang="0">
                    <a:pos x="32" y="44"/>
                  </a:cxn>
                  <a:cxn ang="0">
                    <a:pos x="28" y="28"/>
                  </a:cxn>
                  <a:cxn ang="0">
                    <a:pos x="40" y="0"/>
                  </a:cxn>
                  <a:cxn ang="0">
                    <a:pos x="84" y="24"/>
                  </a:cxn>
                  <a:cxn ang="0">
                    <a:pos x="144" y="63"/>
                  </a:cxn>
                  <a:cxn ang="0">
                    <a:pos x="160" y="95"/>
                  </a:cxn>
                  <a:cxn ang="0">
                    <a:pos x="156" y="143"/>
                  </a:cxn>
                  <a:cxn ang="0">
                    <a:pos x="152" y="143"/>
                  </a:cxn>
                  <a:cxn ang="0">
                    <a:pos x="148" y="143"/>
                  </a:cxn>
                  <a:cxn ang="0">
                    <a:pos x="144" y="151"/>
                  </a:cxn>
                  <a:cxn ang="0">
                    <a:pos x="144" y="155"/>
                  </a:cxn>
                  <a:cxn ang="0">
                    <a:pos x="136" y="163"/>
                  </a:cxn>
                  <a:cxn ang="0">
                    <a:pos x="136" y="171"/>
                  </a:cxn>
                  <a:cxn ang="0">
                    <a:pos x="132" y="175"/>
                  </a:cxn>
                  <a:cxn ang="0">
                    <a:pos x="132" y="191"/>
                  </a:cxn>
                  <a:cxn ang="0">
                    <a:pos x="128" y="199"/>
                  </a:cxn>
                  <a:cxn ang="0">
                    <a:pos x="132" y="199"/>
                  </a:cxn>
                  <a:cxn ang="0">
                    <a:pos x="140" y="211"/>
                  </a:cxn>
                  <a:cxn ang="0">
                    <a:pos x="140" y="219"/>
                  </a:cxn>
                  <a:cxn ang="0">
                    <a:pos x="144" y="231"/>
                  </a:cxn>
                  <a:cxn ang="0">
                    <a:pos x="132" y="235"/>
                  </a:cxn>
                  <a:cxn ang="0">
                    <a:pos x="124" y="239"/>
                  </a:cxn>
                  <a:cxn ang="0">
                    <a:pos x="124" y="247"/>
                  </a:cxn>
                  <a:cxn ang="0">
                    <a:pos x="120" y="251"/>
                  </a:cxn>
                  <a:cxn ang="0">
                    <a:pos x="112" y="259"/>
                  </a:cxn>
                  <a:cxn ang="0">
                    <a:pos x="108" y="263"/>
                  </a:cxn>
                  <a:cxn ang="0">
                    <a:pos x="100" y="267"/>
                  </a:cxn>
                  <a:cxn ang="0">
                    <a:pos x="84" y="267"/>
                  </a:cxn>
                  <a:cxn ang="0">
                    <a:pos x="84" y="271"/>
                  </a:cxn>
                  <a:cxn ang="0">
                    <a:pos x="84" y="279"/>
                  </a:cxn>
                  <a:cxn ang="0">
                    <a:pos x="80" y="283"/>
                  </a:cxn>
                  <a:cxn ang="0">
                    <a:pos x="68" y="287"/>
                  </a:cxn>
                  <a:cxn ang="0">
                    <a:pos x="60" y="287"/>
                  </a:cxn>
                  <a:cxn ang="0">
                    <a:pos x="52" y="295"/>
                  </a:cxn>
                  <a:cxn ang="0">
                    <a:pos x="48" y="287"/>
                  </a:cxn>
                  <a:cxn ang="0">
                    <a:pos x="40" y="295"/>
                  </a:cxn>
                  <a:cxn ang="0">
                    <a:pos x="36" y="295"/>
                  </a:cxn>
                  <a:cxn ang="0">
                    <a:pos x="32" y="295"/>
                  </a:cxn>
                  <a:cxn ang="0">
                    <a:pos x="32" y="291"/>
                  </a:cxn>
                  <a:cxn ang="0">
                    <a:pos x="28" y="283"/>
                  </a:cxn>
                  <a:cxn ang="0">
                    <a:pos x="20" y="271"/>
                  </a:cxn>
                  <a:cxn ang="0">
                    <a:pos x="8" y="255"/>
                  </a:cxn>
                  <a:cxn ang="0">
                    <a:pos x="12" y="251"/>
                  </a:cxn>
                </a:cxnLst>
                <a:rect l="0" t="0" r="r" b="b"/>
                <a:pathLst>
                  <a:path w="160" h="295">
                    <a:moveTo>
                      <a:pt x="12" y="251"/>
                    </a:moveTo>
                    <a:lnTo>
                      <a:pt x="16" y="251"/>
                    </a:lnTo>
                    <a:lnTo>
                      <a:pt x="16" y="251"/>
                    </a:lnTo>
                    <a:lnTo>
                      <a:pt x="20" y="251"/>
                    </a:lnTo>
                    <a:lnTo>
                      <a:pt x="20" y="251"/>
                    </a:lnTo>
                    <a:lnTo>
                      <a:pt x="24" y="251"/>
                    </a:lnTo>
                    <a:lnTo>
                      <a:pt x="24" y="251"/>
                    </a:lnTo>
                    <a:lnTo>
                      <a:pt x="24" y="251"/>
                    </a:lnTo>
                    <a:lnTo>
                      <a:pt x="24" y="251"/>
                    </a:lnTo>
                    <a:lnTo>
                      <a:pt x="24" y="251"/>
                    </a:lnTo>
                    <a:lnTo>
                      <a:pt x="24" y="251"/>
                    </a:lnTo>
                    <a:lnTo>
                      <a:pt x="28" y="251"/>
                    </a:lnTo>
                    <a:lnTo>
                      <a:pt x="28" y="251"/>
                    </a:lnTo>
                    <a:lnTo>
                      <a:pt x="28" y="251"/>
                    </a:lnTo>
                    <a:lnTo>
                      <a:pt x="32" y="251"/>
                    </a:lnTo>
                    <a:lnTo>
                      <a:pt x="32" y="251"/>
                    </a:lnTo>
                    <a:lnTo>
                      <a:pt x="32" y="251"/>
                    </a:lnTo>
                    <a:lnTo>
                      <a:pt x="32" y="251"/>
                    </a:lnTo>
                    <a:lnTo>
                      <a:pt x="32" y="251"/>
                    </a:lnTo>
                    <a:lnTo>
                      <a:pt x="32" y="247"/>
                    </a:lnTo>
                    <a:lnTo>
                      <a:pt x="32" y="247"/>
                    </a:lnTo>
                    <a:lnTo>
                      <a:pt x="32" y="247"/>
                    </a:lnTo>
                    <a:lnTo>
                      <a:pt x="32" y="247"/>
                    </a:lnTo>
                    <a:lnTo>
                      <a:pt x="28" y="243"/>
                    </a:lnTo>
                    <a:lnTo>
                      <a:pt x="28" y="243"/>
                    </a:lnTo>
                    <a:lnTo>
                      <a:pt x="28" y="239"/>
                    </a:lnTo>
                    <a:lnTo>
                      <a:pt x="24" y="239"/>
                    </a:lnTo>
                    <a:lnTo>
                      <a:pt x="24" y="239"/>
                    </a:lnTo>
                    <a:lnTo>
                      <a:pt x="24" y="235"/>
                    </a:lnTo>
                    <a:lnTo>
                      <a:pt x="24" y="235"/>
                    </a:lnTo>
                    <a:lnTo>
                      <a:pt x="24" y="235"/>
                    </a:lnTo>
                    <a:lnTo>
                      <a:pt x="24" y="235"/>
                    </a:lnTo>
                    <a:lnTo>
                      <a:pt x="24" y="235"/>
                    </a:lnTo>
                    <a:lnTo>
                      <a:pt x="24" y="235"/>
                    </a:lnTo>
                    <a:lnTo>
                      <a:pt x="24" y="231"/>
                    </a:lnTo>
                    <a:lnTo>
                      <a:pt x="24" y="231"/>
                    </a:lnTo>
                    <a:lnTo>
                      <a:pt x="24" y="227"/>
                    </a:lnTo>
                    <a:lnTo>
                      <a:pt x="24" y="227"/>
                    </a:lnTo>
                    <a:lnTo>
                      <a:pt x="24" y="223"/>
                    </a:lnTo>
                    <a:lnTo>
                      <a:pt x="24" y="223"/>
                    </a:lnTo>
                    <a:lnTo>
                      <a:pt x="24" y="223"/>
                    </a:lnTo>
                    <a:lnTo>
                      <a:pt x="24" y="219"/>
                    </a:lnTo>
                    <a:lnTo>
                      <a:pt x="24" y="219"/>
                    </a:lnTo>
                    <a:lnTo>
                      <a:pt x="24" y="215"/>
                    </a:lnTo>
                    <a:lnTo>
                      <a:pt x="24" y="211"/>
                    </a:lnTo>
                    <a:lnTo>
                      <a:pt x="24" y="211"/>
                    </a:lnTo>
                    <a:lnTo>
                      <a:pt x="24" y="211"/>
                    </a:lnTo>
                    <a:lnTo>
                      <a:pt x="24" y="211"/>
                    </a:lnTo>
                    <a:lnTo>
                      <a:pt x="24" y="207"/>
                    </a:lnTo>
                    <a:lnTo>
                      <a:pt x="24" y="207"/>
                    </a:lnTo>
                    <a:lnTo>
                      <a:pt x="24" y="207"/>
                    </a:lnTo>
                    <a:lnTo>
                      <a:pt x="24" y="207"/>
                    </a:lnTo>
                    <a:lnTo>
                      <a:pt x="20" y="199"/>
                    </a:lnTo>
                    <a:lnTo>
                      <a:pt x="20" y="199"/>
                    </a:lnTo>
                    <a:lnTo>
                      <a:pt x="20" y="199"/>
                    </a:lnTo>
                    <a:lnTo>
                      <a:pt x="16" y="199"/>
                    </a:lnTo>
                    <a:lnTo>
                      <a:pt x="16" y="199"/>
                    </a:lnTo>
                    <a:lnTo>
                      <a:pt x="16" y="195"/>
                    </a:lnTo>
                    <a:lnTo>
                      <a:pt x="16" y="195"/>
                    </a:lnTo>
                    <a:lnTo>
                      <a:pt x="16" y="195"/>
                    </a:lnTo>
                    <a:lnTo>
                      <a:pt x="16" y="195"/>
                    </a:lnTo>
                    <a:lnTo>
                      <a:pt x="16" y="195"/>
                    </a:lnTo>
                    <a:lnTo>
                      <a:pt x="16" y="191"/>
                    </a:lnTo>
                    <a:lnTo>
                      <a:pt x="16" y="191"/>
                    </a:lnTo>
                    <a:lnTo>
                      <a:pt x="12" y="191"/>
                    </a:lnTo>
                    <a:lnTo>
                      <a:pt x="8" y="191"/>
                    </a:lnTo>
                    <a:lnTo>
                      <a:pt x="8" y="187"/>
                    </a:lnTo>
                    <a:lnTo>
                      <a:pt x="4" y="183"/>
                    </a:lnTo>
                    <a:lnTo>
                      <a:pt x="4" y="179"/>
                    </a:lnTo>
                    <a:lnTo>
                      <a:pt x="4" y="179"/>
                    </a:lnTo>
                    <a:lnTo>
                      <a:pt x="4" y="179"/>
                    </a:lnTo>
                    <a:lnTo>
                      <a:pt x="0" y="175"/>
                    </a:lnTo>
                    <a:lnTo>
                      <a:pt x="0" y="167"/>
                    </a:lnTo>
                    <a:lnTo>
                      <a:pt x="0" y="167"/>
                    </a:lnTo>
                    <a:lnTo>
                      <a:pt x="0" y="167"/>
                    </a:lnTo>
                    <a:lnTo>
                      <a:pt x="0" y="167"/>
                    </a:lnTo>
                    <a:lnTo>
                      <a:pt x="0" y="167"/>
                    </a:lnTo>
                    <a:lnTo>
                      <a:pt x="0" y="167"/>
                    </a:lnTo>
                    <a:lnTo>
                      <a:pt x="4" y="167"/>
                    </a:lnTo>
                    <a:lnTo>
                      <a:pt x="4" y="167"/>
                    </a:lnTo>
                    <a:lnTo>
                      <a:pt x="4" y="167"/>
                    </a:lnTo>
                    <a:lnTo>
                      <a:pt x="4" y="163"/>
                    </a:lnTo>
                    <a:lnTo>
                      <a:pt x="4" y="163"/>
                    </a:lnTo>
                    <a:lnTo>
                      <a:pt x="4" y="163"/>
                    </a:lnTo>
                    <a:lnTo>
                      <a:pt x="4" y="163"/>
                    </a:lnTo>
                    <a:lnTo>
                      <a:pt x="4" y="163"/>
                    </a:lnTo>
                    <a:lnTo>
                      <a:pt x="4" y="159"/>
                    </a:lnTo>
                    <a:lnTo>
                      <a:pt x="4" y="159"/>
                    </a:lnTo>
                    <a:lnTo>
                      <a:pt x="4" y="159"/>
                    </a:lnTo>
                    <a:lnTo>
                      <a:pt x="8" y="155"/>
                    </a:lnTo>
                    <a:lnTo>
                      <a:pt x="8" y="151"/>
                    </a:lnTo>
                    <a:lnTo>
                      <a:pt x="8" y="151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6" y="143"/>
                    </a:lnTo>
                    <a:lnTo>
                      <a:pt x="16" y="139"/>
                    </a:lnTo>
                    <a:lnTo>
                      <a:pt x="24" y="131"/>
                    </a:lnTo>
                    <a:lnTo>
                      <a:pt x="24" y="127"/>
                    </a:lnTo>
                    <a:lnTo>
                      <a:pt x="28" y="127"/>
                    </a:lnTo>
                    <a:lnTo>
                      <a:pt x="28" y="123"/>
                    </a:lnTo>
                    <a:lnTo>
                      <a:pt x="32" y="123"/>
                    </a:lnTo>
                    <a:lnTo>
                      <a:pt x="32" y="123"/>
                    </a:lnTo>
                    <a:lnTo>
                      <a:pt x="32" y="123"/>
                    </a:lnTo>
                    <a:lnTo>
                      <a:pt x="32" y="119"/>
                    </a:lnTo>
                    <a:lnTo>
                      <a:pt x="32" y="111"/>
                    </a:lnTo>
                    <a:lnTo>
                      <a:pt x="32" y="99"/>
                    </a:lnTo>
                    <a:lnTo>
                      <a:pt x="32" y="95"/>
                    </a:lnTo>
                    <a:lnTo>
                      <a:pt x="32" y="95"/>
                    </a:lnTo>
                    <a:lnTo>
                      <a:pt x="32" y="87"/>
                    </a:lnTo>
                    <a:lnTo>
                      <a:pt x="32" y="83"/>
                    </a:lnTo>
                    <a:lnTo>
                      <a:pt x="32" y="83"/>
                    </a:lnTo>
                    <a:lnTo>
                      <a:pt x="36" y="71"/>
                    </a:lnTo>
                    <a:lnTo>
                      <a:pt x="36" y="67"/>
                    </a:lnTo>
                    <a:lnTo>
                      <a:pt x="36" y="63"/>
                    </a:lnTo>
                    <a:lnTo>
                      <a:pt x="36" y="63"/>
                    </a:lnTo>
                    <a:lnTo>
                      <a:pt x="36" y="59"/>
                    </a:lnTo>
                    <a:lnTo>
                      <a:pt x="40" y="55"/>
                    </a:lnTo>
                    <a:lnTo>
                      <a:pt x="40" y="55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32" y="44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28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52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8" y="16"/>
                    </a:lnTo>
                    <a:lnTo>
                      <a:pt x="76" y="20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88" y="28"/>
                    </a:lnTo>
                    <a:lnTo>
                      <a:pt x="96" y="32"/>
                    </a:lnTo>
                    <a:lnTo>
                      <a:pt x="104" y="40"/>
                    </a:lnTo>
                    <a:lnTo>
                      <a:pt x="116" y="44"/>
                    </a:lnTo>
                    <a:lnTo>
                      <a:pt x="120" y="48"/>
                    </a:lnTo>
                    <a:lnTo>
                      <a:pt x="128" y="52"/>
                    </a:lnTo>
                    <a:lnTo>
                      <a:pt x="136" y="55"/>
                    </a:lnTo>
                    <a:lnTo>
                      <a:pt x="144" y="63"/>
                    </a:lnTo>
                    <a:lnTo>
                      <a:pt x="152" y="67"/>
                    </a:lnTo>
                    <a:lnTo>
                      <a:pt x="160" y="71"/>
                    </a:lnTo>
                    <a:lnTo>
                      <a:pt x="160" y="71"/>
                    </a:lnTo>
                    <a:lnTo>
                      <a:pt x="160" y="75"/>
                    </a:lnTo>
                    <a:lnTo>
                      <a:pt x="160" y="83"/>
                    </a:lnTo>
                    <a:lnTo>
                      <a:pt x="160" y="87"/>
                    </a:lnTo>
                    <a:lnTo>
                      <a:pt x="160" y="91"/>
                    </a:lnTo>
                    <a:lnTo>
                      <a:pt x="160" y="95"/>
                    </a:lnTo>
                    <a:lnTo>
                      <a:pt x="160" y="131"/>
                    </a:lnTo>
                    <a:lnTo>
                      <a:pt x="160" y="135"/>
                    </a:lnTo>
                    <a:lnTo>
                      <a:pt x="160" y="143"/>
                    </a:lnTo>
                    <a:lnTo>
                      <a:pt x="160" y="143"/>
                    </a:lnTo>
                    <a:lnTo>
                      <a:pt x="160" y="143"/>
                    </a:lnTo>
                    <a:lnTo>
                      <a:pt x="160" y="143"/>
                    </a:lnTo>
                    <a:lnTo>
                      <a:pt x="160" y="143"/>
                    </a:lnTo>
                    <a:lnTo>
                      <a:pt x="156" y="143"/>
                    </a:lnTo>
                    <a:lnTo>
                      <a:pt x="156" y="143"/>
                    </a:lnTo>
                    <a:lnTo>
                      <a:pt x="156" y="143"/>
                    </a:lnTo>
                    <a:lnTo>
                      <a:pt x="152" y="143"/>
                    </a:lnTo>
                    <a:lnTo>
                      <a:pt x="152" y="143"/>
                    </a:lnTo>
                    <a:lnTo>
                      <a:pt x="152" y="143"/>
                    </a:lnTo>
                    <a:lnTo>
                      <a:pt x="152" y="143"/>
                    </a:lnTo>
                    <a:lnTo>
                      <a:pt x="152" y="143"/>
                    </a:lnTo>
                    <a:lnTo>
                      <a:pt x="152" y="143"/>
                    </a:lnTo>
                    <a:lnTo>
                      <a:pt x="152" y="143"/>
                    </a:lnTo>
                    <a:lnTo>
                      <a:pt x="152" y="143"/>
                    </a:lnTo>
                    <a:lnTo>
                      <a:pt x="152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8" y="143"/>
                    </a:lnTo>
                    <a:lnTo>
                      <a:pt x="144" y="147"/>
                    </a:lnTo>
                    <a:lnTo>
                      <a:pt x="144" y="147"/>
                    </a:lnTo>
                    <a:lnTo>
                      <a:pt x="144" y="147"/>
                    </a:lnTo>
                    <a:lnTo>
                      <a:pt x="144" y="147"/>
                    </a:lnTo>
                    <a:lnTo>
                      <a:pt x="144" y="147"/>
                    </a:lnTo>
                    <a:lnTo>
                      <a:pt x="144" y="147"/>
                    </a:lnTo>
                    <a:lnTo>
                      <a:pt x="144" y="151"/>
                    </a:lnTo>
                    <a:lnTo>
                      <a:pt x="144" y="151"/>
                    </a:lnTo>
                    <a:lnTo>
                      <a:pt x="144" y="151"/>
                    </a:lnTo>
                    <a:lnTo>
                      <a:pt x="144" y="151"/>
                    </a:lnTo>
                    <a:lnTo>
                      <a:pt x="144" y="151"/>
                    </a:lnTo>
                    <a:lnTo>
                      <a:pt x="144" y="155"/>
                    </a:lnTo>
                    <a:lnTo>
                      <a:pt x="144" y="155"/>
                    </a:lnTo>
                    <a:lnTo>
                      <a:pt x="144" y="155"/>
                    </a:lnTo>
                    <a:lnTo>
                      <a:pt x="144" y="155"/>
                    </a:lnTo>
                    <a:lnTo>
                      <a:pt x="140" y="155"/>
                    </a:lnTo>
                    <a:lnTo>
                      <a:pt x="140" y="159"/>
                    </a:lnTo>
                    <a:lnTo>
                      <a:pt x="140" y="159"/>
                    </a:lnTo>
                    <a:lnTo>
                      <a:pt x="140" y="159"/>
                    </a:lnTo>
                    <a:lnTo>
                      <a:pt x="140" y="163"/>
                    </a:lnTo>
                    <a:lnTo>
                      <a:pt x="140" y="163"/>
                    </a:lnTo>
                    <a:lnTo>
                      <a:pt x="136" y="163"/>
                    </a:lnTo>
                    <a:lnTo>
                      <a:pt x="136" y="163"/>
                    </a:lnTo>
                    <a:lnTo>
                      <a:pt x="136" y="163"/>
                    </a:lnTo>
                    <a:lnTo>
                      <a:pt x="136" y="163"/>
                    </a:lnTo>
                    <a:lnTo>
                      <a:pt x="136" y="163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6" y="167"/>
                    </a:lnTo>
                    <a:lnTo>
                      <a:pt x="136" y="171"/>
                    </a:lnTo>
                    <a:lnTo>
                      <a:pt x="136" y="171"/>
                    </a:lnTo>
                    <a:lnTo>
                      <a:pt x="140" y="171"/>
                    </a:lnTo>
                    <a:lnTo>
                      <a:pt x="140" y="171"/>
                    </a:lnTo>
                    <a:lnTo>
                      <a:pt x="140" y="171"/>
                    </a:lnTo>
                    <a:lnTo>
                      <a:pt x="136" y="175"/>
                    </a:lnTo>
                    <a:lnTo>
                      <a:pt x="136" y="175"/>
                    </a:lnTo>
                    <a:lnTo>
                      <a:pt x="136" y="175"/>
                    </a:lnTo>
                    <a:lnTo>
                      <a:pt x="132" y="175"/>
                    </a:lnTo>
                    <a:lnTo>
                      <a:pt x="132" y="175"/>
                    </a:lnTo>
                    <a:lnTo>
                      <a:pt x="132" y="179"/>
                    </a:lnTo>
                    <a:lnTo>
                      <a:pt x="132" y="183"/>
                    </a:lnTo>
                    <a:lnTo>
                      <a:pt x="132" y="183"/>
                    </a:lnTo>
                    <a:lnTo>
                      <a:pt x="136" y="187"/>
                    </a:lnTo>
                    <a:lnTo>
                      <a:pt x="136" y="187"/>
                    </a:lnTo>
                    <a:lnTo>
                      <a:pt x="136" y="187"/>
                    </a:lnTo>
                    <a:lnTo>
                      <a:pt x="132" y="191"/>
                    </a:lnTo>
                    <a:lnTo>
                      <a:pt x="132" y="191"/>
                    </a:lnTo>
                    <a:lnTo>
                      <a:pt x="132" y="191"/>
                    </a:lnTo>
                    <a:lnTo>
                      <a:pt x="128" y="191"/>
                    </a:lnTo>
                    <a:lnTo>
                      <a:pt x="128" y="195"/>
                    </a:lnTo>
                    <a:lnTo>
                      <a:pt x="128" y="199"/>
                    </a:lnTo>
                    <a:lnTo>
                      <a:pt x="128" y="199"/>
                    </a:lnTo>
                    <a:lnTo>
                      <a:pt x="128" y="199"/>
                    </a:lnTo>
                    <a:lnTo>
                      <a:pt x="128" y="199"/>
                    </a:lnTo>
                    <a:lnTo>
                      <a:pt x="128" y="199"/>
                    </a:lnTo>
                    <a:lnTo>
                      <a:pt x="128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2" y="199"/>
                    </a:lnTo>
                    <a:lnTo>
                      <a:pt x="136" y="199"/>
                    </a:lnTo>
                    <a:lnTo>
                      <a:pt x="136" y="199"/>
                    </a:lnTo>
                    <a:lnTo>
                      <a:pt x="136" y="203"/>
                    </a:lnTo>
                    <a:lnTo>
                      <a:pt x="136" y="207"/>
                    </a:lnTo>
                    <a:lnTo>
                      <a:pt x="136" y="211"/>
                    </a:lnTo>
                    <a:lnTo>
                      <a:pt x="140" y="211"/>
                    </a:lnTo>
                    <a:lnTo>
                      <a:pt x="140" y="211"/>
                    </a:lnTo>
                    <a:lnTo>
                      <a:pt x="140" y="215"/>
                    </a:lnTo>
                    <a:lnTo>
                      <a:pt x="140" y="215"/>
                    </a:lnTo>
                    <a:lnTo>
                      <a:pt x="140" y="219"/>
                    </a:lnTo>
                    <a:lnTo>
                      <a:pt x="140" y="219"/>
                    </a:lnTo>
                    <a:lnTo>
                      <a:pt x="140" y="219"/>
                    </a:lnTo>
                    <a:lnTo>
                      <a:pt x="140" y="219"/>
                    </a:lnTo>
                    <a:lnTo>
                      <a:pt x="140" y="219"/>
                    </a:lnTo>
                    <a:lnTo>
                      <a:pt x="140" y="223"/>
                    </a:lnTo>
                    <a:lnTo>
                      <a:pt x="140" y="223"/>
                    </a:lnTo>
                    <a:lnTo>
                      <a:pt x="144" y="223"/>
                    </a:lnTo>
                    <a:lnTo>
                      <a:pt x="144" y="227"/>
                    </a:lnTo>
                    <a:lnTo>
                      <a:pt x="144" y="227"/>
                    </a:lnTo>
                    <a:lnTo>
                      <a:pt x="144" y="231"/>
                    </a:lnTo>
                    <a:lnTo>
                      <a:pt x="144" y="231"/>
                    </a:lnTo>
                    <a:lnTo>
                      <a:pt x="144" y="231"/>
                    </a:lnTo>
                    <a:lnTo>
                      <a:pt x="140" y="231"/>
                    </a:lnTo>
                    <a:lnTo>
                      <a:pt x="136" y="231"/>
                    </a:lnTo>
                    <a:lnTo>
                      <a:pt x="136" y="231"/>
                    </a:lnTo>
                    <a:lnTo>
                      <a:pt x="136" y="231"/>
                    </a:lnTo>
                    <a:lnTo>
                      <a:pt x="136" y="231"/>
                    </a:lnTo>
                    <a:lnTo>
                      <a:pt x="136" y="231"/>
                    </a:lnTo>
                    <a:lnTo>
                      <a:pt x="132" y="231"/>
                    </a:lnTo>
                    <a:lnTo>
                      <a:pt x="132" y="235"/>
                    </a:lnTo>
                    <a:lnTo>
                      <a:pt x="128" y="235"/>
                    </a:lnTo>
                    <a:lnTo>
                      <a:pt x="128" y="235"/>
                    </a:lnTo>
                    <a:lnTo>
                      <a:pt x="128" y="235"/>
                    </a:lnTo>
                    <a:lnTo>
                      <a:pt x="128" y="235"/>
                    </a:lnTo>
                    <a:lnTo>
                      <a:pt x="124" y="239"/>
                    </a:lnTo>
                    <a:lnTo>
                      <a:pt x="124" y="239"/>
                    </a:lnTo>
                    <a:lnTo>
                      <a:pt x="124" y="239"/>
                    </a:lnTo>
                    <a:lnTo>
                      <a:pt x="124" y="239"/>
                    </a:lnTo>
                    <a:lnTo>
                      <a:pt x="124" y="239"/>
                    </a:lnTo>
                    <a:lnTo>
                      <a:pt x="124" y="243"/>
                    </a:lnTo>
                    <a:lnTo>
                      <a:pt x="128" y="243"/>
                    </a:lnTo>
                    <a:lnTo>
                      <a:pt x="124" y="243"/>
                    </a:lnTo>
                    <a:lnTo>
                      <a:pt x="124" y="243"/>
                    </a:lnTo>
                    <a:lnTo>
                      <a:pt x="124" y="247"/>
                    </a:lnTo>
                    <a:lnTo>
                      <a:pt x="124" y="247"/>
                    </a:lnTo>
                    <a:lnTo>
                      <a:pt x="124" y="247"/>
                    </a:lnTo>
                    <a:lnTo>
                      <a:pt x="124" y="247"/>
                    </a:lnTo>
                    <a:lnTo>
                      <a:pt x="124" y="247"/>
                    </a:lnTo>
                    <a:lnTo>
                      <a:pt x="124" y="247"/>
                    </a:lnTo>
                    <a:lnTo>
                      <a:pt x="120" y="247"/>
                    </a:lnTo>
                    <a:lnTo>
                      <a:pt x="120" y="247"/>
                    </a:lnTo>
                    <a:lnTo>
                      <a:pt x="120" y="247"/>
                    </a:lnTo>
                    <a:lnTo>
                      <a:pt x="120" y="247"/>
                    </a:lnTo>
                    <a:lnTo>
                      <a:pt x="120" y="251"/>
                    </a:lnTo>
                    <a:lnTo>
                      <a:pt x="120" y="251"/>
                    </a:lnTo>
                    <a:lnTo>
                      <a:pt x="120" y="251"/>
                    </a:lnTo>
                    <a:lnTo>
                      <a:pt x="120" y="251"/>
                    </a:lnTo>
                    <a:lnTo>
                      <a:pt x="120" y="251"/>
                    </a:lnTo>
                    <a:lnTo>
                      <a:pt x="120" y="251"/>
                    </a:lnTo>
                    <a:lnTo>
                      <a:pt x="116" y="255"/>
                    </a:lnTo>
                    <a:lnTo>
                      <a:pt x="116" y="255"/>
                    </a:lnTo>
                    <a:lnTo>
                      <a:pt x="112" y="259"/>
                    </a:lnTo>
                    <a:lnTo>
                      <a:pt x="112" y="259"/>
                    </a:lnTo>
                    <a:lnTo>
                      <a:pt x="112" y="259"/>
                    </a:lnTo>
                    <a:lnTo>
                      <a:pt x="112" y="259"/>
                    </a:lnTo>
                    <a:lnTo>
                      <a:pt x="112" y="259"/>
                    </a:lnTo>
                    <a:lnTo>
                      <a:pt x="112" y="259"/>
                    </a:lnTo>
                    <a:lnTo>
                      <a:pt x="108" y="263"/>
                    </a:lnTo>
                    <a:lnTo>
                      <a:pt x="108" y="263"/>
                    </a:lnTo>
                    <a:lnTo>
                      <a:pt x="108" y="263"/>
                    </a:lnTo>
                    <a:lnTo>
                      <a:pt x="108" y="263"/>
                    </a:lnTo>
                    <a:lnTo>
                      <a:pt x="108" y="267"/>
                    </a:lnTo>
                    <a:lnTo>
                      <a:pt x="104" y="267"/>
                    </a:lnTo>
                    <a:lnTo>
                      <a:pt x="104" y="267"/>
                    </a:lnTo>
                    <a:lnTo>
                      <a:pt x="104" y="267"/>
                    </a:lnTo>
                    <a:lnTo>
                      <a:pt x="104" y="267"/>
                    </a:lnTo>
                    <a:lnTo>
                      <a:pt x="100" y="267"/>
                    </a:lnTo>
                    <a:lnTo>
                      <a:pt x="100" y="267"/>
                    </a:lnTo>
                    <a:lnTo>
                      <a:pt x="100" y="267"/>
                    </a:lnTo>
                    <a:lnTo>
                      <a:pt x="100" y="267"/>
                    </a:lnTo>
                    <a:lnTo>
                      <a:pt x="96" y="267"/>
                    </a:lnTo>
                    <a:lnTo>
                      <a:pt x="92" y="267"/>
                    </a:lnTo>
                    <a:lnTo>
                      <a:pt x="92" y="267"/>
                    </a:lnTo>
                    <a:lnTo>
                      <a:pt x="88" y="267"/>
                    </a:lnTo>
                    <a:lnTo>
                      <a:pt x="88" y="267"/>
                    </a:lnTo>
                    <a:lnTo>
                      <a:pt x="84" y="267"/>
                    </a:lnTo>
                    <a:lnTo>
                      <a:pt x="84" y="267"/>
                    </a:lnTo>
                    <a:lnTo>
                      <a:pt x="84" y="267"/>
                    </a:lnTo>
                    <a:lnTo>
                      <a:pt x="84" y="271"/>
                    </a:lnTo>
                    <a:lnTo>
                      <a:pt x="84" y="271"/>
                    </a:lnTo>
                    <a:lnTo>
                      <a:pt x="84" y="271"/>
                    </a:lnTo>
                    <a:lnTo>
                      <a:pt x="84" y="271"/>
                    </a:lnTo>
                    <a:lnTo>
                      <a:pt x="84" y="271"/>
                    </a:lnTo>
                    <a:lnTo>
                      <a:pt x="84" y="271"/>
                    </a:lnTo>
                    <a:lnTo>
                      <a:pt x="84" y="271"/>
                    </a:lnTo>
                    <a:lnTo>
                      <a:pt x="88" y="275"/>
                    </a:lnTo>
                    <a:lnTo>
                      <a:pt x="88" y="275"/>
                    </a:lnTo>
                    <a:lnTo>
                      <a:pt x="84" y="275"/>
                    </a:lnTo>
                    <a:lnTo>
                      <a:pt x="84" y="275"/>
                    </a:lnTo>
                    <a:lnTo>
                      <a:pt x="84" y="279"/>
                    </a:lnTo>
                    <a:lnTo>
                      <a:pt x="84" y="279"/>
                    </a:lnTo>
                    <a:lnTo>
                      <a:pt x="84" y="279"/>
                    </a:lnTo>
                    <a:lnTo>
                      <a:pt x="84" y="279"/>
                    </a:lnTo>
                    <a:lnTo>
                      <a:pt x="80" y="279"/>
                    </a:lnTo>
                    <a:lnTo>
                      <a:pt x="80" y="283"/>
                    </a:lnTo>
                    <a:lnTo>
                      <a:pt x="80" y="283"/>
                    </a:lnTo>
                    <a:lnTo>
                      <a:pt x="80" y="283"/>
                    </a:lnTo>
                    <a:lnTo>
                      <a:pt x="80" y="283"/>
                    </a:lnTo>
                    <a:lnTo>
                      <a:pt x="80" y="283"/>
                    </a:lnTo>
                    <a:lnTo>
                      <a:pt x="80" y="283"/>
                    </a:lnTo>
                    <a:lnTo>
                      <a:pt x="80" y="283"/>
                    </a:lnTo>
                    <a:lnTo>
                      <a:pt x="80" y="283"/>
                    </a:lnTo>
                    <a:lnTo>
                      <a:pt x="80" y="287"/>
                    </a:lnTo>
                    <a:lnTo>
                      <a:pt x="80" y="287"/>
                    </a:lnTo>
                    <a:lnTo>
                      <a:pt x="76" y="287"/>
                    </a:lnTo>
                    <a:lnTo>
                      <a:pt x="76" y="287"/>
                    </a:lnTo>
                    <a:lnTo>
                      <a:pt x="72" y="287"/>
                    </a:lnTo>
                    <a:lnTo>
                      <a:pt x="68" y="287"/>
                    </a:lnTo>
                    <a:lnTo>
                      <a:pt x="68" y="287"/>
                    </a:lnTo>
                    <a:lnTo>
                      <a:pt x="64" y="287"/>
                    </a:lnTo>
                    <a:lnTo>
                      <a:pt x="64" y="287"/>
                    </a:lnTo>
                    <a:lnTo>
                      <a:pt x="64" y="287"/>
                    </a:lnTo>
                    <a:lnTo>
                      <a:pt x="64" y="287"/>
                    </a:lnTo>
                    <a:lnTo>
                      <a:pt x="60" y="287"/>
                    </a:lnTo>
                    <a:lnTo>
                      <a:pt x="60" y="287"/>
                    </a:lnTo>
                    <a:lnTo>
                      <a:pt x="60" y="287"/>
                    </a:lnTo>
                    <a:lnTo>
                      <a:pt x="56" y="291"/>
                    </a:lnTo>
                    <a:lnTo>
                      <a:pt x="56" y="291"/>
                    </a:lnTo>
                    <a:lnTo>
                      <a:pt x="56" y="291"/>
                    </a:lnTo>
                    <a:lnTo>
                      <a:pt x="56" y="291"/>
                    </a:lnTo>
                    <a:lnTo>
                      <a:pt x="56" y="291"/>
                    </a:lnTo>
                    <a:lnTo>
                      <a:pt x="52" y="291"/>
                    </a:lnTo>
                    <a:lnTo>
                      <a:pt x="52" y="291"/>
                    </a:lnTo>
                    <a:lnTo>
                      <a:pt x="52" y="295"/>
                    </a:lnTo>
                    <a:lnTo>
                      <a:pt x="52" y="295"/>
                    </a:lnTo>
                    <a:lnTo>
                      <a:pt x="52" y="295"/>
                    </a:lnTo>
                    <a:lnTo>
                      <a:pt x="52" y="295"/>
                    </a:lnTo>
                    <a:lnTo>
                      <a:pt x="52" y="295"/>
                    </a:lnTo>
                    <a:lnTo>
                      <a:pt x="52" y="295"/>
                    </a:lnTo>
                    <a:lnTo>
                      <a:pt x="48" y="291"/>
                    </a:lnTo>
                    <a:lnTo>
                      <a:pt x="48" y="291"/>
                    </a:lnTo>
                    <a:lnTo>
                      <a:pt x="48" y="287"/>
                    </a:lnTo>
                    <a:lnTo>
                      <a:pt x="48" y="287"/>
                    </a:lnTo>
                    <a:lnTo>
                      <a:pt x="48" y="287"/>
                    </a:lnTo>
                    <a:lnTo>
                      <a:pt x="44" y="291"/>
                    </a:lnTo>
                    <a:lnTo>
                      <a:pt x="44" y="291"/>
                    </a:lnTo>
                    <a:lnTo>
                      <a:pt x="44" y="291"/>
                    </a:lnTo>
                    <a:lnTo>
                      <a:pt x="44" y="291"/>
                    </a:lnTo>
                    <a:lnTo>
                      <a:pt x="44" y="295"/>
                    </a:lnTo>
                    <a:lnTo>
                      <a:pt x="40" y="295"/>
                    </a:lnTo>
                    <a:lnTo>
                      <a:pt x="40" y="295"/>
                    </a:lnTo>
                    <a:lnTo>
                      <a:pt x="40" y="295"/>
                    </a:lnTo>
                    <a:lnTo>
                      <a:pt x="40" y="295"/>
                    </a:lnTo>
                    <a:lnTo>
                      <a:pt x="40" y="295"/>
                    </a:lnTo>
                    <a:lnTo>
                      <a:pt x="40" y="295"/>
                    </a:lnTo>
                    <a:lnTo>
                      <a:pt x="36" y="295"/>
                    </a:lnTo>
                    <a:lnTo>
                      <a:pt x="36" y="295"/>
                    </a:lnTo>
                    <a:lnTo>
                      <a:pt x="36" y="295"/>
                    </a:lnTo>
                    <a:lnTo>
                      <a:pt x="36" y="295"/>
                    </a:lnTo>
                    <a:lnTo>
                      <a:pt x="36" y="295"/>
                    </a:lnTo>
                    <a:lnTo>
                      <a:pt x="32" y="295"/>
                    </a:lnTo>
                    <a:lnTo>
                      <a:pt x="32" y="295"/>
                    </a:lnTo>
                    <a:lnTo>
                      <a:pt x="32" y="295"/>
                    </a:lnTo>
                    <a:lnTo>
                      <a:pt x="32" y="295"/>
                    </a:lnTo>
                    <a:lnTo>
                      <a:pt x="32" y="295"/>
                    </a:lnTo>
                    <a:lnTo>
                      <a:pt x="32" y="295"/>
                    </a:lnTo>
                    <a:lnTo>
                      <a:pt x="32" y="295"/>
                    </a:lnTo>
                    <a:lnTo>
                      <a:pt x="32" y="295"/>
                    </a:lnTo>
                    <a:lnTo>
                      <a:pt x="32" y="291"/>
                    </a:lnTo>
                    <a:lnTo>
                      <a:pt x="32" y="291"/>
                    </a:lnTo>
                    <a:lnTo>
                      <a:pt x="32" y="291"/>
                    </a:lnTo>
                    <a:lnTo>
                      <a:pt x="32" y="291"/>
                    </a:lnTo>
                    <a:lnTo>
                      <a:pt x="32" y="291"/>
                    </a:lnTo>
                    <a:lnTo>
                      <a:pt x="32" y="291"/>
                    </a:lnTo>
                    <a:lnTo>
                      <a:pt x="32" y="291"/>
                    </a:lnTo>
                    <a:lnTo>
                      <a:pt x="32" y="287"/>
                    </a:lnTo>
                    <a:lnTo>
                      <a:pt x="32" y="287"/>
                    </a:lnTo>
                    <a:lnTo>
                      <a:pt x="28" y="287"/>
                    </a:lnTo>
                    <a:lnTo>
                      <a:pt x="28" y="283"/>
                    </a:lnTo>
                    <a:lnTo>
                      <a:pt x="28" y="283"/>
                    </a:lnTo>
                    <a:lnTo>
                      <a:pt x="28" y="283"/>
                    </a:lnTo>
                    <a:lnTo>
                      <a:pt x="28" y="283"/>
                    </a:lnTo>
                    <a:lnTo>
                      <a:pt x="28" y="279"/>
                    </a:lnTo>
                    <a:lnTo>
                      <a:pt x="28" y="279"/>
                    </a:lnTo>
                    <a:lnTo>
                      <a:pt x="28" y="279"/>
                    </a:lnTo>
                    <a:lnTo>
                      <a:pt x="24" y="275"/>
                    </a:lnTo>
                    <a:lnTo>
                      <a:pt x="24" y="271"/>
                    </a:lnTo>
                    <a:lnTo>
                      <a:pt x="20" y="271"/>
                    </a:lnTo>
                    <a:lnTo>
                      <a:pt x="20" y="271"/>
                    </a:lnTo>
                    <a:lnTo>
                      <a:pt x="20" y="271"/>
                    </a:lnTo>
                    <a:lnTo>
                      <a:pt x="16" y="267"/>
                    </a:lnTo>
                    <a:lnTo>
                      <a:pt x="16" y="267"/>
                    </a:lnTo>
                    <a:lnTo>
                      <a:pt x="12" y="263"/>
                    </a:lnTo>
                    <a:lnTo>
                      <a:pt x="12" y="263"/>
                    </a:lnTo>
                    <a:lnTo>
                      <a:pt x="12" y="263"/>
                    </a:lnTo>
                    <a:lnTo>
                      <a:pt x="8" y="255"/>
                    </a:lnTo>
                    <a:lnTo>
                      <a:pt x="8" y="255"/>
                    </a:lnTo>
                    <a:lnTo>
                      <a:pt x="8" y="255"/>
                    </a:lnTo>
                    <a:lnTo>
                      <a:pt x="8" y="255"/>
                    </a:lnTo>
                    <a:lnTo>
                      <a:pt x="8" y="255"/>
                    </a:lnTo>
                    <a:lnTo>
                      <a:pt x="8" y="255"/>
                    </a:lnTo>
                    <a:lnTo>
                      <a:pt x="8" y="255"/>
                    </a:lnTo>
                    <a:lnTo>
                      <a:pt x="12" y="251"/>
                    </a:lnTo>
                    <a:lnTo>
                      <a:pt x="12" y="251"/>
                    </a:lnTo>
                    <a:lnTo>
                      <a:pt x="12" y="251"/>
                    </a:lnTo>
                    <a:lnTo>
                      <a:pt x="12" y="251"/>
                    </a:lnTo>
                    <a:lnTo>
                      <a:pt x="12" y="251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7" name="Freeform 127">
                <a:extLst>
                  <a:ext uri="{FF2B5EF4-FFF2-40B4-BE49-F238E27FC236}">
                    <a16:creationId xmlns:a16="http://schemas.microsoft.com/office/drawing/2014/main" id="{4E26D843-7C0C-4937-9463-F576965F2776}"/>
                  </a:ext>
                </a:extLst>
              </p:cNvPr>
              <p:cNvSpPr>
                <a:spLocks noEditPoints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4617458" y="6229128"/>
                <a:ext cx="25212" cy="20170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6" y="16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16" y="16"/>
                  </a:cxn>
                  <a:cxn ang="0">
                    <a:pos x="16" y="12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8" y="16"/>
                  </a:cxn>
                </a:cxnLst>
                <a:rect l="0" t="0" r="r" b="b"/>
                <a:pathLst>
                  <a:path w="20" h="16">
                    <a:moveTo>
                      <a:pt x="4" y="8"/>
                    </a:moveTo>
                    <a:lnTo>
                      <a:pt x="4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close/>
                    <a:moveTo>
                      <a:pt x="20" y="16"/>
                    </a:move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8" name="Freeform 128">
                <a:extLst>
                  <a:ext uri="{FF2B5EF4-FFF2-40B4-BE49-F238E27FC236}">
                    <a16:creationId xmlns:a16="http://schemas.microsoft.com/office/drawing/2014/main" id="{85C3EAD1-4990-4413-AC43-EB5001D93DF8}"/>
                  </a:ext>
                </a:extLst>
              </p:cNvPr>
              <p:cNvSpPr>
                <a:spLocks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003545" y="5877420"/>
                <a:ext cx="146230" cy="200436"/>
              </a:xfrm>
              <a:custGeom>
                <a:avLst/>
                <a:gdLst/>
                <a:ahLst/>
                <a:cxnLst>
                  <a:cxn ang="0">
                    <a:pos x="68" y="147"/>
                  </a:cxn>
                  <a:cxn ang="0">
                    <a:pos x="60" y="155"/>
                  </a:cxn>
                  <a:cxn ang="0">
                    <a:pos x="52" y="159"/>
                  </a:cxn>
                  <a:cxn ang="0">
                    <a:pos x="52" y="147"/>
                  </a:cxn>
                  <a:cxn ang="0">
                    <a:pos x="40" y="151"/>
                  </a:cxn>
                  <a:cxn ang="0">
                    <a:pos x="36" y="159"/>
                  </a:cxn>
                  <a:cxn ang="0">
                    <a:pos x="32" y="155"/>
                  </a:cxn>
                  <a:cxn ang="0">
                    <a:pos x="24" y="151"/>
                  </a:cxn>
                  <a:cxn ang="0">
                    <a:pos x="16" y="159"/>
                  </a:cxn>
                  <a:cxn ang="0">
                    <a:pos x="12" y="151"/>
                  </a:cxn>
                  <a:cxn ang="0">
                    <a:pos x="4" y="147"/>
                  </a:cxn>
                  <a:cxn ang="0">
                    <a:pos x="0" y="139"/>
                  </a:cxn>
                  <a:cxn ang="0">
                    <a:pos x="12" y="135"/>
                  </a:cxn>
                  <a:cxn ang="0">
                    <a:pos x="8" y="127"/>
                  </a:cxn>
                  <a:cxn ang="0">
                    <a:pos x="8" y="124"/>
                  </a:cxn>
                  <a:cxn ang="0">
                    <a:pos x="8" y="112"/>
                  </a:cxn>
                  <a:cxn ang="0">
                    <a:pos x="16" y="112"/>
                  </a:cxn>
                  <a:cxn ang="0">
                    <a:pos x="20" y="108"/>
                  </a:cxn>
                  <a:cxn ang="0">
                    <a:pos x="28" y="104"/>
                  </a:cxn>
                  <a:cxn ang="0">
                    <a:pos x="32" y="112"/>
                  </a:cxn>
                  <a:cxn ang="0">
                    <a:pos x="40" y="112"/>
                  </a:cxn>
                  <a:cxn ang="0">
                    <a:pos x="44" y="116"/>
                  </a:cxn>
                  <a:cxn ang="0">
                    <a:pos x="48" y="108"/>
                  </a:cxn>
                  <a:cxn ang="0">
                    <a:pos x="52" y="100"/>
                  </a:cxn>
                  <a:cxn ang="0">
                    <a:pos x="52" y="88"/>
                  </a:cxn>
                  <a:cxn ang="0">
                    <a:pos x="48" y="80"/>
                  </a:cxn>
                  <a:cxn ang="0">
                    <a:pos x="44" y="72"/>
                  </a:cxn>
                  <a:cxn ang="0">
                    <a:pos x="44" y="60"/>
                  </a:cxn>
                  <a:cxn ang="0">
                    <a:pos x="52" y="52"/>
                  </a:cxn>
                  <a:cxn ang="0">
                    <a:pos x="44" y="44"/>
                  </a:cxn>
                  <a:cxn ang="0">
                    <a:pos x="36" y="48"/>
                  </a:cxn>
                  <a:cxn ang="0">
                    <a:pos x="32" y="40"/>
                  </a:cxn>
                  <a:cxn ang="0">
                    <a:pos x="40" y="32"/>
                  </a:cxn>
                  <a:cxn ang="0">
                    <a:pos x="56" y="32"/>
                  </a:cxn>
                  <a:cxn ang="0">
                    <a:pos x="68" y="32"/>
                  </a:cxn>
                  <a:cxn ang="0">
                    <a:pos x="76" y="36"/>
                  </a:cxn>
                  <a:cxn ang="0">
                    <a:pos x="76" y="32"/>
                  </a:cxn>
                  <a:cxn ang="0">
                    <a:pos x="80" y="24"/>
                  </a:cxn>
                  <a:cxn ang="0">
                    <a:pos x="84" y="16"/>
                  </a:cxn>
                  <a:cxn ang="0">
                    <a:pos x="84" y="8"/>
                  </a:cxn>
                  <a:cxn ang="0">
                    <a:pos x="92" y="4"/>
                  </a:cxn>
                  <a:cxn ang="0">
                    <a:pos x="96" y="4"/>
                  </a:cxn>
                  <a:cxn ang="0">
                    <a:pos x="108" y="4"/>
                  </a:cxn>
                  <a:cxn ang="0">
                    <a:pos x="112" y="4"/>
                  </a:cxn>
                  <a:cxn ang="0">
                    <a:pos x="116" y="12"/>
                  </a:cxn>
                  <a:cxn ang="0">
                    <a:pos x="112" y="20"/>
                  </a:cxn>
                  <a:cxn ang="0">
                    <a:pos x="108" y="28"/>
                  </a:cxn>
                  <a:cxn ang="0">
                    <a:pos x="108" y="40"/>
                  </a:cxn>
                  <a:cxn ang="0">
                    <a:pos x="104" y="56"/>
                  </a:cxn>
                  <a:cxn ang="0">
                    <a:pos x="104" y="68"/>
                  </a:cxn>
                  <a:cxn ang="0">
                    <a:pos x="100" y="76"/>
                  </a:cxn>
                  <a:cxn ang="0">
                    <a:pos x="96" y="88"/>
                  </a:cxn>
                  <a:cxn ang="0">
                    <a:pos x="88" y="96"/>
                  </a:cxn>
                  <a:cxn ang="0">
                    <a:pos x="84" y="104"/>
                  </a:cxn>
                  <a:cxn ang="0">
                    <a:pos x="76" y="108"/>
                  </a:cxn>
                  <a:cxn ang="0">
                    <a:pos x="80" y="120"/>
                  </a:cxn>
                  <a:cxn ang="0">
                    <a:pos x="76" y="127"/>
                  </a:cxn>
                  <a:cxn ang="0">
                    <a:pos x="76" y="135"/>
                  </a:cxn>
                  <a:cxn ang="0">
                    <a:pos x="72" y="143"/>
                  </a:cxn>
                </a:cxnLst>
                <a:rect l="0" t="0" r="r" b="b"/>
                <a:pathLst>
                  <a:path w="116" h="159">
                    <a:moveTo>
                      <a:pt x="72" y="143"/>
                    </a:moveTo>
                    <a:lnTo>
                      <a:pt x="68" y="143"/>
                    </a:lnTo>
                    <a:lnTo>
                      <a:pt x="68" y="147"/>
                    </a:lnTo>
                    <a:lnTo>
                      <a:pt x="64" y="147"/>
                    </a:lnTo>
                    <a:lnTo>
                      <a:pt x="60" y="151"/>
                    </a:lnTo>
                    <a:lnTo>
                      <a:pt x="60" y="155"/>
                    </a:lnTo>
                    <a:lnTo>
                      <a:pt x="56" y="155"/>
                    </a:lnTo>
                    <a:lnTo>
                      <a:pt x="56" y="159"/>
                    </a:lnTo>
                    <a:lnTo>
                      <a:pt x="52" y="159"/>
                    </a:lnTo>
                    <a:lnTo>
                      <a:pt x="52" y="155"/>
                    </a:lnTo>
                    <a:lnTo>
                      <a:pt x="52" y="151"/>
                    </a:lnTo>
                    <a:lnTo>
                      <a:pt x="52" y="147"/>
                    </a:lnTo>
                    <a:lnTo>
                      <a:pt x="48" y="147"/>
                    </a:lnTo>
                    <a:lnTo>
                      <a:pt x="44" y="151"/>
                    </a:lnTo>
                    <a:lnTo>
                      <a:pt x="40" y="151"/>
                    </a:lnTo>
                    <a:lnTo>
                      <a:pt x="40" y="155"/>
                    </a:lnTo>
                    <a:lnTo>
                      <a:pt x="36" y="155"/>
                    </a:lnTo>
                    <a:lnTo>
                      <a:pt x="36" y="159"/>
                    </a:lnTo>
                    <a:lnTo>
                      <a:pt x="32" y="155"/>
                    </a:lnTo>
                    <a:lnTo>
                      <a:pt x="32" y="151"/>
                    </a:lnTo>
                    <a:lnTo>
                      <a:pt x="32" y="155"/>
                    </a:lnTo>
                    <a:lnTo>
                      <a:pt x="28" y="155"/>
                    </a:lnTo>
                    <a:lnTo>
                      <a:pt x="28" y="151"/>
                    </a:lnTo>
                    <a:lnTo>
                      <a:pt x="24" y="151"/>
                    </a:lnTo>
                    <a:lnTo>
                      <a:pt x="20" y="155"/>
                    </a:lnTo>
                    <a:lnTo>
                      <a:pt x="16" y="155"/>
                    </a:lnTo>
                    <a:lnTo>
                      <a:pt x="16" y="159"/>
                    </a:lnTo>
                    <a:lnTo>
                      <a:pt x="12" y="159"/>
                    </a:lnTo>
                    <a:lnTo>
                      <a:pt x="12" y="155"/>
                    </a:lnTo>
                    <a:lnTo>
                      <a:pt x="12" y="151"/>
                    </a:lnTo>
                    <a:lnTo>
                      <a:pt x="8" y="151"/>
                    </a:lnTo>
                    <a:lnTo>
                      <a:pt x="8" y="147"/>
                    </a:lnTo>
                    <a:lnTo>
                      <a:pt x="4" y="147"/>
                    </a:lnTo>
                    <a:lnTo>
                      <a:pt x="4" y="143"/>
                    </a:lnTo>
                    <a:lnTo>
                      <a:pt x="0" y="143"/>
                    </a:lnTo>
                    <a:lnTo>
                      <a:pt x="0" y="139"/>
                    </a:lnTo>
                    <a:lnTo>
                      <a:pt x="4" y="135"/>
                    </a:lnTo>
                    <a:lnTo>
                      <a:pt x="8" y="135"/>
                    </a:lnTo>
                    <a:lnTo>
                      <a:pt x="12" y="135"/>
                    </a:lnTo>
                    <a:lnTo>
                      <a:pt x="12" y="131"/>
                    </a:lnTo>
                    <a:lnTo>
                      <a:pt x="12" y="127"/>
                    </a:lnTo>
                    <a:lnTo>
                      <a:pt x="8" y="127"/>
                    </a:lnTo>
                    <a:lnTo>
                      <a:pt x="12" y="124"/>
                    </a:lnTo>
                    <a:lnTo>
                      <a:pt x="8" y="120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6" y="112"/>
                    </a:lnTo>
                    <a:lnTo>
                      <a:pt x="16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20" y="104"/>
                    </a:lnTo>
                    <a:lnTo>
                      <a:pt x="24" y="104"/>
                    </a:lnTo>
                    <a:lnTo>
                      <a:pt x="28" y="104"/>
                    </a:lnTo>
                    <a:lnTo>
                      <a:pt x="28" y="108"/>
                    </a:lnTo>
                    <a:lnTo>
                      <a:pt x="28" y="112"/>
                    </a:lnTo>
                    <a:lnTo>
                      <a:pt x="32" y="112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40" y="112"/>
                    </a:lnTo>
                    <a:lnTo>
                      <a:pt x="40" y="108"/>
                    </a:lnTo>
                    <a:lnTo>
                      <a:pt x="44" y="112"/>
                    </a:lnTo>
                    <a:lnTo>
                      <a:pt x="44" y="116"/>
                    </a:lnTo>
                    <a:lnTo>
                      <a:pt x="48" y="116"/>
                    </a:lnTo>
                    <a:lnTo>
                      <a:pt x="48" y="112"/>
                    </a:lnTo>
                    <a:lnTo>
                      <a:pt x="48" y="108"/>
                    </a:lnTo>
                    <a:lnTo>
                      <a:pt x="48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52" y="92"/>
                    </a:lnTo>
                    <a:lnTo>
                      <a:pt x="52" y="88"/>
                    </a:lnTo>
                    <a:lnTo>
                      <a:pt x="52" y="84"/>
                    </a:lnTo>
                    <a:lnTo>
                      <a:pt x="52" y="80"/>
                    </a:lnTo>
                    <a:lnTo>
                      <a:pt x="48" y="80"/>
                    </a:lnTo>
                    <a:lnTo>
                      <a:pt x="48" y="76"/>
                    </a:lnTo>
                    <a:lnTo>
                      <a:pt x="44" y="76"/>
                    </a:lnTo>
                    <a:lnTo>
                      <a:pt x="44" y="72"/>
                    </a:lnTo>
                    <a:lnTo>
                      <a:pt x="44" y="68"/>
                    </a:lnTo>
                    <a:lnTo>
                      <a:pt x="44" y="64"/>
                    </a:lnTo>
                    <a:lnTo>
                      <a:pt x="44" y="60"/>
                    </a:lnTo>
                    <a:lnTo>
                      <a:pt x="48" y="60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48" y="48"/>
                    </a:lnTo>
                    <a:lnTo>
                      <a:pt x="48" y="44"/>
                    </a:lnTo>
                    <a:lnTo>
                      <a:pt x="44" y="44"/>
                    </a:lnTo>
                    <a:lnTo>
                      <a:pt x="40" y="44"/>
                    </a:lnTo>
                    <a:lnTo>
                      <a:pt x="40" y="48"/>
                    </a:lnTo>
                    <a:lnTo>
                      <a:pt x="36" y="48"/>
                    </a:lnTo>
                    <a:lnTo>
                      <a:pt x="32" y="48"/>
                    </a:lnTo>
                    <a:lnTo>
                      <a:pt x="32" y="44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32" y="32"/>
                    </a:lnTo>
                    <a:lnTo>
                      <a:pt x="40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6" y="32"/>
                    </a:lnTo>
                    <a:lnTo>
                      <a:pt x="60" y="32"/>
                    </a:lnTo>
                    <a:lnTo>
                      <a:pt x="64" y="32"/>
                    </a:lnTo>
                    <a:lnTo>
                      <a:pt x="68" y="32"/>
                    </a:lnTo>
                    <a:lnTo>
                      <a:pt x="68" y="36"/>
                    </a:lnTo>
                    <a:lnTo>
                      <a:pt x="72" y="36"/>
                    </a:lnTo>
                    <a:lnTo>
                      <a:pt x="76" y="36"/>
                    </a:lnTo>
                    <a:lnTo>
                      <a:pt x="76" y="40"/>
                    </a:lnTo>
                    <a:lnTo>
                      <a:pt x="76" y="36"/>
                    </a:lnTo>
                    <a:lnTo>
                      <a:pt x="76" y="32"/>
                    </a:lnTo>
                    <a:lnTo>
                      <a:pt x="76" y="28"/>
                    </a:lnTo>
                    <a:lnTo>
                      <a:pt x="80" y="28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4" y="20"/>
                    </a:lnTo>
                    <a:lnTo>
                      <a:pt x="84" y="16"/>
                    </a:lnTo>
                    <a:lnTo>
                      <a:pt x="80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0"/>
                    </a:lnTo>
                    <a:lnTo>
                      <a:pt x="96" y="4"/>
                    </a:lnTo>
                    <a:lnTo>
                      <a:pt x="100" y="4"/>
                    </a:lnTo>
                    <a:lnTo>
                      <a:pt x="104" y="4"/>
                    </a:lnTo>
                    <a:lnTo>
                      <a:pt x="108" y="4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6" y="8"/>
                    </a:lnTo>
                    <a:lnTo>
                      <a:pt x="116" y="12"/>
                    </a:lnTo>
                    <a:lnTo>
                      <a:pt x="112" y="12"/>
                    </a:lnTo>
                    <a:lnTo>
                      <a:pt x="112" y="16"/>
                    </a:lnTo>
                    <a:lnTo>
                      <a:pt x="112" y="20"/>
                    </a:lnTo>
                    <a:lnTo>
                      <a:pt x="112" y="24"/>
                    </a:lnTo>
                    <a:lnTo>
                      <a:pt x="108" y="24"/>
                    </a:lnTo>
                    <a:lnTo>
                      <a:pt x="108" y="28"/>
                    </a:lnTo>
                    <a:lnTo>
                      <a:pt x="108" y="32"/>
                    </a:lnTo>
                    <a:lnTo>
                      <a:pt x="108" y="36"/>
                    </a:lnTo>
                    <a:lnTo>
                      <a:pt x="108" y="40"/>
                    </a:lnTo>
                    <a:lnTo>
                      <a:pt x="104" y="48"/>
                    </a:lnTo>
                    <a:lnTo>
                      <a:pt x="104" y="52"/>
                    </a:lnTo>
                    <a:lnTo>
                      <a:pt x="104" y="56"/>
                    </a:lnTo>
                    <a:lnTo>
                      <a:pt x="104" y="60"/>
                    </a:lnTo>
                    <a:lnTo>
                      <a:pt x="104" y="64"/>
                    </a:lnTo>
                    <a:lnTo>
                      <a:pt x="104" y="68"/>
                    </a:lnTo>
                    <a:lnTo>
                      <a:pt x="100" y="68"/>
                    </a:lnTo>
                    <a:lnTo>
                      <a:pt x="100" y="72"/>
                    </a:lnTo>
                    <a:lnTo>
                      <a:pt x="100" y="76"/>
                    </a:lnTo>
                    <a:lnTo>
                      <a:pt x="100" y="80"/>
                    </a:lnTo>
                    <a:lnTo>
                      <a:pt x="100" y="84"/>
                    </a:lnTo>
                    <a:lnTo>
                      <a:pt x="96" y="88"/>
                    </a:lnTo>
                    <a:lnTo>
                      <a:pt x="92" y="88"/>
                    </a:lnTo>
                    <a:lnTo>
                      <a:pt x="88" y="92"/>
                    </a:lnTo>
                    <a:lnTo>
                      <a:pt x="88" y="96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4" y="104"/>
                    </a:lnTo>
                    <a:lnTo>
                      <a:pt x="80" y="104"/>
                    </a:lnTo>
                    <a:lnTo>
                      <a:pt x="80" y="108"/>
                    </a:lnTo>
                    <a:lnTo>
                      <a:pt x="76" y="108"/>
                    </a:lnTo>
                    <a:lnTo>
                      <a:pt x="76" y="112"/>
                    </a:lnTo>
                    <a:lnTo>
                      <a:pt x="80" y="116"/>
                    </a:lnTo>
                    <a:lnTo>
                      <a:pt x="80" y="120"/>
                    </a:lnTo>
                    <a:lnTo>
                      <a:pt x="76" y="120"/>
                    </a:lnTo>
                    <a:lnTo>
                      <a:pt x="76" y="124"/>
                    </a:lnTo>
                    <a:lnTo>
                      <a:pt x="76" y="127"/>
                    </a:lnTo>
                    <a:lnTo>
                      <a:pt x="80" y="131"/>
                    </a:lnTo>
                    <a:lnTo>
                      <a:pt x="76" y="131"/>
                    </a:lnTo>
                    <a:lnTo>
                      <a:pt x="76" y="135"/>
                    </a:lnTo>
                    <a:lnTo>
                      <a:pt x="76" y="139"/>
                    </a:lnTo>
                    <a:lnTo>
                      <a:pt x="72" y="139"/>
                    </a:lnTo>
                    <a:lnTo>
                      <a:pt x="72" y="143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59" name="Freeform 129">
                <a:extLst>
                  <a:ext uri="{FF2B5EF4-FFF2-40B4-BE49-F238E27FC236}">
                    <a16:creationId xmlns:a16="http://schemas.microsoft.com/office/drawing/2014/main" id="{2475B72D-117B-47AC-82EC-4861C7197FBB}"/>
                  </a:ext>
                </a:extLst>
              </p:cNvPr>
              <p:cNvSpPr>
                <a:spLocks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023714" y="5842123"/>
                <a:ext cx="366835" cy="432387"/>
              </a:xfrm>
              <a:custGeom>
                <a:avLst/>
                <a:gdLst/>
                <a:ahLst/>
                <a:cxnLst>
                  <a:cxn ang="0">
                    <a:pos x="32" y="207"/>
                  </a:cxn>
                  <a:cxn ang="0">
                    <a:pos x="12" y="203"/>
                  </a:cxn>
                  <a:cxn ang="0">
                    <a:pos x="4" y="203"/>
                  </a:cxn>
                  <a:cxn ang="0">
                    <a:pos x="16" y="183"/>
                  </a:cxn>
                  <a:cxn ang="0">
                    <a:pos x="24" y="179"/>
                  </a:cxn>
                  <a:cxn ang="0">
                    <a:pos x="36" y="187"/>
                  </a:cxn>
                  <a:cxn ang="0">
                    <a:pos x="52" y="175"/>
                  </a:cxn>
                  <a:cxn ang="0">
                    <a:pos x="60" y="159"/>
                  </a:cxn>
                  <a:cxn ang="0">
                    <a:pos x="64" y="144"/>
                  </a:cxn>
                  <a:cxn ang="0">
                    <a:pos x="68" y="128"/>
                  </a:cxn>
                  <a:cxn ang="0">
                    <a:pos x="84" y="112"/>
                  </a:cxn>
                  <a:cxn ang="0">
                    <a:pos x="88" y="92"/>
                  </a:cxn>
                  <a:cxn ang="0">
                    <a:pos x="92" y="64"/>
                  </a:cxn>
                  <a:cxn ang="0">
                    <a:pos x="96" y="44"/>
                  </a:cxn>
                  <a:cxn ang="0">
                    <a:pos x="100" y="24"/>
                  </a:cxn>
                  <a:cxn ang="0">
                    <a:pos x="104" y="12"/>
                  </a:cxn>
                  <a:cxn ang="0">
                    <a:pos x="120" y="8"/>
                  </a:cxn>
                  <a:cxn ang="0">
                    <a:pos x="136" y="16"/>
                  </a:cxn>
                  <a:cxn ang="0">
                    <a:pos x="156" y="24"/>
                  </a:cxn>
                  <a:cxn ang="0">
                    <a:pos x="164" y="8"/>
                  </a:cxn>
                  <a:cxn ang="0">
                    <a:pos x="184" y="8"/>
                  </a:cxn>
                  <a:cxn ang="0">
                    <a:pos x="200" y="8"/>
                  </a:cxn>
                  <a:cxn ang="0">
                    <a:pos x="212" y="4"/>
                  </a:cxn>
                  <a:cxn ang="0">
                    <a:pos x="228" y="4"/>
                  </a:cxn>
                  <a:cxn ang="0">
                    <a:pos x="243" y="16"/>
                  </a:cxn>
                  <a:cxn ang="0">
                    <a:pos x="259" y="16"/>
                  </a:cxn>
                  <a:cxn ang="0">
                    <a:pos x="267" y="16"/>
                  </a:cxn>
                  <a:cxn ang="0">
                    <a:pos x="279" y="28"/>
                  </a:cxn>
                  <a:cxn ang="0">
                    <a:pos x="283" y="48"/>
                  </a:cxn>
                  <a:cxn ang="0">
                    <a:pos x="287" y="60"/>
                  </a:cxn>
                  <a:cxn ang="0">
                    <a:pos x="275" y="80"/>
                  </a:cxn>
                  <a:cxn ang="0">
                    <a:pos x="267" y="96"/>
                  </a:cxn>
                  <a:cxn ang="0">
                    <a:pos x="263" y="116"/>
                  </a:cxn>
                  <a:cxn ang="0">
                    <a:pos x="259" y="136"/>
                  </a:cxn>
                  <a:cxn ang="0">
                    <a:pos x="259" y="155"/>
                  </a:cxn>
                  <a:cxn ang="0">
                    <a:pos x="263" y="179"/>
                  </a:cxn>
                  <a:cxn ang="0">
                    <a:pos x="263" y="195"/>
                  </a:cxn>
                  <a:cxn ang="0">
                    <a:pos x="267" y="219"/>
                  </a:cxn>
                  <a:cxn ang="0">
                    <a:pos x="279" y="235"/>
                  </a:cxn>
                  <a:cxn ang="0">
                    <a:pos x="275" y="247"/>
                  </a:cxn>
                  <a:cxn ang="0">
                    <a:pos x="255" y="259"/>
                  </a:cxn>
                  <a:cxn ang="0">
                    <a:pos x="251" y="279"/>
                  </a:cxn>
                  <a:cxn ang="0">
                    <a:pos x="247" y="299"/>
                  </a:cxn>
                  <a:cxn ang="0">
                    <a:pos x="251" y="319"/>
                  </a:cxn>
                  <a:cxn ang="0">
                    <a:pos x="267" y="323"/>
                  </a:cxn>
                  <a:cxn ang="0">
                    <a:pos x="267" y="343"/>
                  </a:cxn>
                  <a:cxn ang="0">
                    <a:pos x="251" y="335"/>
                  </a:cxn>
                  <a:cxn ang="0">
                    <a:pos x="236" y="323"/>
                  </a:cxn>
                  <a:cxn ang="0">
                    <a:pos x="224" y="319"/>
                  </a:cxn>
                  <a:cxn ang="0">
                    <a:pos x="200" y="311"/>
                  </a:cxn>
                  <a:cxn ang="0">
                    <a:pos x="184" y="307"/>
                  </a:cxn>
                  <a:cxn ang="0">
                    <a:pos x="180" y="299"/>
                  </a:cxn>
                  <a:cxn ang="0">
                    <a:pos x="156" y="299"/>
                  </a:cxn>
                  <a:cxn ang="0">
                    <a:pos x="156" y="291"/>
                  </a:cxn>
                  <a:cxn ang="0">
                    <a:pos x="148" y="267"/>
                  </a:cxn>
                  <a:cxn ang="0">
                    <a:pos x="148" y="243"/>
                  </a:cxn>
                  <a:cxn ang="0">
                    <a:pos x="128" y="231"/>
                  </a:cxn>
                  <a:cxn ang="0">
                    <a:pos x="112" y="227"/>
                  </a:cxn>
                  <a:cxn ang="0">
                    <a:pos x="112" y="243"/>
                  </a:cxn>
                  <a:cxn ang="0">
                    <a:pos x="88" y="247"/>
                  </a:cxn>
                  <a:cxn ang="0">
                    <a:pos x="76" y="235"/>
                  </a:cxn>
                  <a:cxn ang="0">
                    <a:pos x="68" y="215"/>
                  </a:cxn>
                </a:cxnLst>
                <a:rect l="0" t="0" r="r" b="b"/>
                <a:pathLst>
                  <a:path w="291" h="343">
                    <a:moveTo>
                      <a:pt x="60" y="203"/>
                    </a:moveTo>
                    <a:lnTo>
                      <a:pt x="56" y="203"/>
                    </a:lnTo>
                    <a:lnTo>
                      <a:pt x="44" y="203"/>
                    </a:lnTo>
                    <a:lnTo>
                      <a:pt x="40" y="203"/>
                    </a:lnTo>
                    <a:lnTo>
                      <a:pt x="36" y="207"/>
                    </a:lnTo>
                    <a:lnTo>
                      <a:pt x="32" y="207"/>
                    </a:lnTo>
                    <a:lnTo>
                      <a:pt x="32" y="203"/>
                    </a:lnTo>
                    <a:lnTo>
                      <a:pt x="28" y="203"/>
                    </a:lnTo>
                    <a:lnTo>
                      <a:pt x="24" y="203"/>
                    </a:lnTo>
                    <a:lnTo>
                      <a:pt x="20" y="203"/>
                    </a:lnTo>
                    <a:lnTo>
                      <a:pt x="16" y="203"/>
                    </a:lnTo>
                    <a:lnTo>
                      <a:pt x="12" y="203"/>
                    </a:lnTo>
                    <a:lnTo>
                      <a:pt x="8" y="203"/>
                    </a:lnTo>
                    <a:lnTo>
                      <a:pt x="8" y="207"/>
                    </a:lnTo>
                    <a:lnTo>
                      <a:pt x="4" y="207"/>
                    </a:lnTo>
                    <a:lnTo>
                      <a:pt x="4" y="203"/>
                    </a:lnTo>
                    <a:lnTo>
                      <a:pt x="0" y="203"/>
                    </a:lnTo>
                    <a:lnTo>
                      <a:pt x="4" y="203"/>
                    </a:lnTo>
                    <a:lnTo>
                      <a:pt x="8" y="203"/>
                    </a:lnTo>
                    <a:lnTo>
                      <a:pt x="8" y="195"/>
                    </a:lnTo>
                    <a:lnTo>
                      <a:pt x="8" y="191"/>
                    </a:lnTo>
                    <a:lnTo>
                      <a:pt x="8" y="187"/>
                    </a:lnTo>
                    <a:lnTo>
                      <a:pt x="12" y="183"/>
                    </a:lnTo>
                    <a:lnTo>
                      <a:pt x="16" y="183"/>
                    </a:lnTo>
                    <a:lnTo>
                      <a:pt x="16" y="179"/>
                    </a:lnTo>
                    <a:lnTo>
                      <a:pt x="16" y="183"/>
                    </a:lnTo>
                    <a:lnTo>
                      <a:pt x="20" y="187"/>
                    </a:lnTo>
                    <a:lnTo>
                      <a:pt x="20" y="183"/>
                    </a:lnTo>
                    <a:lnTo>
                      <a:pt x="24" y="183"/>
                    </a:lnTo>
                    <a:lnTo>
                      <a:pt x="24" y="179"/>
                    </a:lnTo>
                    <a:lnTo>
                      <a:pt x="28" y="179"/>
                    </a:lnTo>
                    <a:lnTo>
                      <a:pt x="32" y="175"/>
                    </a:lnTo>
                    <a:lnTo>
                      <a:pt x="36" y="175"/>
                    </a:lnTo>
                    <a:lnTo>
                      <a:pt x="36" y="179"/>
                    </a:lnTo>
                    <a:lnTo>
                      <a:pt x="36" y="183"/>
                    </a:lnTo>
                    <a:lnTo>
                      <a:pt x="36" y="187"/>
                    </a:lnTo>
                    <a:lnTo>
                      <a:pt x="40" y="187"/>
                    </a:lnTo>
                    <a:lnTo>
                      <a:pt x="40" y="183"/>
                    </a:lnTo>
                    <a:lnTo>
                      <a:pt x="44" y="183"/>
                    </a:lnTo>
                    <a:lnTo>
                      <a:pt x="44" y="179"/>
                    </a:lnTo>
                    <a:lnTo>
                      <a:pt x="48" y="175"/>
                    </a:lnTo>
                    <a:lnTo>
                      <a:pt x="52" y="175"/>
                    </a:lnTo>
                    <a:lnTo>
                      <a:pt x="52" y="171"/>
                    </a:lnTo>
                    <a:lnTo>
                      <a:pt x="56" y="171"/>
                    </a:lnTo>
                    <a:lnTo>
                      <a:pt x="56" y="167"/>
                    </a:lnTo>
                    <a:lnTo>
                      <a:pt x="60" y="167"/>
                    </a:lnTo>
                    <a:lnTo>
                      <a:pt x="60" y="163"/>
                    </a:lnTo>
                    <a:lnTo>
                      <a:pt x="60" y="159"/>
                    </a:lnTo>
                    <a:lnTo>
                      <a:pt x="64" y="159"/>
                    </a:lnTo>
                    <a:lnTo>
                      <a:pt x="60" y="155"/>
                    </a:lnTo>
                    <a:lnTo>
                      <a:pt x="60" y="152"/>
                    </a:lnTo>
                    <a:lnTo>
                      <a:pt x="60" y="148"/>
                    </a:lnTo>
                    <a:lnTo>
                      <a:pt x="64" y="148"/>
                    </a:lnTo>
                    <a:lnTo>
                      <a:pt x="64" y="144"/>
                    </a:lnTo>
                    <a:lnTo>
                      <a:pt x="60" y="140"/>
                    </a:lnTo>
                    <a:lnTo>
                      <a:pt x="60" y="136"/>
                    </a:lnTo>
                    <a:lnTo>
                      <a:pt x="64" y="136"/>
                    </a:lnTo>
                    <a:lnTo>
                      <a:pt x="64" y="132"/>
                    </a:lnTo>
                    <a:lnTo>
                      <a:pt x="68" y="132"/>
                    </a:lnTo>
                    <a:lnTo>
                      <a:pt x="68" y="128"/>
                    </a:lnTo>
                    <a:lnTo>
                      <a:pt x="68" y="124"/>
                    </a:lnTo>
                    <a:lnTo>
                      <a:pt x="72" y="124"/>
                    </a:lnTo>
                    <a:lnTo>
                      <a:pt x="72" y="120"/>
                    </a:lnTo>
                    <a:lnTo>
                      <a:pt x="76" y="116"/>
                    </a:lnTo>
                    <a:lnTo>
                      <a:pt x="80" y="116"/>
                    </a:lnTo>
                    <a:lnTo>
                      <a:pt x="84" y="112"/>
                    </a:lnTo>
                    <a:lnTo>
                      <a:pt x="84" y="108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88" y="96"/>
                    </a:lnTo>
                    <a:lnTo>
                      <a:pt x="88" y="92"/>
                    </a:lnTo>
                    <a:lnTo>
                      <a:pt x="88" y="88"/>
                    </a:lnTo>
                    <a:lnTo>
                      <a:pt x="88" y="84"/>
                    </a:lnTo>
                    <a:lnTo>
                      <a:pt x="88" y="80"/>
                    </a:lnTo>
                    <a:lnTo>
                      <a:pt x="88" y="76"/>
                    </a:lnTo>
                    <a:lnTo>
                      <a:pt x="92" y="68"/>
                    </a:lnTo>
                    <a:lnTo>
                      <a:pt x="92" y="64"/>
                    </a:lnTo>
                    <a:lnTo>
                      <a:pt x="92" y="60"/>
                    </a:lnTo>
                    <a:lnTo>
                      <a:pt x="92" y="56"/>
                    </a:lnTo>
                    <a:lnTo>
                      <a:pt x="92" y="52"/>
                    </a:lnTo>
                    <a:lnTo>
                      <a:pt x="96" y="52"/>
                    </a:lnTo>
                    <a:lnTo>
                      <a:pt x="96" y="48"/>
                    </a:lnTo>
                    <a:lnTo>
                      <a:pt x="96" y="44"/>
                    </a:lnTo>
                    <a:lnTo>
                      <a:pt x="96" y="40"/>
                    </a:lnTo>
                    <a:lnTo>
                      <a:pt x="100" y="40"/>
                    </a:lnTo>
                    <a:lnTo>
                      <a:pt x="100" y="36"/>
                    </a:lnTo>
                    <a:lnTo>
                      <a:pt x="100" y="32"/>
                    </a:lnTo>
                    <a:lnTo>
                      <a:pt x="100" y="28"/>
                    </a:lnTo>
                    <a:lnTo>
                      <a:pt x="100" y="24"/>
                    </a:lnTo>
                    <a:lnTo>
                      <a:pt x="100" y="20"/>
                    </a:lnTo>
                    <a:lnTo>
                      <a:pt x="96" y="20"/>
                    </a:lnTo>
                    <a:lnTo>
                      <a:pt x="100" y="1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104" y="12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6" y="8"/>
                    </a:lnTo>
                    <a:lnTo>
                      <a:pt x="120" y="8"/>
                    </a:lnTo>
                    <a:lnTo>
                      <a:pt x="124" y="8"/>
                    </a:lnTo>
                    <a:lnTo>
                      <a:pt x="124" y="12"/>
                    </a:lnTo>
                    <a:lnTo>
                      <a:pt x="128" y="12"/>
                    </a:lnTo>
                    <a:lnTo>
                      <a:pt x="128" y="16"/>
                    </a:lnTo>
                    <a:lnTo>
                      <a:pt x="132" y="16"/>
                    </a:lnTo>
                    <a:lnTo>
                      <a:pt x="136" y="16"/>
                    </a:lnTo>
                    <a:lnTo>
                      <a:pt x="136" y="20"/>
                    </a:lnTo>
                    <a:lnTo>
                      <a:pt x="144" y="20"/>
                    </a:lnTo>
                    <a:lnTo>
                      <a:pt x="148" y="20"/>
                    </a:lnTo>
                    <a:lnTo>
                      <a:pt x="152" y="20"/>
                    </a:lnTo>
                    <a:lnTo>
                      <a:pt x="152" y="24"/>
                    </a:lnTo>
                    <a:lnTo>
                      <a:pt x="156" y="24"/>
                    </a:lnTo>
                    <a:lnTo>
                      <a:pt x="156" y="20"/>
                    </a:lnTo>
                    <a:lnTo>
                      <a:pt x="160" y="20"/>
                    </a:lnTo>
                    <a:lnTo>
                      <a:pt x="160" y="16"/>
                    </a:lnTo>
                    <a:lnTo>
                      <a:pt x="160" y="12"/>
                    </a:lnTo>
                    <a:lnTo>
                      <a:pt x="164" y="12"/>
                    </a:lnTo>
                    <a:lnTo>
                      <a:pt x="164" y="8"/>
                    </a:lnTo>
                    <a:lnTo>
                      <a:pt x="164" y="12"/>
                    </a:lnTo>
                    <a:lnTo>
                      <a:pt x="168" y="12"/>
                    </a:lnTo>
                    <a:lnTo>
                      <a:pt x="172" y="12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4"/>
                    </a:lnTo>
                    <a:lnTo>
                      <a:pt x="184" y="4"/>
                    </a:lnTo>
                    <a:lnTo>
                      <a:pt x="188" y="4"/>
                    </a:lnTo>
                    <a:lnTo>
                      <a:pt x="192" y="8"/>
                    </a:lnTo>
                    <a:lnTo>
                      <a:pt x="196" y="8"/>
                    </a:lnTo>
                    <a:lnTo>
                      <a:pt x="200" y="8"/>
                    </a:lnTo>
                    <a:lnTo>
                      <a:pt x="200" y="4"/>
                    </a:lnTo>
                    <a:lnTo>
                      <a:pt x="200" y="0"/>
                    </a:lnTo>
                    <a:lnTo>
                      <a:pt x="204" y="0"/>
                    </a:lnTo>
                    <a:lnTo>
                      <a:pt x="208" y="0"/>
                    </a:lnTo>
                    <a:lnTo>
                      <a:pt x="208" y="4"/>
                    </a:lnTo>
                    <a:lnTo>
                      <a:pt x="212" y="4"/>
                    </a:lnTo>
                    <a:lnTo>
                      <a:pt x="212" y="0"/>
                    </a:lnTo>
                    <a:lnTo>
                      <a:pt x="212" y="4"/>
                    </a:lnTo>
                    <a:lnTo>
                      <a:pt x="216" y="4"/>
                    </a:lnTo>
                    <a:lnTo>
                      <a:pt x="220" y="4"/>
                    </a:lnTo>
                    <a:lnTo>
                      <a:pt x="224" y="4"/>
                    </a:lnTo>
                    <a:lnTo>
                      <a:pt x="228" y="4"/>
                    </a:lnTo>
                    <a:lnTo>
                      <a:pt x="232" y="4"/>
                    </a:lnTo>
                    <a:lnTo>
                      <a:pt x="232" y="8"/>
                    </a:lnTo>
                    <a:lnTo>
                      <a:pt x="236" y="8"/>
                    </a:lnTo>
                    <a:lnTo>
                      <a:pt x="236" y="12"/>
                    </a:lnTo>
                    <a:lnTo>
                      <a:pt x="240" y="16"/>
                    </a:lnTo>
                    <a:lnTo>
                      <a:pt x="243" y="16"/>
                    </a:lnTo>
                    <a:lnTo>
                      <a:pt x="243" y="20"/>
                    </a:lnTo>
                    <a:lnTo>
                      <a:pt x="247" y="20"/>
                    </a:lnTo>
                    <a:lnTo>
                      <a:pt x="247" y="16"/>
                    </a:lnTo>
                    <a:lnTo>
                      <a:pt x="251" y="16"/>
                    </a:lnTo>
                    <a:lnTo>
                      <a:pt x="255" y="16"/>
                    </a:lnTo>
                    <a:lnTo>
                      <a:pt x="259" y="16"/>
                    </a:lnTo>
                    <a:lnTo>
                      <a:pt x="259" y="20"/>
                    </a:lnTo>
                    <a:lnTo>
                      <a:pt x="259" y="16"/>
                    </a:lnTo>
                    <a:lnTo>
                      <a:pt x="263" y="16"/>
                    </a:lnTo>
                    <a:lnTo>
                      <a:pt x="263" y="12"/>
                    </a:lnTo>
                    <a:lnTo>
                      <a:pt x="267" y="12"/>
                    </a:lnTo>
                    <a:lnTo>
                      <a:pt x="267" y="16"/>
                    </a:lnTo>
                    <a:lnTo>
                      <a:pt x="267" y="20"/>
                    </a:lnTo>
                    <a:lnTo>
                      <a:pt x="271" y="20"/>
                    </a:lnTo>
                    <a:lnTo>
                      <a:pt x="271" y="24"/>
                    </a:lnTo>
                    <a:lnTo>
                      <a:pt x="275" y="24"/>
                    </a:lnTo>
                    <a:lnTo>
                      <a:pt x="275" y="28"/>
                    </a:lnTo>
                    <a:lnTo>
                      <a:pt x="279" y="28"/>
                    </a:lnTo>
                    <a:lnTo>
                      <a:pt x="279" y="32"/>
                    </a:lnTo>
                    <a:lnTo>
                      <a:pt x="283" y="32"/>
                    </a:lnTo>
                    <a:lnTo>
                      <a:pt x="283" y="36"/>
                    </a:lnTo>
                    <a:lnTo>
                      <a:pt x="283" y="40"/>
                    </a:lnTo>
                    <a:lnTo>
                      <a:pt x="283" y="44"/>
                    </a:lnTo>
                    <a:lnTo>
                      <a:pt x="283" y="48"/>
                    </a:lnTo>
                    <a:lnTo>
                      <a:pt x="283" y="52"/>
                    </a:lnTo>
                    <a:lnTo>
                      <a:pt x="283" y="56"/>
                    </a:lnTo>
                    <a:lnTo>
                      <a:pt x="287" y="52"/>
                    </a:lnTo>
                    <a:lnTo>
                      <a:pt x="287" y="56"/>
                    </a:lnTo>
                    <a:lnTo>
                      <a:pt x="291" y="60"/>
                    </a:lnTo>
                    <a:lnTo>
                      <a:pt x="287" y="60"/>
                    </a:lnTo>
                    <a:lnTo>
                      <a:pt x="287" y="64"/>
                    </a:lnTo>
                    <a:lnTo>
                      <a:pt x="283" y="68"/>
                    </a:lnTo>
                    <a:lnTo>
                      <a:pt x="279" y="72"/>
                    </a:lnTo>
                    <a:lnTo>
                      <a:pt x="279" y="76"/>
                    </a:lnTo>
                    <a:lnTo>
                      <a:pt x="275" y="76"/>
                    </a:lnTo>
                    <a:lnTo>
                      <a:pt x="275" y="80"/>
                    </a:lnTo>
                    <a:lnTo>
                      <a:pt x="271" y="80"/>
                    </a:lnTo>
                    <a:lnTo>
                      <a:pt x="271" y="84"/>
                    </a:lnTo>
                    <a:lnTo>
                      <a:pt x="271" y="88"/>
                    </a:lnTo>
                    <a:lnTo>
                      <a:pt x="271" y="92"/>
                    </a:lnTo>
                    <a:lnTo>
                      <a:pt x="267" y="92"/>
                    </a:lnTo>
                    <a:lnTo>
                      <a:pt x="267" y="96"/>
                    </a:lnTo>
                    <a:lnTo>
                      <a:pt x="267" y="100"/>
                    </a:lnTo>
                    <a:lnTo>
                      <a:pt x="267" y="104"/>
                    </a:lnTo>
                    <a:lnTo>
                      <a:pt x="267" y="108"/>
                    </a:lnTo>
                    <a:lnTo>
                      <a:pt x="263" y="108"/>
                    </a:lnTo>
                    <a:lnTo>
                      <a:pt x="263" y="112"/>
                    </a:lnTo>
                    <a:lnTo>
                      <a:pt x="263" y="116"/>
                    </a:lnTo>
                    <a:lnTo>
                      <a:pt x="263" y="120"/>
                    </a:lnTo>
                    <a:lnTo>
                      <a:pt x="263" y="124"/>
                    </a:lnTo>
                    <a:lnTo>
                      <a:pt x="259" y="124"/>
                    </a:lnTo>
                    <a:lnTo>
                      <a:pt x="259" y="128"/>
                    </a:lnTo>
                    <a:lnTo>
                      <a:pt x="259" y="132"/>
                    </a:lnTo>
                    <a:lnTo>
                      <a:pt x="259" y="136"/>
                    </a:lnTo>
                    <a:lnTo>
                      <a:pt x="259" y="140"/>
                    </a:lnTo>
                    <a:lnTo>
                      <a:pt x="255" y="140"/>
                    </a:lnTo>
                    <a:lnTo>
                      <a:pt x="255" y="144"/>
                    </a:lnTo>
                    <a:lnTo>
                      <a:pt x="255" y="148"/>
                    </a:lnTo>
                    <a:lnTo>
                      <a:pt x="259" y="152"/>
                    </a:lnTo>
                    <a:lnTo>
                      <a:pt x="259" y="155"/>
                    </a:lnTo>
                    <a:lnTo>
                      <a:pt x="259" y="159"/>
                    </a:lnTo>
                    <a:lnTo>
                      <a:pt x="259" y="163"/>
                    </a:lnTo>
                    <a:lnTo>
                      <a:pt x="259" y="167"/>
                    </a:lnTo>
                    <a:lnTo>
                      <a:pt x="259" y="171"/>
                    </a:lnTo>
                    <a:lnTo>
                      <a:pt x="263" y="175"/>
                    </a:lnTo>
                    <a:lnTo>
                      <a:pt x="263" y="179"/>
                    </a:lnTo>
                    <a:lnTo>
                      <a:pt x="263" y="183"/>
                    </a:lnTo>
                    <a:lnTo>
                      <a:pt x="259" y="183"/>
                    </a:lnTo>
                    <a:lnTo>
                      <a:pt x="259" y="187"/>
                    </a:lnTo>
                    <a:lnTo>
                      <a:pt x="259" y="191"/>
                    </a:lnTo>
                    <a:lnTo>
                      <a:pt x="263" y="191"/>
                    </a:lnTo>
                    <a:lnTo>
                      <a:pt x="263" y="195"/>
                    </a:lnTo>
                    <a:lnTo>
                      <a:pt x="263" y="199"/>
                    </a:lnTo>
                    <a:lnTo>
                      <a:pt x="263" y="203"/>
                    </a:lnTo>
                    <a:lnTo>
                      <a:pt x="263" y="207"/>
                    </a:lnTo>
                    <a:lnTo>
                      <a:pt x="263" y="211"/>
                    </a:lnTo>
                    <a:lnTo>
                      <a:pt x="263" y="215"/>
                    </a:lnTo>
                    <a:lnTo>
                      <a:pt x="267" y="219"/>
                    </a:lnTo>
                    <a:lnTo>
                      <a:pt x="271" y="223"/>
                    </a:lnTo>
                    <a:lnTo>
                      <a:pt x="275" y="223"/>
                    </a:lnTo>
                    <a:lnTo>
                      <a:pt x="275" y="227"/>
                    </a:lnTo>
                    <a:lnTo>
                      <a:pt x="275" y="231"/>
                    </a:lnTo>
                    <a:lnTo>
                      <a:pt x="275" y="235"/>
                    </a:lnTo>
                    <a:lnTo>
                      <a:pt x="279" y="235"/>
                    </a:lnTo>
                    <a:lnTo>
                      <a:pt x="279" y="239"/>
                    </a:lnTo>
                    <a:lnTo>
                      <a:pt x="279" y="243"/>
                    </a:lnTo>
                    <a:lnTo>
                      <a:pt x="283" y="243"/>
                    </a:lnTo>
                    <a:lnTo>
                      <a:pt x="283" y="247"/>
                    </a:lnTo>
                    <a:lnTo>
                      <a:pt x="279" y="247"/>
                    </a:lnTo>
                    <a:lnTo>
                      <a:pt x="275" y="247"/>
                    </a:lnTo>
                    <a:lnTo>
                      <a:pt x="271" y="251"/>
                    </a:lnTo>
                    <a:lnTo>
                      <a:pt x="263" y="251"/>
                    </a:lnTo>
                    <a:lnTo>
                      <a:pt x="259" y="251"/>
                    </a:lnTo>
                    <a:lnTo>
                      <a:pt x="255" y="251"/>
                    </a:lnTo>
                    <a:lnTo>
                      <a:pt x="255" y="255"/>
                    </a:lnTo>
                    <a:lnTo>
                      <a:pt x="255" y="259"/>
                    </a:lnTo>
                    <a:lnTo>
                      <a:pt x="251" y="259"/>
                    </a:lnTo>
                    <a:lnTo>
                      <a:pt x="251" y="263"/>
                    </a:lnTo>
                    <a:lnTo>
                      <a:pt x="247" y="267"/>
                    </a:lnTo>
                    <a:lnTo>
                      <a:pt x="247" y="271"/>
                    </a:lnTo>
                    <a:lnTo>
                      <a:pt x="251" y="275"/>
                    </a:lnTo>
                    <a:lnTo>
                      <a:pt x="251" y="279"/>
                    </a:lnTo>
                    <a:lnTo>
                      <a:pt x="251" y="283"/>
                    </a:lnTo>
                    <a:lnTo>
                      <a:pt x="251" y="287"/>
                    </a:lnTo>
                    <a:lnTo>
                      <a:pt x="251" y="291"/>
                    </a:lnTo>
                    <a:lnTo>
                      <a:pt x="251" y="295"/>
                    </a:lnTo>
                    <a:lnTo>
                      <a:pt x="247" y="295"/>
                    </a:lnTo>
                    <a:lnTo>
                      <a:pt x="247" y="299"/>
                    </a:lnTo>
                    <a:lnTo>
                      <a:pt x="247" y="303"/>
                    </a:lnTo>
                    <a:lnTo>
                      <a:pt x="247" y="307"/>
                    </a:lnTo>
                    <a:lnTo>
                      <a:pt x="247" y="311"/>
                    </a:lnTo>
                    <a:lnTo>
                      <a:pt x="247" y="315"/>
                    </a:lnTo>
                    <a:lnTo>
                      <a:pt x="251" y="315"/>
                    </a:lnTo>
                    <a:lnTo>
                      <a:pt x="251" y="319"/>
                    </a:lnTo>
                    <a:lnTo>
                      <a:pt x="255" y="323"/>
                    </a:lnTo>
                    <a:lnTo>
                      <a:pt x="259" y="323"/>
                    </a:lnTo>
                    <a:lnTo>
                      <a:pt x="263" y="327"/>
                    </a:lnTo>
                    <a:lnTo>
                      <a:pt x="263" y="323"/>
                    </a:lnTo>
                    <a:lnTo>
                      <a:pt x="267" y="319"/>
                    </a:lnTo>
                    <a:lnTo>
                      <a:pt x="267" y="323"/>
                    </a:lnTo>
                    <a:lnTo>
                      <a:pt x="267" y="327"/>
                    </a:lnTo>
                    <a:lnTo>
                      <a:pt x="267" y="331"/>
                    </a:lnTo>
                    <a:lnTo>
                      <a:pt x="267" y="339"/>
                    </a:lnTo>
                    <a:lnTo>
                      <a:pt x="267" y="343"/>
                    </a:lnTo>
                    <a:lnTo>
                      <a:pt x="263" y="343"/>
                    </a:lnTo>
                    <a:lnTo>
                      <a:pt x="267" y="343"/>
                    </a:lnTo>
                    <a:lnTo>
                      <a:pt x="263" y="339"/>
                    </a:lnTo>
                    <a:lnTo>
                      <a:pt x="263" y="343"/>
                    </a:lnTo>
                    <a:lnTo>
                      <a:pt x="259" y="343"/>
                    </a:lnTo>
                    <a:lnTo>
                      <a:pt x="255" y="343"/>
                    </a:lnTo>
                    <a:lnTo>
                      <a:pt x="255" y="339"/>
                    </a:lnTo>
                    <a:lnTo>
                      <a:pt x="251" y="335"/>
                    </a:lnTo>
                    <a:lnTo>
                      <a:pt x="247" y="335"/>
                    </a:lnTo>
                    <a:lnTo>
                      <a:pt x="247" y="331"/>
                    </a:lnTo>
                    <a:lnTo>
                      <a:pt x="247" y="327"/>
                    </a:lnTo>
                    <a:lnTo>
                      <a:pt x="243" y="327"/>
                    </a:lnTo>
                    <a:lnTo>
                      <a:pt x="240" y="323"/>
                    </a:lnTo>
                    <a:lnTo>
                      <a:pt x="236" y="323"/>
                    </a:lnTo>
                    <a:lnTo>
                      <a:pt x="232" y="319"/>
                    </a:lnTo>
                    <a:lnTo>
                      <a:pt x="232" y="315"/>
                    </a:lnTo>
                    <a:lnTo>
                      <a:pt x="228" y="315"/>
                    </a:lnTo>
                    <a:lnTo>
                      <a:pt x="228" y="311"/>
                    </a:lnTo>
                    <a:lnTo>
                      <a:pt x="224" y="315"/>
                    </a:lnTo>
                    <a:lnTo>
                      <a:pt x="224" y="319"/>
                    </a:lnTo>
                    <a:lnTo>
                      <a:pt x="220" y="319"/>
                    </a:lnTo>
                    <a:lnTo>
                      <a:pt x="216" y="315"/>
                    </a:lnTo>
                    <a:lnTo>
                      <a:pt x="212" y="315"/>
                    </a:lnTo>
                    <a:lnTo>
                      <a:pt x="208" y="315"/>
                    </a:lnTo>
                    <a:lnTo>
                      <a:pt x="204" y="311"/>
                    </a:lnTo>
                    <a:lnTo>
                      <a:pt x="200" y="311"/>
                    </a:lnTo>
                    <a:lnTo>
                      <a:pt x="200" y="307"/>
                    </a:lnTo>
                    <a:lnTo>
                      <a:pt x="200" y="303"/>
                    </a:lnTo>
                    <a:lnTo>
                      <a:pt x="196" y="303"/>
                    </a:lnTo>
                    <a:lnTo>
                      <a:pt x="192" y="307"/>
                    </a:lnTo>
                    <a:lnTo>
                      <a:pt x="188" y="307"/>
                    </a:lnTo>
                    <a:lnTo>
                      <a:pt x="184" y="307"/>
                    </a:lnTo>
                    <a:lnTo>
                      <a:pt x="188" y="303"/>
                    </a:lnTo>
                    <a:lnTo>
                      <a:pt x="188" y="299"/>
                    </a:lnTo>
                    <a:lnTo>
                      <a:pt x="184" y="299"/>
                    </a:lnTo>
                    <a:lnTo>
                      <a:pt x="180" y="299"/>
                    </a:lnTo>
                    <a:lnTo>
                      <a:pt x="180" y="295"/>
                    </a:lnTo>
                    <a:lnTo>
                      <a:pt x="180" y="299"/>
                    </a:lnTo>
                    <a:lnTo>
                      <a:pt x="176" y="299"/>
                    </a:lnTo>
                    <a:lnTo>
                      <a:pt x="172" y="299"/>
                    </a:lnTo>
                    <a:lnTo>
                      <a:pt x="168" y="299"/>
                    </a:lnTo>
                    <a:lnTo>
                      <a:pt x="164" y="299"/>
                    </a:lnTo>
                    <a:lnTo>
                      <a:pt x="160" y="299"/>
                    </a:lnTo>
                    <a:lnTo>
                      <a:pt x="156" y="299"/>
                    </a:lnTo>
                    <a:lnTo>
                      <a:pt x="156" y="303"/>
                    </a:lnTo>
                    <a:lnTo>
                      <a:pt x="152" y="303"/>
                    </a:lnTo>
                    <a:lnTo>
                      <a:pt x="152" y="299"/>
                    </a:lnTo>
                    <a:lnTo>
                      <a:pt x="152" y="295"/>
                    </a:lnTo>
                    <a:lnTo>
                      <a:pt x="156" y="295"/>
                    </a:lnTo>
                    <a:lnTo>
                      <a:pt x="156" y="291"/>
                    </a:lnTo>
                    <a:lnTo>
                      <a:pt x="156" y="287"/>
                    </a:lnTo>
                    <a:lnTo>
                      <a:pt x="152" y="283"/>
                    </a:lnTo>
                    <a:lnTo>
                      <a:pt x="152" y="279"/>
                    </a:lnTo>
                    <a:lnTo>
                      <a:pt x="148" y="275"/>
                    </a:lnTo>
                    <a:lnTo>
                      <a:pt x="148" y="271"/>
                    </a:lnTo>
                    <a:lnTo>
                      <a:pt x="148" y="267"/>
                    </a:lnTo>
                    <a:lnTo>
                      <a:pt x="148" y="263"/>
                    </a:lnTo>
                    <a:lnTo>
                      <a:pt x="148" y="259"/>
                    </a:lnTo>
                    <a:lnTo>
                      <a:pt x="148" y="255"/>
                    </a:lnTo>
                    <a:lnTo>
                      <a:pt x="148" y="251"/>
                    </a:lnTo>
                    <a:lnTo>
                      <a:pt x="148" y="247"/>
                    </a:lnTo>
                    <a:lnTo>
                      <a:pt x="148" y="243"/>
                    </a:lnTo>
                    <a:lnTo>
                      <a:pt x="148" y="239"/>
                    </a:lnTo>
                    <a:lnTo>
                      <a:pt x="148" y="235"/>
                    </a:lnTo>
                    <a:lnTo>
                      <a:pt x="148" y="231"/>
                    </a:lnTo>
                    <a:lnTo>
                      <a:pt x="144" y="231"/>
                    </a:lnTo>
                    <a:lnTo>
                      <a:pt x="136" y="231"/>
                    </a:lnTo>
                    <a:lnTo>
                      <a:pt x="128" y="231"/>
                    </a:lnTo>
                    <a:lnTo>
                      <a:pt x="128" y="227"/>
                    </a:lnTo>
                    <a:lnTo>
                      <a:pt x="128" y="223"/>
                    </a:lnTo>
                    <a:lnTo>
                      <a:pt x="124" y="223"/>
                    </a:lnTo>
                    <a:lnTo>
                      <a:pt x="124" y="227"/>
                    </a:lnTo>
                    <a:lnTo>
                      <a:pt x="120" y="227"/>
                    </a:lnTo>
                    <a:lnTo>
                      <a:pt x="112" y="227"/>
                    </a:lnTo>
                    <a:lnTo>
                      <a:pt x="112" y="231"/>
                    </a:lnTo>
                    <a:lnTo>
                      <a:pt x="112" y="235"/>
                    </a:lnTo>
                    <a:lnTo>
                      <a:pt x="112" y="239"/>
                    </a:lnTo>
                    <a:lnTo>
                      <a:pt x="108" y="239"/>
                    </a:lnTo>
                    <a:lnTo>
                      <a:pt x="108" y="243"/>
                    </a:lnTo>
                    <a:lnTo>
                      <a:pt x="112" y="243"/>
                    </a:lnTo>
                    <a:lnTo>
                      <a:pt x="104" y="243"/>
                    </a:lnTo>
                    <a:lnTo>
                      <a:pt x="100" y="243"/>
                    </a:lnTo>
                    <a:lnTo>
                      <a:pt x="96" y="243"/>
                    </a:lnTo>
                    <a:lnTo>
                      <a:pt x="92" y="243"/>
                    </a:lnTo>
                    <a:lnTo>
                      <a:pt x="92" y="247"/>
                    </a:lnTo>
                    <a:lnTo>
                      <a:pt x="88" y="247"/>
                    </a:lnTo>
                    <a:lnTo>
                      <a:pt x="88" y="243"/>
                    </a:lnTo>
                    <a:lnTo>
                      <a:pt x="84" y="247"/>
                    </a:lnTo>
                    <a:lnTo>
                      <a:pt x="84" y="243"/>
                    </a:lnTo>
                    <a:lnTo>
                      <a:pt x="80" y="243"/>
                    </a:lnTo>
                    <a:lnTo>
                      <a:pt x="80" y="239"/>
                    </a:lnTo>
                    <a:lnTo>
                      <a:pt x="76" y="235"/>
                    </a:lnTo>
                    <a:lnTo>
                      <a:pt x="76" y="231"/>
                    </a:lnTo>
                    <a:lnTo>
                      <a:pt x="72" y="231"/>
                    </a:lnTo>
                    <a:lnTo>
                      <a:pt x="72" y="227"/>
                    </a:lnTo>
                    <a:lnTo>
                      <a:pt x="72" y="223"/>
                    </a:lnTo>
                    <a:lnTo>
                      <a:pt x="72" y="219"/>
                    </a:lnTo>
                    <a:lnTo>
                      <a:pt x="68" y="215"/>
                    </a:lnTo>
                    <a:lnTo>
                      <a:pt x="68" y="211"/>
                    </a:lnTo>
                    <a:lnTo>
                      <a:pt x="68" y="207"/>
                    </a:lnTo>
                    <a:lnTo>
                      <a:pt x="68" y="203"/>
                    </a:lnTo>
                    <a:lnTo>
                      <a:pt x="64" y="203"/>
                    </a:lnTo>
                    <a:lnTo>
                      <a:pt x="60" y="203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0" name="Freeform 130">
                <a:extLst>
                  <a:ext uri="{FF2B5EF4-FFF2-40B4-BE49-F238E27FC236}">
                    <a16:creationId xmlns:a16="http://schemas.microsoft.com/office/drawing/2014/main" id="{76D96EE2-F98F-4BAC-B146-5033DDA1932B}"/>
                  </a:ext>
                </a:extLst>
              </p:cNvPr>
              <p:cNvSpPr>
                <a:spLocks noEditPoints="1"/>
              </p:cNvSpPr>
              <p:nvPr>
                <p:custDataLst>
                  <p:tags r:id="rId50"/>
                </p:custDataLst>
              </p:nvPr>
            </p:nvSpPr>
            <p:spPr bwMode="gray">
              <a:xfrm>
                <a:off x="3626624" y="5716063"/>
                <a:ext cx="121018" cy="151272"/>
              </a:xfrm>
              <a:custGeom>
                <a:avLst/>
                <a:gdLst/>
                <a:ahLst/>
                <a:cxnLst>
                  <a:cxn ang="0">
                    <a:pos x="48" y="104"/>
                  </a:cxn>
                  <a:cxn ang="0">
                    <a:pos x="56" y="104"/>
                  </a:cxn>
                  <a:cxn ang="0">
                    <a:pos x="48" y="104"/>
                  </a:cxn>
                  <a:cxn ang="0">
                    <a:pos x="36" y="108"/>
                  </a:cxn>
                  <a:cxn ang="0">
                    <a:pos x="32" y="112"/>
                  </a:cxn>
                  <a:cxn ang="0">
                    <a:pos x="24" y="116"/>
                  </a:cxn>
                  <a:cxn ang="0">
                    <a:pos x="20" y="120"/>
                  </a:cxn>
                  <a:cxn ang="0">
                    <a:pos x="16" y="112"/>
                  </a:cxn>
                  <a:cxn ang="0">
                    <a:pos x="20" y="100"/>
                  </a:cxn>
                  <a:cxn ang="0">
                    <a:pos x="20" y="92"/>
                  </a:cxn>
                  <a:cxn ang="0">
                    <a:pos x="16" y="88"/>
                  </a:cxn>
                  <a:cxn ang="0">
                    <a:pos x="12" y="84"/>
                  </a:cxn>
                  <a:cxn ang="0">
                    <a:pos x="0" y="80"/>
                  </a:cxn>
                  <a:cxn ang="0">
                    <a:pos x="4" y="76"/>
                  </a:cxn>
                  <a:cxn ang="0">
                    <a:pos x="4" y="72"/>
                  </a:cxn>
                  <a:cxn ang="0">
                    <a:pos x="4" y="60"/>
                  </a:cxn>
                  <a:cxn ang="0">
                    <a:pos x="8" y="60"/>
                  </a:cxn>
                  <a:cxn ang="0">
                    <a:pos x="8" y="52"/>
                  </a:cxn>
                  <a:cxn ang="0">
                    <a:pos x="8" y="48"/>
                  </a:cxn>
                  <a:cxn ang="0">
                    <a:pos x="12" y="40"/>
                  </a:cxn>
                  <a:cxn ang="0">
                    <a:pos x="16" y="44"/>
                  </a:cxn>
                  <a:cxn ang="0">
                    <a:pos x="12" y="36"/>
                  </a:cxn>
                  <a:cxn ang="0">
                    <a:pos x="16" y="32"/>
                  </a:cxn>
                  <a:cxn ang="0">
                    <a:pos x="8" y="24"/>
                  </a:cxn>
                  <a:cxn ang="0">
                    <a:pos x="8" y="16"/>
                  </a:cxn>
                  <a:cxn ang="0">
                    <a:pos x="8" y="12"/>
                  </a:cxn>
                  <a:cxn ang="0">
                    <a:pos x="12" y="8"/>
                  </a:cxn>
                  <a:cxn ang="0">
                    <a:pos x="20" y="8"/>
                  </a:cxn>
                  <a:cxn ang="0">
                    <a:pos x="24" y="12"/>
                  </a:cxn>
                  <a:cxn ang="0">
                    <a:pos x="32" y="8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40" y="8"/>
                  </a:cxn>
                  <a:cxn ang="0">
                    <a:pos x="40" y="12"/>
                  </a:cxn>
                  <a:cxn ang="0">
                    <a:pos x="44" y="8"/>
                  </a:cxn>
                  <a:cxn ang="0">
                    <a:pos x="52" y="8"/>
                  </a:cxn>
                  <a:cxn ang="0">
                    <a:pos x="60" y="16"/>
                  </a:cxn>
                  <a:cxn ang="0">
                    <a:pos x="64" y="20"/>
                  </a:cxn>
                  <a:cxn ang="0">
                    <a:pos x="72" y="16"/>
                  </a:cxn>
                  <a:cxn ang="0">
                    <a:pos x="80" y="16"/>
                  </a:cxn>
                  <a:cxn ang="0">
                    <a:pos x="88" y="24"/>
                  </a:cxn>
                  <a:cxn ang="0">
                    <a:pos x="92" y="28"/>
                  </a:cxn>
                  <a:cxn ang="0">
                    <a:pos x="92" y="36"/>
                  </a:cxn>
                  <a:cxn ang="0">
                    <a:pos x="92" y="48"/>
                  </a:cxn>
                  <a:cxn ang="0">
                    <a:pos x="88" y="64"/>
                  </a:cxn>
                  <a:cxn ang="0">
                    <a:pos x="84" y="76"/>
                  </a:cxn>
                  <a:cxn ang="0">
                    <a:pos x="84" y="84"/>
                  </a:cxn>
                  <a:cxn ang="0">
                    <a:pos x="88" y="96"/>
                  </a:cxn>
                  <a:cxn ang="0">
                    <a:pos x="92" y="104"/>
                  </a:cxn>
                  <a:cxn ang="0">
                    <a:pos x="88" y="104"/>
                  </a:cxn>
                  <a:cxn ang="0">
                    <a:pos x="84" y="100"/>
                  </a:cxn>
                  <a:cxn ang="0">
                    <a:pos x="80" y="104"/>
                  </a:cxn>
                  <a:cxn ang="0">
                    <a:pos x="76" y="104"/>
                  </a:cxn>
                  <a:cxn ang="0">
                    <a:pos x="76" y="100"/>
                  </a:cxn>
                  <a:cxn ang="0">
                    <a:pos x="76" y="100"/>
                  </a:cxn>
                  <a:cxn ang="0">
                    <a:pos x="64" y="100"/>
                  </a:cxn>
                  <a:cxn ang="0">
                    <a:pos x="64" y="104"/>
                  </a:cxn>
                  <a:cxn ang="0">
                    <a:pos x="68" y="100"/>
                  </a:cxn>
                  <a:cxn ang="0">
                    <a:pos x="60" y="104"/>
                  </a:cxn>
                  <a:cxn ang="0">
                    <a:pos x="56" y="104"/>
                  </a:cxn>
                  <a:cxn ang="0">
                    <a:pos x="52" y="104"/>
                  </a:cxn>
                  <a:cxn ang="0">
                    <a:pos x="84" y="104"/>
                  </a:cxn>
                </a:cxnLst>
                <a:rect l="0" t="0" r="r" b="b"/>
                <a:pathLst>
                  <a:path w="96" h="120">
                    <a:moveTo>
                      <a:pt x="52" y="104"/>
                    </a:move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48" y="104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20" y="120"/>
                    </a:lnTo>
                    <a:lnTo>
                      <a:pt x="20" y="120"/>
                    </a:lnTo>
                    <a:lnTo>
                      <a:pt x="20" y="120"/>
                    </a:lnTo>
                    <a:lnTo>
                      <a:pt x="20" y="120"/>
                    </a:lnTo>
                    <a:lnTo>
                      <a:pt x="16" y="120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16" y="112"/>
                    </a:lnTo>
                    <a:lnTo>
                      <a:pt x="16" y="112"/>
                    </a:lnTo>
                    <a:lnTo>
                      <a:pt x="16" y="112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8"/>
                    </a:lnTo>
                    <a:lnTo>
                      <a:pt x="16" y="104"/>
                    </a:lnTo>
                    <a:lnTo>
                      <a:pt x="20" y="104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100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16" y="92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12" y="40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6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12"/>
                    </a:lnTo>
                    <a:lnTo>
                      <a:pt x="56" y="16"/>
                    </a:lnTo>
                    <a:lnTo>
                      <a:pt x="60" y="16"/>
                    </a:lnTo>
                    <a:lnTo>
                      <a:pt x="60" y="16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2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4" y="16"/>
                    </a:lnTo>
                    <a:lnTo>
                      <a:pt x="84" y="16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8" y="20"/>
                    </a:lnTo>
                    <a:lnTo>
                      <a:pt x="88" y="24"/>
                    </a:lnTo>
                    <a:lnTo>
                      <a:pt x="88" y="24"/>
                    </a:lnTo>
                    <a:lnTo>
                      <a:pt x="88" y="24"/>
                    </a:lnTo>
                    <a:lnTo>
                      <a:pt x="88" y="24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24"/>
                    </a:lnTo>
                    <a:lnTo>
                      <a:pt x="92" y="28"/>
                    </a:lnTo>
                    <a:lnTo>
                      <a:pt x="92" y="28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92" y="32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92" y="36"/>
                    </a:lnTo>
                    <a:lnTo>
                      <a:pt x="92" y="40"/>
                    </a:lnTo>
                    <a:lnTo>
                      <a:pt x="92" y="40"/>
                    </a:lnTo>
                    <a:lnTo>
                      <a:pt x="96" y="48"/>
                    </a:lnTo>
                    <a:lnTo>
                      <a:pt x="96" y="48"/>
                    </a:lnTo>
                    <a:lnTo>
                      <a:pt x="92" y="48"/>
                    </a:lnTo>
                    <a:lnTo>
                      <a:pt x="92" y="48"/>
                    </a:lnTo>
                    <a:lnTo>
                      <a:pt x="92" y="52"/>
                    </a:lnTo>
                    <a:lnTo>
                      <a:pt x="88" y="52"/>
                    </a:lnTo>
                    <a:lnTo>
                      <a:pt x="88" y="52"/>
                    </a:lnTo>
                    <a:lnTo>
                      <a:pt x="88" y="56"/>
                    </a:lnTo>
                    <a:lnTo>
                      <a:pt x="88" y="56"/>
                    </a:lnTo>
                    <a:lnTo>
                      <a:pt x="88" y="60"/>
                    </a:lnTo>
                    <a:lnTo>
                      <a:pt x="88" y="60"/>
                    </a:lnTo>
                    <a:lnTo>
                      <a:pt x="88" y="64"/>
                    </a:lnTo>
                    <a:lnTo>
                      <a:pt x="88" y="68"/>
                    </a:lnTo>
                    <a:lnTo>
                      <a:pt x="84" y="68"/>
                    </a:lnTo>
                    <a:lnTo>
                      <a:pt x="84" y="68"/>
                    </a:lnTo>
                    <a:lnTo>
                      <a:pt x="84" y="72"/>
                    </a:lnTo>
                    <a:lnTo>
                      <a:pt x="84" y="76"/>
                    </a:lnTo>
                    <a:lnTo>
                      <a:pt x="84" y="76"/>
                    </a:lnTo>
                    <a:lnTo>
                      <a:pt x="84" y="76"/>
                    </a:lnTo>
                    <a:lnTo>
                      <a:pt x="84" y="76"/>
                    </a:lnTo>
                    <a:lnTo>
                      <a:pt x="84" y="76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8" y="92"/>
                    </a:lnTo>
                    <a:lnTo>
                      <a:pt x="88" y="92"/>
                    </a:lnTo>
                    <a:lnTo>
                      <a:pt x="88" y="96"/>
                    </a:lnTo>
                    <a:lnTo>
                      <a:pt x="88" y="96"/>
                    </a:lnTo>
                    <a:lnTo>
                      <a:pt x="88" y="96"/>
                    </a:lnTo>
                    <a:lnTo>
                      <a:pt x="88" y="96"/>
                    </a:lnTo>
                    <a:lnTo>
                      <a:pt x="88" y="96"/>
                    </a:lnTo>
                    <a:lnTo>
                      <a:pt x="88" y="96"/>
                    </a:lnTo>
                    <a:lnTo>
                      <a:pt x="92" y="96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8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0" y="104"/>
                    </a:lnTo>
                    <a:lnTo>
                      <a:pt x="80" y="104"/>
                    </a:lnTo>
                    <a:lnTo>
                      <a:pt x="80" y="104"/>
                    </a:lnTo>
                    <a:lnTo>
                      <a:pt x="80" y="104"/>
                    </a:lnTo>
                    <a:lnTo>
                      <a:pt x="80" y="104"/>
                    </a:lnTo>
                    <a:lnTo>
                      <a:pt x="80" y="104"/>
                    </a:lnTo>
                    <a:lnTo>
                      <a:pt x="80" y="104"/>
                    </a:lnTo>
                    <a:lnTo>
                      <a:pt x="76" y="104"/>
                    </a:lnTo>
                    <a:lnTo>
                      <a:pt x="76" y="104"/>
                    </a:lnTo>
                    <a:lnTo>
                      <a:pt x="76" y="104"/>
                    </a:lnTo>
                    <a:lnTo>
                      <a:pt x="72" y="104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6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72" y="100"/>
                    </a:lnTo>
                    <a:lnTo>
                      <a:pt x="68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4" y="104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68" y="100"/>
                    </a:lnTo>
                    <a:lnTo>
                      <a:pt x="72" y="100"/>
                    </a:lnTo>
                    <a:lnTo>
                      <a:pt x="72" y="104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8" y="104"/>
                    </a:lnTo>
                    <a:lnTo>
                      <a:pt x="64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close/>
                    <a:moveTo>
                      <a:pt x="84" y="104"/>
                    </a:move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lnTo>
                      <a:pt x="84" y="10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1" name="Freeform 131">
                <a:extLst>
                  <a:ext uri="{FF2B5EF4-FFF2-40B4-BE49-F238E27FC236}">
                    <a16:creationId xmlns:a16="http://schemas.microsoft.com/office/drawing/2014/main" id="{F73A5167-810A-4959-9095-74C21C85BB75}"/>
                  </a:ext>
                </a:extLst>
              </p:cNvPr>
              <p:cNvSpPr>
                <a:spLocks/>
              </p:cNvSpPr>
              <p:nvPr>
                <p:custDataLst>
                  <p:tags r:id="rId51"/>
                </p:custDataLst>
              </p:nvPr>
            </p:nvSpPr>
            <p:spPr bwMode="gray">
              <a:xfrm>
                <a:off x="4587204" y="5670681"/>
                <a:ext cx="35297" cy="40339"/>
              </a:xfrm>
              <a:custGeom>
                <a:avLst/>
                <a:gdLst/>
                <a:ahLst/>
                <a:cxnLst>
                  <a:cxn ang="0">
                    <a:pos x="24" y="4"/>
                  </a:cxn>
                  <a:cxn ang="0">
                    <a:pos x="28" y="8"/>
                  </a:cxn>
                  <a:cxn ang="0">
                    <a:pos x="28" y="12"/>
                  </a:cxn>
                  <a:cxn ang="0">
                    <a:pos x="28" y="12"/>
                  </a:cxn>
                  <a:cxn ang="0">
                    <a:pos x="24" y="12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20" y="16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16" y="2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24" y="20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4" y="28"/>
                  </a:cxn>
                  <a:cxn ang="0">
                    <a:pos x="20" y="32"/>
                  </a:cxn>
                  <a:cxn ang="0">
                    <a:pos x="20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12" y="32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4" y="28"/>
                  </a:cxn>
                  <a:cxn ang="0">
                    <a:pos x="4" y="28"/>
                  </a:cxn>
                  <a:cxn ang="0">
                    <a:pos x="0" y="24"/>
                  </a:cxn>
                  <a:cxn ang="0">
                    <a:pos x="4" y="20"/>
                  </a:cxn>
                  <a:cxn ang="0">
                    <a:pos x="4" y="16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8"/>
                  </a:cxn>
                  <a:cxn ang="0">
                    <a:pos x="12" y="8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20" y="0"/>
                  </a:cxn>
                  <a:cxn ang="0">
                    <a:pos x="24" y="0"/>
                  </a:cxn>
                  <a:cxn ang="0">
                    <a:pos x="24" y="4"/>
                  </a:cxn>
                  <a:cxn ang="0">
                    <a:pos x="24" y="4"/>
                  </a:cxn>
                </a:cxnLst>
                <a:rect l="0" t="0" r="r" b="b"/>
                <a:pathLst>
                  <a:path w="28" h="32">
                    <a:moveTo>
                      <a:pt x="24" y="4"/>
                    </a:moveTo>
                    <a:lnTo>
                      <a:pt x="24" y="4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8"/>
                    </a:lnTo>
                    <a:lnTo>
                      <a:pt x="20" y="28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2" name="Freeform 132">
                <a:extLst>
                  <a:ext uri="{FF2B5EF4-FFF2-40B4-BE49-F238E27FC236}">
                    <a16:creationId xmlns:a16="http://schemas.microsoft.com/office/drawing/2014/main" id="{E8CAC3FD-B66C-408E-82ED-BA2DA9F360CF}"/>
                  </a:ext>
                </a:extLst>
              </p:cNvPr>
              <p:cNvSpPr>
                <a:spLocks/>
              </p:cNvSpPr>
              <p:nvPr>
                <p:custDataLst>
                  <p:tags r:id="rId52"/>
                </p:custDataLst>
              </p:nvPr>
            </p:nvSpPr>
            <p:spPr bwMode="gray">
              <a:xfrm>
                <a:off x="4265750" y="5218124"/>
                <a:ext cx="230690" cy="231951"/>
              </a:xfrm>
              <a:custGeom>
                <a:avLst/>
                <a:gdLst/>
                <a:ahLst/>
                <a:cxnLst>
                  <a:cxn ang="0">
                    <a:pos x="115" y="8"/>
                  </a:cxn>
                  <a:cxn ang="0">
                    <a:pos x="127" y="12"/>
                  </a:cxn>
                  <a:cxn ang="0">
                    <a:pos x="139" y="8"/>
                  </a:cxn>
                  <a:cxn ang="0">
                    <a:pos x="147" y="20"/>
                  </a:cxn>
                  <a:cxn ang="0">
                    <a:pos x="151" y="36"/>
                  </a:cxn>
                  <a:cxn ang="0">
                    <a:pos x="151" y="52"/>
                  </a:cxn>
                  <a:cxn ang="0">
                    <a:pos x="147" y="68"/>
                  </a:cxn>
                  <a:cxn ang="0">
                    <a:pos x="139" y="72"/>
                  </a:cxn>
                  <a:cxn ang="0">
                    <a:pos x="131" y="64"/>
                  </a:cxn>
                  <a:cxn ang="0">
                    <a:pos x="123" y="48"/>
                  </a:cxn>
                  <a:cxn ang="0">
                    <a:pos x="119" y="32"/>
                  </a:cxn>
                  <a:cxn ang="0">
                    <a:pos x="119" y="44"/>
                  </a:cxn>
                  <a:cxn ang="0">
                    <a:pos x="123" y="56"/>
                  </a:cxn>
                  <a:cxn ang="0">
                    <a:pos x="131" y="68"/>
                  </a:cxn>
                  <a:cxn ang="0">
                    <a:pos x="131" y="76"/>
                  </a:cxn>
                  <a:cxn ang="0">
                    <a:pos x="135" y="88"/>
                  </a:cxn>
                  <a:cxn ang="0">
                    <a:pos x="143" y="104"/>
                  </a:cxn>
                  <a:cxn ang="0">
                    <a:pos x="151" y="120"/>
                  </a:cxn>
                  <a:cxn ang="0">
                    <a:pos x="155" y="132"/>
                  </a:cxn>
                  <a:cxn ang="0">
                    <a:pos x="163" y="144"/>
                  </a:cxn>
                  <a:cxn ang="0">
                    <a:pos x="163" y="152"/>
                  </a:cxn>
                  <a:cxn ang="0">
                    <a:pos x="163" y="168"/>
                  </a:cxn>
                  <a:cxn ang="0">
                    <a:pos x="175" y="176"/>
                  </a:cxn>
                  <a:cxn ang="0">
                    <a:pos x="183" y="184"/>
                  </a:cxn>
                  <a:cxn ang="0">
                    <a:pos x="167" y="184"/>
                  </a:cxn>
                  <a:cxn ang="0">
                    <a:pos x="151" y="184"/>
                  </a:cxn>
                  <a:cxn ang="0">
                    <a:pos x="131" y="184"/>
                  </a:cxn>
                  <a:cxn ang="0">
                    <a:pos x="107" y="184"/>
                  </a:cxn>
                  <a:cxn ang="0">
                    <a:pos x="99" y="180"/>
                  </a:cxn>
                  <a:cxn ang="0">
                    <a:pos x="87" y="184"/>
                  </a:cxn>
                  <a:cxn ang="0">
                    <a:pos x="67" y="184"/>
                  </a:cxn>
                  <a:cxn ang="0">
                    <a:pos x="44" y="184"/>
                  </a:cxn>
                  <a:cxn ang="0">
                    <a:pos x="28" y="184"/>
                  </a:cxn>
                  <a:cxn ang="0">
                    <a:pos x="4" y="184"/>
                  </a:cxn>
                  <a:cxn ang="0">
                    <a:pos x="4" y="140"/>
                  </a:cxn>
                  <a:cxn ang="0">
                    <a:pos x="4" y="108"/>
                  </a:cxn>
                  <a:cxn ang="0">
                    <a:pos x="4" y="88"/>
                  </a:cxn>
                  <a:cxn ang="0">
                    <a:pos x="4" y="68"/>
                  </a:cxn>
                  <a:cxn ang="0">
                    <a:pos x="4" y="44"/>
                  </a:cxn>
                  <a:cxn ang="0">
                    <a:pos x="0" y="28"/>
                  </a:cxn>
                  <a:cxn ang="0">
                    <a:pos x="4" y="12"/>
                  </a:cxn>
                  <a:cxn ang="0">
                    <a:pos x="4" y="0"/>
                  </a:cxn>
                  <a:cxn ang="0">
                    <a:pos x="20" y="0"/>
                  </a:cxn>
                  <a:cxn ang="0">
                    <a:pos x="32" y="4"/>
                  </a:cxn>
                  <a:cxn ang="0">
                    <a:pos x="44" y="8"/>
                  </a:cxn>
                  <a:cxn ang="0">
                    <a:pos x="59" y="12"/>
                  </a:cxn>
                  <a:cxn ang="0">
                    <a:pos x="75" y="12"/>
                  </a:cxn>
                  <a:cxn ang="0">
                    <a:pos x="79" y="8"/>
                  </a:cxn>
                  <a:cxn ang="0">
                    <a:pos x="83" y="4"/>
                  </a:cxn>
                  <a:cxn ang="0">
                    <a:pos x="91" y="4"/>
                  </a:cxn>
                  <a:cxn ang="0">
                    <a:pos x="95" y="0"/>
                  </a:cxn>
                  <a:cxn ang="0">
                    <a:pos x="107" y="4"/>
                  </a:cxn>
                  <a:cxn ang="0">
                    <a:pos x="107" y="4"/>
                  </a:cxn>
                  <a:cxn ang="0">
                    <a:pos x="111" y="12"/>
                  </a:cxn>
                </a:cxnLst>
                <a:rect l="0" t="0" r="r" b="b"/>
                <a:pathLst>
                  <a:path w="183" h="184">
                    <a:moveTo>
                      <a:pt x="111" y="8"/>
                    </a:moveTo>
                    <a:lnTo>
                      <a:pt x="115" y="8"/>
                    </a:lnTo>
                    <a:lnTo>
                      <a:pt x="111" y="8"/>
                    </a:lnTo>
                    <a:lnTo>
                      <a:pt x="115" y="8"/>
                    </a:lnTo>
                    <a:lnTo>
                      <a:pt x="119" y="12"/>
                    </a:lnTo>
                    <a:lnTo>
                      <a:pt x="123" y="8"/>
                    </a:lnTo>
                    <a:lnTo>
                      <a:pt x="127" y="8"/>
                    </a:lnTo>
                    <a:lnTo>
                      <a:pt x="127" y="12"/>
                    </a:lnTo>
                    <a:lnTo>
                      <a:pt x="127" y="8"/>
                    </a:lnTo>
                    <a:lnTo>
                      <a:pt x="131" y="8"/>
                    </a:lnTo>
                    <a:lnTo>
                      <a:pt x="135" y="8"/>
                    </a:lnTo>
                    <a:lnTo>
                      <a:pt x="139" y="8"/>
                    </a:lnTo>
                    <a:lnTo>
                      <a:pt x="143" y="4"/>
                    </a:lnTo>
                    <a:lnTo>
                      <a:pt x="143" y="8"/>
                    </a:lnTo>
                    <a:lnTo>
                      <a:pt x="147" y="16"/>
                    </a:lnTo>
                    <a:lnTo>
                      <a:pt x="147" y="20"/>
                    </a:lnTo>
                    <a:lnTo>
                      <a:pt x="147" y="24"/>
                    </a:lnTo>
                    <a:lnTo>
                      <a:pt x="151" y="28"/>
                    </a:lnTo>
                    <a:lnTo>
                      <a:pt x="151" y="32"/>
                    </a:lnTo>
                    <a:lnTo>
                      <a:pt x="151" y="36"/>
                    </a:lnTo>
                    <a:lnTo>
                      <a:pt x="151" y="40"/>
                    </a:lnTo>
                    <a:lnTo>
                      <a:pt x="151" y="44"/>
                    </a:lnTo>
                    <a:lnTo>
                      <a:pt x="151" y="48"/>
                    </a:lnTo>
                    <a:lnTo>
                      <a:pt x="151" y="52"/>
                    </a:lnTo>
                    <a:lnTo>
                      <a:pt x="147" y="56"/>
                    </a:lnTo>
                    <a:lnTo>
                      <a:pt x="147" y="60"/>
                    </a:lnTo>
                    <a:lnTo>
                      <a:pt x="147" y="64"/>
                    </a:lnTo>
                    <a:lnTo>
                      <a:pt x="147" y="68"/>
                    </a:lnTo>
                    <a:lnTo>
                      <a:pt x="147" y="72"/>
                    </a:lnTo>
                    <a:lnTo>
                      <a:pt x="143" y="72"/>
                    </a:lnTo>
                    <a:lnTo>
                      <a:pt x="143" y="76"/>
                    </a:lnTo>
                    <a:lnTo>
                      <a:pt x="139" y="72"/>
                    </a:lnTo>
                    <a:lnTo>
                      <a:pt x="135" y="72"/>
                    </a:lnTo>
                    <a:lnTo>
                      <a:pt x="135" y="68"/>
                    </a:lnTo>
                    <a:lnTo>
                      <a:pt x="135" y="64"/>
                    </a:lnTo>
                    <a:lnTo>
                      <a:pt x="131" y="64"/>
                    </a:lnTo>
                    <a:lnTo>
                      <a:pt x="127" y="60"/>
                    </a:lnTo>
                    <a:lnTo>
                      <a:pt x="127" y="56"/>
                    </a:lnTo>
                    <a:lnTo>
                      <a:pt x="127" y="52"/>
                    </a:lnTo>
                    <a:lnTo>
                      <a:pt x="123" y="48"/>
                    </a:lnTo>
                    <a:lnTo>
                      <a:pt x="119" y="44"/>
                    </a:lnTo>
                    <a:lnTo>
                      <a:pt x="119" y="40"/>
                    </a:lnTo>
                    <a:lnTo>
                      <a:pt x="119" y="36"/>
                    </a:lnTo>
                    <a:lnTo>
                      <a:pt x="119" y="32"/>
                    </a:lnTo>
                    <a:lnTo>
                      <a:pt x="115" y="32"/>
                    </a:lnTo>
                    <a:lnTo>
                      <a:pt x="115" y="36"/>
                    </a:lnTo>
                    <a:lnTo>
                      <a:pt x="115" y="40"/>
                    </a:lnTo>
                    <a:lnTo>
                      <a:pt x="119" y="44"/>
                    </a:lnTo>
                    <a:lnTo>
                      <a:pt x="119" y="48"/>
                    </a:lnTo>
                    <a:lnTo>
                      <a:pt x="119" y="52"/>
                    </a:lnTo>
                    <a:lnTo>
                      <a:pt x="119" y="56"/>
                    </a:lnTo>
                    <a:lnTo>
                      <a:pt x="123" y="56"/>
                    </a:lnTo>
                    <a:lnTo>
                      <a:pt x="123" y="60"/>
                    </a:lnTo>
                    <a:lnTo>
                      <a:pt x="127" y="64"/>
                    </a:lnTo>
                    <a:lnTo>
                      <a:pt x="127" y="68"/>
                    </a:lnTo>
                    <a:lnTo>
                      <a:pt x="131" y="68"/>
                    </a:lnTo>
                    <a:lnTo>
                      <a:pt x="131" y="72"/>
                    </a:lnTo>
                    <a:lnTo>
                      <a:pt x="131" y="76"/>
                    </a:lnTo>
                    <a:lnTo>
                      <a:pt x="131" y="72"/>
                    </a:lnTo>
                    <a:lnTo>
                      <a:pt x="131" y="76"/>
                    </a:lnTo>
                    <a:lnTo>
                      <a:pt x="131" y="80"/>
                    </a:lnTo>
                    <a:lnTo>
                      <a:pt x="135" y="80"/>
                    </a:lnTo>
                    <a:lnTo>
                      <a:pt x="135" y="84"/>
                    </a:lnTo>
                    <a:lnTo>
                      <a:pt x="135" y="88"/>
                    </a:lnTo>
                    <a:lnTo>
                      <a:pt x="139" y="92"/>
                    </a:lnTo>
                    <a:lnTo>
                      <a:pt x="139" y="96"/>
                    </a:lnTo>
                    <a:lnTo>
                      <a:pt x="139" y="100"/>
                    </a:lnTo>
                    <a:lnTo>
                      <a:pt x="143" y="104"/>
                    </a:lnTo>
                    <a:lnTo>
                      <a:pt x="143" y="108"/>
                    </a:lnTo>
                    <a:lnTo>
                      <a:pt x="147" y="112"/>
                    </a:lnTo>
                    <a:lnTo>
                      <a:pt x="147" y="116"/>
                    </a:lnTo>
                    <a:lnTo>
                      <a:pt x="151" y="120"/>
                    </a:lnTo>
                    <a:lnTo>
                      <a:pt x="151" y="124"/>
                    </a:lnTo>
                    <a:lnTo>
                      <a:pt x="151" y="128"/>
                    </a:lnTo>
                    <a:lnTo>
                      <a:pt x="155" y="128"/>
                    </a:lnTo>
                    <a:lnTo>
                      <a:pt x="155" y="132"/>
                    </a:lnTo>
                    <a:lnTo>
                      <a:pt x="155" y="136"/>
                    </a:lnTo>
                    <a:lnTo>
                      <a:pt x="159" y="140"/>
                    </a:lnTo>
                    <a:lnTo>
                      <a:pt x="159" y="144"/>
                    </a:lnTo>
                    <a:lnTo>
                      <a:pt x="163" y="144"/>
                    </a:lnTo>
                    <a:lnTo>
                      <a:pt x="163" y="148"/>
                    </a:lnTo>
                    <a:lnTo>
                      <a:pt x="167" y="148"/>
                    </a:lnTo>
                    <a:lnTo>
                      <a:pt x="163" y="148"/>
                    </a:lnTo>
                    <a:lnTo>
                      <a:pt x="163" y="152"/>
                    </a:lnTo>
                    <a:lnTo>
                      <a:pt x="163" y="156"/>
                    </a:lnTo>
                    <a:lnTo>
                      <a:pt x="163" y="160"/>
                    </a:lnTo>
                    <a:lnTo>
                      <a:pt x="163" y="164"/>
                    </a:lnTo>
                    <a:lnTo>
                      <a:pt x="163" y="168"/>
                    </a:lnTo>
                    <a:lnTo>
                      <a:pt x="167" y="168"/>
                    </a:lnTo>
                    <a:lnTo>
                      <a:pt x="167" y="172"/>
                    </a:lnTo>
                    <a:lnTo>
                      <a:pt x="171" y="172"/>
                    </a:lnTo>
                    <a:lnTo>
                      <a:pt x="175" y="176"/>
                    </a:lnTo>
                    <a:lnTo>
                      <a:pt x="175" y="180"/>
                    </a:lnTo>
                    <a:lnTo>
                      <a:pt x="179" y="180"/>
                    </a:lnTo>
                    <a:lnTo>
                      <a:pt x="179" y="184"/>
                    </a:lnTo>
                    <a:lnTo>
                      <a:pt x="183" y="184"/>
                    </a:lnTo>
                    <a:lnTo>
                      <a:pt x="179" y="184"/>
                    </a:lnTo>
                    <a:lnTo>
                      <a:pt x="175" y="184"/>
                    </a:lnTo>
                    <a:lnTo>
                      <a:pt x="171" y="184"/>
                    </a:lnTo>
                    <a:lnTo>
                      <a:pt x="167" y="184"/>
                    </a:lnTo>
                    <a:lnTo>
                      <a:pt x="163" y="184"/>
                    </a:lnTo>
                    <a:lnTo>
                      <a:pt x="159" y="184"/>
                    </a:lnTo>
                    <a:lnTo>
                      <a:pt x="155" y="184"/>
                    </a:lnTo>
                    <a:lnTo>
                      <a:pt x="151" y="184"/>
                    </a:lnTo>
                    <a:lnTo>
                      <a:pt x="143" y="184"/>
                    </a:lnTo>
                    <a:lnTo>
                      <a:pt x="139" y="184"/>
                    </a:lnTo>
                    <a:lnTo>
                      <a:pt x="135" y="184"/>
                    </a:lnTo>
                    <a:lnTo>
                      <a:pt x="131" y="184"/>
                    </a:lnTo>
                    <a:lnTo>
                      <a:pt x="127" y="184"/>
                    </a:lnTo>
                    <a:lnTo>
                      <a:pt x="119" y="184"/>
                    </a:lnTo>
                    <a:lnTo>
                      <a:pt x="115" y="184"/>
                    </a:lnTo>
                    <a:lnTo>
                      <a:pt x="107" y="184"/>
                    </a:lnTo>
                    <a:lnTo>
                      <a:pt x="103" y="184"/>
                    </a:lnTo>
                    <a:lnTo>
                      <a:pt x="99" y="184"/>
                    </a:lnTo>
                    <a:lnTo>
                      <a:pt x="103" y="184"/>
                    </a:lnTo>
                    <a:lnTo>
                      <a:pt x="99" y="180"/>
                    </a:lnTo>
                    <a:lnTo>
                      <a:pt x="99" y="184"/>
                    </a:lnTo>
                    <a:lnTo>
                      <a:pt x="95" y="184"/>
                    </a:lnTo>
                    <a:lnTo>
                      <a:pt x="91" y="184"/>
                    </a:lnTo>
                    <a:lnTo>
                      <a:pt x="87" y="184"/>
                    </a:lnTo>
                    <a:lnTo>
                      <a:pt x="83" y="184"/>
                    </a:lnTo>
                    <a:lnTo>
                      <a:pt x="79" y="184"/>
                    </a:lnTo>
                    <a:lnTo>
                      <a:pt x="71" y="184"/>
                    </a:lnTo>
                    <a:lnTo>
                      <a:pt x="67" y="184"/>
                    </a:lnTo>
                    <a:lnTo>
                      <a:pt x="63" y="184"/>
                    </a:lnTo>
                    <a:lnTo>
                      <a:pt x="59" y="184"/>
                    </a:lnTo>
                    <a:lnTo>
                      <a:pt x="51" y="184"/>
                    </a:lnTo>
                    <a:lnTo>
                      <a:pt x="44" y="184"/>
                    </a:lnTo>
                    <a:lnTo>
                      <a:pt x="40" y="184"/>
                    </a:lnTo>
                    <a:lnTo>
                      <a:pt x="36" y="184"/>
                    </a:lnTo>
                    <a:lnTo>
                      <a:pt x="32" y="184"/>
                    </a:lnTo>
                    <a:lnTo>
                      <a:pt x="28" y="184"/>
                    </a:lnTo>
                    <a:lnTo>
                      <a:pt x="24" y="184"/>
                    </a:lnTo>
                    <a:lnTo>
                      <a:pt x="16" y="184"/>
                    </a:lnTo>
                    <a:lnTo>
                      <a:pt x="8" y="184"/>
                    </a:lnTo>
                    <a:lnTo>
                      <a:pt x="4" y="184"/>
                    </a:lnTo>
                    <a:lnTo>
                      <a:pt x="4" y="180"/>
                    </a:lnTo>
                    <a:lnTo>
                      <a:pt x="4" y="156"/>
                    </a:lnTo>
                    <a:lnTo>
                      <a:pt x="4" y="148"/>
                    </a:lnTo>
                    <a:lnTo>
                      <a:pt x="4" y="140"/>
                    </a:lnTo>
                    <a:lnTo>
                      <a:pt x="4" y="132"/>
                    </a:lnTo>
                    <a:lnTo>
                      <a:pt x="4" y="128"/>
                    </a:lnTo>
                    <a:lnTo>
                      <a:pt x="4" y="120"/>
                    </a:lnTo>
                    <a:lnTo>
                      <a:pt x="4" y="108"/>
                    </a:lnTo>
                    <a:lnTo>
                      <a:pt x="4" y="100"/>
                    </a:lnTo>
                    <a:lnTo>
                      <a:pt x="4" y="96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0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1" y="12"/>
                    </a:lnTo>
                    <a:lnTo>
                      <a:pt x="55" y="12"/>
                    </a:lnTo>
                    <a:lnTo>
                      <a:pt x="59" y="12"/>
                    </a:lnTo>
                    <a:lnTo>
                      <a:pt x="63" y="16"/>
                    </a:lnTo>
                    <a:lnTo>
                      <a:pt x="67" y="16"/>
                    </a:lnTo>
                    <a:lnTo>
                      <a:pt x="71" y="12"/>
                    </a:lnTo>
                    <a:lnTo>
                      <a:pt x="75" y="12"/>
                    </a:lnTo>
                    <a:lnTo>
                      <a:pt x="75" y="8"/>
                    </a:lnTo>
                    <a:lnTo>
                      <a:pt x="79" y="8"/>
                    </a:lnTo>
                    <a:lnTo>
                      <a:pt x="79" y="4"/>
                    </a:lnTo>
                    <a:lnTo>
                      <a:pt x="79" y="8"/>
                    </a:lnTo>
                    <a:lnTo>
                      <a:pt x="83" y="8"/>
                    </a:lnTo>
                    <a:lnTo>
                      <a:pt x="83" y="4"/>
                    </a:lnTo>
                    <a:lnTo>
                      <a:pt x="83" y="0"/>
                    </a:lnTo>
                    <a:lnTo>
                      <a:pt x="83" y="4"/>
                    </a:lnTo>
                    <a:lnTo>
                      <a:pt x="87" y="4"/>
                    </a:lnTo>
                    <a:lnTo>
                      <a:pt x="87" y="0"/>
                    </a:lnTo>
                    <a:lnTo>
                      <a:pt x="91" y="0"/>
                    </a:lnTo>
                    <a:lnTo>
                      <a:pt x="91" y="4"/>
                    </a:lnTo>
                    <a:lnTo>
                      <a:pt x="87" y="4"/>
                    </a:lnTo>
                    <a:lnTo>
                      <a:pt x="91" y="4"/>
                    </a:lnTo>
                    <a:lnTo>
                      <a:pt x="95" y="4"/>
                    </a:lnTo>
                    <a:lnTo>
                      <a:pt x="95" y="0"/>
                    </a:lnTo>
                    <a:lnTo>
                      <a:pt x="99" y="0"/>
                    </a:lnTo>
                    <a:lnTo>
                      <a:pt x="99" y="4"/>
                    </a:lnTo>
                    <a:lnTo>
                      <a:pt x="103" y="4"/>
                    </a:lnTo>
                    <a:lnTo>
                      <a:pt x="107" y="4"/>
                    </a:lnTo>
                    <a:lnTo>
                      <a:pt x="107" y="0"/>
                    </a:lnTo>
                    <a:lnTo>
                      <a:pt x="107" y="4"/>
                    </a:lnTo>
                    <a:lnTo>
                      <a:pt x="111" y="4"/>
                    </a:lnTo>
                    <a:lnTo>
                      <a:pt x="107" y="4"/>
                    </a:lnTo>
                    <a:lnTo>
                      <a:pt x="107" y="0"/>
                    </a:lnTo>
                    <a:lnTo>
                      <a:pt x="107" y="8"/>
                    </a:lnTo>
                    <a:lnTo>
                      <a:pt x="111" y="8"/>
                    </a:lnTo>
                    <a:lnTo>
                      <a:pt x="111" y="12"/>
                    </a:lnTo>
                    <a:lnTo>
                      <a:pt x="111" y="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3" name="Freeform 133">
                <a:extLst>
                  <a:ext uri="{FF2B5EF4-FFF2-40B4-BE49-F238E27FC236}">
                    <a16:creationId xmlns:a16="http://schemas.microsoft.com/office/drawing/2014/main" id="{15239D0D-0084-4ACE-B071-D29064F294B8}"/>
                  </a:ext>
                </a:extLst>
              </p:cNvPr>
              <p:cNvSpPr>
                <a:spLocks noEditPoints="1"/>
              </p:cNvSpPr>
              <p:nvPr>
                <p:custDataLst>
                  <p:tags r:id="rId53"/>
                </p:custDataLst>
              </p:nvPr>
            </p:nvSpPr>
            <p:spPr bwMode="gray">
              <a:xfrm>
                <a:off x="3953120" y="5877420"/>
                <a:ext cx="55467" cy="65551"/>
              </a:xfrm>
              <a:custGeom>
                <a:avLst/>
                <a:gdLst/>
                <a:ahLst/>
                <a:cxnLst>
                  <a:cxn ang="0">
                    <a:pos x="28" y="52"/>
                  </a:cxn>
                  <a:cxn ang="0">
                    <a:pos x="28" y="52"/>
                  </a:cxn>
                  <a:cxn ang="0">
                    <a:pos x="24" y="52"/>
                  </a:cxn>
                  <a:cxn ang="0">
                    <a:pos x="24" y="52"/>
                  </a:cxn>
                  <a:cxn ang="0">
                    <a:pos x="24" y="52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0" y="52"/>
                  </a:cxn>
                  <a:cxn ang="0">
                    <a:pos x="20" y="48"/>
                  </a:cxn>
                  <a:cxn ang="0">
                    <a:pos x="20" y="52"/>
                  </a:cxn>
                  <a:cxn ang="0">
                    <a:pos x="16" y="48"/>
                  </a:cxn>
                  <a:cxn ang="0">
                    <a:pos x="16" y="48"/>
                  </a:cxn>
                  <a:cxn ang="0">
                    <a:pos x="16" y="48"/>
                  </a:cxn>
                  <a:cxn ang="0">
                    <a:pos x="16" y="48"/>
                  </a:cxn>
                  <a:cxn ang="0">
                    <a:pos x="16" y="44"/>
                  </a:cxn>
                  <a:cxn ang="0">
                    <a:pos x="20" y="40"/>
                  </a:cxn>
                  <a:cxn ang="0">
                    <a:pos x="16" y="40"/>
                  </a:cxn>
                  <a:cxn ang="0">
                    <a:pos x="20" y="40"/>
                  </a:cxn>
                  <a:cxn ang="0">
                    <a:pos x="20" y="36"/>
                  </a:cxn>
                  <a:cxn ang="0">
                    <a:pos x="20" y="32"/>
                  </a:cxn>
                  <a:cxn ang="0">
                    <a:pos x="20" y="28"/>
                  </a:cxn>
                  <a:cxn ang="0">
                    <a:pos x="20" y="28"/>
                  </a:cxn>
                  <a:cxn ang="0">
                    <a:pos x="24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8" y="32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32" y="32"/>
                  </a:cxn>
                  <a:cxn ang="0">
                    <a:pos x="40" y="32"/>
                  </a:cxn>
                  <a:cxn ang="0">
                    <a:pos x="44" y="32"/>
                  </a:cxn>
                  <a:cxn ang="0">
                    <a:pos x="44" y="32"/>
                  </a:cxn>
                  <a:cxn ang="0">
                    <a:pos x="44" y="36"/>
                  </a:cxn>
                  <a:cxn ang="0">
                    <a:pos x="44" y="40"/>
                  </a:cxn>
                  <a:cxn ang="0">
                    <a:pos x="44" y="40"/>
                  </a:cxn>
                  <a:cxn ang="0">
                    <a:pos x="44" y="52"/>
                  </a:cxn>
                  <a:cxn ang="0">
                    <a:pos x="40" y="52"/>
                  </a:cxn>
                  <a:cxn ang="0">
                    <a:pos x="36" y="52"/>
                  </a:cxn>
                  <a:cxn ang="0">
                    <a:pos x="32" y="52"/>
                  </a:cxn>
                  <a:cxn ang="0">
                    <a:pos x="8" y="4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12"/>
                  </a:cxn>
                  <a:cxn ang="0">
                    <a:pos x="0" y="12"/>
                  </a:cxn>
                  <a:cxn ang="0">
                    <a:pos x="0" y="1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8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8" y="0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8" y="4"/>
                  </a:cxn>
                </a:cxnLst>
                <a:rect l="0" t="0" r="r" b="b"/>
                <a:pathLst>
                  <a:path w="44" h="52">
                    <a:moveTo>
                      <a:pt x="32" y="52"/>
                    </a:moveTo>
                    <a:lnTo>
                      <a:pt x="28" y="52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20" y="40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32" y="32"/>
                    </a:lnTo>
                    <a:lnTo>
                      <a:pt x="40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4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2" y="52"/>
                    </a:lnTo>
                    <a:lnTo>
                      <a:pt x="32" y="52"/>
                    </a:lnTo>
                    <a:lnTo>
                      <a:pt x="32" y="52"/>
                    </a:lnTo>
                    <a:close/>
                    <a:moveTo>
                      <a:pt x="8" y="4"/>
                    </a:moveTo>
                    <a:lnTo>
                      <a:pt x="8" y="4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4" name="Freeform 134">
                <a:extLst>
                  <a:ext uri="{FF2B5EF4-FFF2-40B4-BE49-F238E27FC236}">
                    <a16:creationId xmlns:a16="http://schemas.microsoft.com/office/drawing/2014/main" id="{8B42DB33-AA30-45A9-BD86-295BC6790502}"/>
                  </a:ext>
                </a:extLst>
              </p:cNvPr>
              <p:cNvSpPr>
                <a:spLocks noEditPoints="1"/>
              </p:cNvSpPr>
              <p:nvPr>
                <p:custDataLst>
                  <p:tags r:id="rId54"/>
                </p:custDataLst>
              </p:nvPr>
            </p:nvSpPr>
            <p:spPr bwMode="gray">
              <a:xfrm>
                <a:off x="4486356" y="5544620"/>
                <a:ext cx="131103" cy="136145"/>
              </a:xfrm>
              <a:custGeom>
                <a:avLst/>
                <a:gdLst/>
                <a:ahLst/>
                <a:cxnLst>
                  <a:cxn ang="0">
                    <a:pos x="44" y="36"/>
                  </a:cxn>
                  <a:cxn ang="0">
                    <a:pos x="48" y="48"/>
                  </a:cxn>
                  <a:cxn ang="0">
                    <a:pos x="48" y="48"/>
                  </a:cxn>
                  <a:cxn ang="0">
                    <a:pos x="52" y="56"/>
                  </a:cxn>
                  <a:cxn ang="0">
                    <a:pos x="52" y="52"/>
                  </a:cxn>
                  <a:cxn ang="0">
                    <a:pos x="52" y="48"/>
                  </a:cxn>
                  <a:cxn ang="0">
                    <a:pos x="56" y="56"/>
                  </a:cxn>
                  <a:cxn ang="0">
                    <a:pos x="60" y="56"/>
                  </a:cxn>
                  <a:cxn ang="0">
                    <a:pos x="68" y="64"/>
                  </a:cxn>
                  <a:cxn ang="0">
                    <a:pos x="76" y="72"/>
                  </a:cxn>
                  <a:cxn ang="0">
                    <a:pos x="80" y="76"/>
                  </a:cxn>
                  <a:cxn ang="0">
                    <a:pos x="88" y="80"/>
                  </a:cxn>
                  <a:cxn ang="0">
                    <a:pos x="88" y="84"/>
                  </a:cxn>
                  <a:cxn ang="0">
                    <a:pos x="92" y="88"/>
                  </a:cxn>
                  <a:cxn ang="0">
                    <a:pos x="96" y="92"/>
                  </a:cxn>
                  <a:cxn ang="0">
                    <a:pos x="100" y="100"/>
                  </a:cxn>
                  <a:cxn ang="0">
                    <a:pos x="104" y="100"/>
                  </a:cxn>
                  <a:cxn ang="0">
                    <a:pos x="96" y="108"/>
                  </a:cxn>
                  <a:cxn ang="0">
                    <a:pos x="92" y="104"/>
                  </a:cxn>
                  <a:cxn ang="0">
                    <a:pos x="92" y="104"/>
                  </a:cxn>
                  <a:cxn ang="0">
                    <a:pos x="88" y="100"/>
                  </a:cxn>
                  <a:cxn ang="0">
                    <a:pos x="84" y="96"/>
                  </a:cxn>
                  <a:cxn ang="0">
                    <a:pos x="84" y="92"/>
                  </a:cxn>
                  <a:cxn ang="0">
                    <a:pos x="80" y="88"/>
                  </a:cxn>
                  <a:cxn ang="0">
                    <a:pos x="72" y="84"/>
                  </a:cxn>
                  <a:cxn ang="0">
                    <a:pos x="72" y="80"/>
                  </a:cxn>
                  <a:cxn ang="0">
                    <a:pos x="68" y="72"/>
                  </a:cxn>
                  <a:cxn ang="0">
                    <a:pos x="64" y="72"/>
                  </a:cxn>
                  <a:cxn ang="0">
                    <a:pos x="60" y="68"/>
                  </a:cxn>
                  <a:cxn ang="0">
                    <a:pos x="56" y="68"/>
                  </a:cxn>
                  <a:cxn ang="0">
                    <a:pos x="52" y="68"/>
                  </a:cxn>
                  <a:cxn ang="0">
                    <a:pos x="44" y="68"/>
                  </a:cxn>
                  <a:cxn ang="0">
                    <a:pos x="40" y="64"/>
                  </a:cxn>
                  <a:cxn ang="0">
                    <a:pos x="36" y="68"/>
                  </a:cxn>
                  <a:cxn ang="0">
                    <a:pos x="28" y="64"/>
                  </a:cxn>
                  <a:cxn ang="0">
                    <a:pos x="24" y="60"/>
                  </a:cxn>
                  <a:cxn ang="0">
                    <a:pos x="20" y="76"/>
                  </a:cxn>
                  <a:cxn ang="0">
                    <a:pos x="12" y="68"/>
                  </a:cxn>
                  <a:cxn ang="0">
                    <a:pos x="12" y="72"/>
                  </a:cxn>
                  <a:cxn ang="0">
                    <a:pos x="4" y="72"/>
                  </a:cxn>
                  <a:cxn ang="0">
                    <a:pos x="0" y="56"/>
                  </a:cxn>
                  <a:cxn ang="0">
                    <a:pos x="4" y="44"/>
                  </a:cxn>
                  <a:cxn ang="0">
                    <a:pos x="8" y="36"/>
                  </a:cxn>
                  <a:cxn ang="0">
                    <a:pos x="8" y="28"/>
                  </a:cxn>
                  <a:cxn ang="0">
                    <a:pos x="8" y="20"/>
                  </a:cxn>
                  <a:cxn ang="0">
                    <a:pos x="16" y="20"/>
                  </a:cxn>
                  <a:cxn ang="0">
                    <a:pos x="16" y="16"/>
                  </a:cxn>
                  <a:cxn ang="0">
                    <a:pos x="24" y="12"/>
                  </a:cxn>
                  <a:cxn ang="0">
                    <a:pos x="32" y="8"/>
                  </a:cxn>
                  <a:cxn ang="0">
                    <a:pos x="36" y="4"/>
                  </a:cxn>
                  <a:cxn ang="0">
                    <a:pos x="40" y="16"/>
                  </a:cxn>
                  <a:cxn ang="0">
                    <a:pos x="44" y="28"/>
                  </a:cxn>
                  <a:cxn ang="0">
                    <a:pos x="44" y="32"/>
                  </a:cxn>
                  <a:cxn ang="0">
                    <a:pos x="56" y="44"/>
                  </a:cxn>
                  <a:cxn ang="0">
                    <a:pos x="60" y="44"/>
                  </a:cxn>
                  <a:cxn ang="0">
                    <a:pos x="60" y="44"/>
                  </a:cxn>
                  <a:cxn ang="0">
                    <a:pos x="60" y="48"/>
                  </a:cxn>
                  <a:cxn ang="0">
                    <a:pos x="56" y="48"/>
                  </a:cxn>
                  <a:cxn ang="0">
                    <a:pos x="56" y="44"/>
                  </a:cxn>
                  <a:cxn ang="0">
                    <a:pos x="56" y="44"/>
                  </a:cxn>
                  <a:cxn ang="0">
                    <a:pos x="56" y="44"/>
                  </a:cxn>
                </a:cxnLst>
                <a:rect l="0" t="0" r="r" b="b"/>
                <a:pathLst>
                  <a:path w="104" h="108">
                    <a:moveTo>
                      <a:pt x="44" y="32"/>
                    </a:moveTo>
                    <a:lnTo>
                      <a:pt x="44" y="32"/>
                    </a:lnTo>
                    <a:lnTo>
                      <a:pt x="44" y="32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8" y="44"/>
                    </a:lnTo>
                    <a:lnTo>
                      <a:pt x="48" y="44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48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2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60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68" y="60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72" y="64"/>
                    </a:lnTo>
                    <a:lnTo>
                      <a:pt x="76" y="68"/>
                    </a:lnTo>
                    <a:lnTo>
                      <a:pt x="76" y="68"/>
                    </a:lnTo>
                    <a:lnTo>
                      <a:pt x="76" y="72"/>
                    </a:lnTo>
                    <a:lnTo>
                      <a:pt x="80" y="72"/>
                    </a:lnTo>
                    <a:lnTo>
                      <a:pt x="80" y="76"/>
                    </a:lnTo>
                    <a:lnTo>
                      <a:pt x="80" y="76"/>
                    </a:lnTo>
                    <a:lnTo>
                      <a:pt x="80" y="76"/>
                    </a:lnTo>
                    <a:lnTo>
                      <a:pt x="80" y="76"/>
                    </a:lnTo>
                    <a:lnTo>
                      <a:pt x="80" y="76"/>
                    </a:lnTo>
                    <a:lnTo>
                      <a:pt x="84" y="80"/>
                    </a:lnTo>
                    <a:lnTo>
                      <a:pt x="84" y="80"/>
                    </a:lnTo>
                    <a:lnTo>
                      <a:pt x="84" y="80"/>
                    </a:lnTo>
                    <a:lnTo>
                      <a:pt x="84" y="80"/>
                    </a:lnTo>
                    <a:lnTo>
                      <a:pt x="88" y="80"/>
                    </a:lnTo>
                    <a:lnTo>
                      <a:pt x="88" y="80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92" y="84"/>
                    </a:lnTo>
                    <a:lnTo>
                      <a:pt x="92" y="88"/>
                    </a:lnTo>
                    <a:lnTo>
                      <a:pt x="92" y="88"/>
                    </a:lnTo>
                    <a:lnTo>
                      <a:pt x="92" y="88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2" y="92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100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4" y="100"/>
                    </a:lnTo>
                    <a:lnTo>
                      <a:pt x="100" y="100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08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6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92" y="104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8" y="96"/>
                    </a:lnTo>
                    <a:lnTo>
                      <a:pt x="84" y="96"/>
                    </a:lnTo>
                    <a:lnTo>
                      <a:pt x="84" y="96"/>
                    </a:lnTo>
                    <a:lnTo>
                      <a:pt x="84" y="96"/>
                    </a:lnTo>
                    <a:lnTo>
                      <a:pt x="84" y="96"/>
                    </a:lnTo>
                    <a:lnTo>
                      <a:pt x="84" y="96"/>
                    </a:lnTo>
                    <a:lnTo>
                      <a:pt x="84" y="96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0" y="92"/>
                    </a:lnTo>
                    <a:lnTo>
                      <a:pt x="80" y="88"/>
                    </a:lnTo>
                    <a:lnTo>
                      <a:pt x="80" y="88"/>
                    </a:lnTo>
                    <a:lnTo>
                      <a:pt x="80" y="88"/>
                    </a:lnTo>
                    <a:lnTo>
                      <a:pt x="80" y="88"/>
                    </a:lnTo>
                    <a:lnTo>
                      <a:pt x="80" y="88"/>
                    </a:lnTo>
                    <a:lnTo>
                      <a:pt x="76" y="88"/>
                    </a:lnTo>
                    <a:lnTo>
                      <a:pt x="72" y="84"/>
                    </a:lnTo>
                    <a:lnTo>
                      <a:pt x="72" y="84"/>
                    </a:lnTo>
                    <a:lnTo>
                      <a:pt x="72" y="84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76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4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48" y="68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28" y="68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4"/>
                    </a:lnTo>
                    <a:lnTo>
                      <a:pt x="20" y="68"/>
                    </a:lnTo>
                    <a:lnTo>
                      <a:pt x="20" y="76"/>
                    </a:lnTo>
                    <a:lnTo>
                      <a:pt x="16" y="76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4" y="48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32" y="8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0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4" y="2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close/>
                    <a:moveTo>
                      <a:pt x="56" y="40"/>
                    </a:move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4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0"/>
                    </a:lnTo>
                    <a:lnTo>
                      <a:pt x="56" y="4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5" name="Freeform 135">
                <a:extLst>
                  <a:ext uri="{FF2B5EF4-FFF2-40B4-BE49-F238E27FC236}">
                    <a16:creationId xmlns:a16="http://schemas.microsoft.com/office/drawing/2014/main" id="{D1DA506F-D55E-4A44-BDDD-2C48B6220EB7}"/>
                  </a:ext>
                </a:extLst>
              </p:cNvPr>
              <p:cNvSpPr>
                <a:spLocks/>
              </p:cNvSpPr>
              <p:nvPr>
                <p:custDataLst>
                  <p:tags r:id="rId55"/>
                </p:custDataLst>
              </p:nvPr>
            </p:nvSpPr>
            <p:spPr bwMode="gray">
              <a:xfrm>
                <a:off x="4420804" y="5620257"/>
                <a:ext cx="287418" cy="267248"/>
              </a:xfrm>
              <a:custGeom>
                <a:avLst/>
                <a:gdLst/>
                <a:ahLst/>
                <a:cxnLst>
                  <a:cxn ang="0">
                    <a:pos x="184" y="184"/>
                  </a:cxn>
                  <a:cxn ang="0">
                    <a:pos x="164" y="184"/>
                  </a:cxn>
                  <a:cxn ang="0">
                    <a:pos x="152" y="188"/>
                  </a:cxn>
                  <a:cxn ang="0">
                    <a:pos x="144" y="196"/>
                  </a:cxn>
                  <a:cxn ang="0">
                    <a:pos x="132" y="200"/>
                  </a:cxn>
                  <a:cxn ang="0">
                    <a:pos x="116" y="196"/>
                  </a:cxn>
                  <a:cxn ang="0">
                    <a:pos x="104" y="208"/>
                  </a:cxn>
                  <a:cxn ang="0">
                    <a:pos x="96" y="208"/>
                  </a:cxn>
                  <a:cxn ang="0">
                    <a:pos x="84" y="208"/>
                  </a:cxn>
                  <a:cxn ang="0">
                    <a:pos x="64" y="196"/>
                  </a:cxn>
                  <a:cxn ang="0">
                    <a:pos x="52" y="192"/>
                  </a:cxn>
                  <a:cxn ang="0">
                    <a:pos x="44" y="180"/>
                  </a:cxn>
                  <a:cxn ang="0">
                    <a:pos x="36" y="172"/>
                  </a:cxn>
                  <a:cxn ang="0">
                    <a:pos x="32" y="160"/>
                  </a:cxn>
                  <a:cxn ang="0">
                    <a:pos x="24" y="152"/>
                  </a:cxn>
                  <a:cxn ang="0">
                    <a:pos x="16" y="140"/>
                  </a:cxn>
                  <a:cxn ang="0">
                    <a:pos x="4" y="132"/>
                  </a:cxn>
                  <a:cxn ang="0">
                    <a:pos x="4" y="120"/>
                  </a:cxn>
                  <a:cxn ang="0">
                    <a:pos x="16" y="116"/>
                  </a:cxn>
                  <a:cxn ang="0">
                    <a:pos x="20" y="96"/>
                  </a:cxn>
                  <a:cxn ang="0">
                    <a:pos x="20" y="80"/>
                  </a:cxn>
                  <a:cxn ang="0">
                    <a:pos x="32" y="76"/>
                  </a:cxn>
                  <a:cxn ang="0">
                    <a:pos x="32" y="60"/>
                  </a:cxn>
                  <a:cxn ang="0">
                    <a:pos x="40" y="44"/>
                  </a:cxn>
                  <a:cxn ang="0">
                    <a:pos x="48" y="36"/>
                  </a:cxn>
                  <a:cxn ang="0">
                    <a:pos x="52" y="16"/>
                  </a:cxn>
                  <a:cxn ang="0">
                    <a:pos x="64" y="8"/>
                  </a:cxn>
                  <a:cxn ang="0">
                    <a:pos x="72" y="16"/>
                  </a:cxn>
                  <a:cxn ang="0">
                    <a:pos x="76" y="4"/>
                  </a:cxn>
                  <a:cxn ang="0">
                    <a:pos x="88" y="8"/>
                  </a:cxn>
                  <a:cxn ang="0">
                    <a:pos x="96" y="8"/>
                  </a:cxn>
                  <a:cxn ang="0">
                    <a:pos x="104" y="8"/>
                  </a:cxn>
                  <a:cxn ang="0">
                    <a:pos x="116" y="12"/>
                  </a:cxn>
                  <a:cxn ang="0">
                    <a:pos x="124" y="20"/>
                  </a:cxn>
                  <a:cxn ang="0">
                    <a:pos x="132" y="32"/>
                  </a:cxn>
                  <a:cxn ang="0">
                    <a:pos x="140" y="40"/>
                  </a:cxn>
                  <a:cxn ang="0">
                    <a:pos x="140" y="48"/>
                  </a:cxn>
                  <a:cxn ang="0">
                    <a:pos x="132" y="64"/>
                  </a:cxn>
                  <a:cxn ang="0">
                    <a:pos x="140" y="72"/>
                  </a:cxn>
                  <a:cxn ang="0">
                    <a:pos x="152" y="76"/>
                  </a:cxn>
                  <a:cxn ang="0">
                    <a:pos x="152" y="88"/>
                  </a:cxn>
                  <a:cxn ang="0">
                    <a:pos x="160" y="100"/>
                  </a:cxn>
                  <a:cxn ang="0">
                    <a:pos x="176" y="112"/>
                  </a:cxn>
                  <a:cxn ang="0">
                    <a:pos x="200" y="120"/>
                  </a:cxn>
                  <a:cxn ang="0">
                    <a:pos x="212" y="128"/>
                  </a:cxn>
                  <a:cxn ang="0">
                    <a:pos x="224" y="132"/>
                  </a:cxn>
                  <a:cxn ang="0">
                    <a:pos x="200" y="160"/>
                  </a:cxn>
                  <a:cxn ang="0">
                    <a:pos x="192" y="172"/>
                  </a:cxn>
                </a:cxnLst>
                <a:rect l="0" t="0" r="r" b="b"/>
                <a:pathLst>
                  <a:path w="228" h="212">
                    <a:moveTo>
                      <a:pt x="192" y="172"/>
                    </a:moveTo>
                    <a:lnTo>
                      <a:pt x="188" y="176"/>
                    </a:lnTo>
                    <a:lnTo>
                      <a:pt x="184" y="180"/>
                    </a:lnTo>
                    <a:lnTo>
                      <a:pt x="184" y="184"/>
                    </a:lnTo>
                    <a:lnTo>
                      <a:pt x="176" y="184"/>
                    </a:lnTo>
                    <a:lnTo>
                      <a:pt x="172" y="184"/>
                    </a:lnTo>
                    <a:lnTo>
                      <a:pt x="168" y="184"/>
                    </a:lnTo>
                    <a:lnTo>
                      <a:pt x="164" y="184"/>
                    </a:lnTo>
                    <a:lnTo>
                      <a:pt x="160" y="184"/>
                    </a:lnTo>
                    <a:lnTo>
                      <a:pt x="160" y="188"/>
                    </a:lnTo>
                    <a:lnTo>
                      <a:pt x="156" y="188"/>
                    </a:lnTo>
                    <a:lnTo>
                      <a:pt x="152" y="188"/>
                    </a:lnTo>
                    <a:lnTo>
                      <a:pt x="152" y="192"/>
                    </a:lnTo>
                    <a:lnTo>
                      <a:pt x="152" y="196"/>
                    </a:lnTo>
                    <a:lnTo>
                      <a:pt x="148" y="196"/>
                    </a:lnTo>
                    <a:lnTo>
                      <a:pt x="144" y="196"/>
                    </a:lnTo>
                    <a:lnTo>
                      <a:pt x="140" y="196"/>
                    </a:lnTo>
                    <a:lnTo>
                      <a:pt x="140" y="200"/>
                    </a:lnTo>
                    <a:lnTo>
                      <a:pt x="136" y="200"/>
                    </a:lnTo>
                    <a:lnTo>
                      <a:pt x="132" y="200"/>
                    </a:lnTo>
                    <a:lnTo>
                      <a:pt x="128" y="200"/>
                    </a:lnTo>
                    <a:lnTo>
                      <a:pt x="124" y="200"/>
                    </a:lnTo>
                    <a:lnTo>
                      <a:pt x="120" y="196"/>
                    </a:lnTo>
                    <a:lnTo>
                      <a:pt x="116" y="196"/>
                    </a:lnTo>
                    <a:lnTo>
                      <a:pt x="112" y="200"/>
                    </a:lnTo>
                    <a:lnTo>
                      <a:pt x="108" y="200"/>
                    </a:lnTo>
                    <a:lnTo>
                      <a:pt x="104" y="204"/>
                    </a:lnTo>
                    <a:lnTo>
                      <a:pt x="104" y="208"/>
                    </a:lnTo>
                    <a:lnTo>
                      <a:pt x="100" y="208"/>
                    </a:lnTo>
                    <a:lnTo>
                      <a:pt x="100" y="212"/>
                    </a:lnTo>
                    <a:lnTo>
                      <a:pt x="96" y="212"/>
                    </a:lnTo>
                    <a:lnTo>
                      <a:pt x="96" y="208"/>
                    </a:lnTo>
                    <a:lnTo>
                      <a:pt x="96" y="212"/>
                    </a:lnTo>
                    <a:lnTo>
                      <a:pt x="92" y="208"/>
                    </a:lnTo>
                    <a:lnTo>
                      <a:pt x="88" y="208"/>
                    </a:lnTo>
                    <a:lnTo>
                      <a:pt x="84" y="208"/>
                    </a:lnTo>
                    <a:lnTo>
                      <a:pt x="80" y="208"/>
                    </a:lnTo>
                    <a:lnTo>
                      <a:pt x="76" y="208"/>
                    </a:lnTo>
                    <a:lnTo>
                      <a:pt x="76" y="204"/>
                    </a:lnTo>
                    <a:lnTo>
                      <a:pt x="64" y="196"/>
                    </a:lnTo>
                    <a:lnTo>
                      <a:pt x="64" y="192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48" y="192"/>
                    </a:lnTo>
                    <a:lnTo>
                      <a:pt x="44" y="192"/>
                    </a:lnTo>
                    <a:lnTo>
                      <a:pt x="44" y="188"/>
                    </a:lnTo>
                    <a:lnTo>
                      <a:pt x="44" y="180"/>
                    </a:lnTo>
                    <a:lnTo>
                      <a:pt x="44" y="176"/>
                    </a:lnTo>
                    <a:lnTo>
                      <a:pt x="40" y="176"/>
                    </a:lnTo>
                    <a:lnTo>
                      <a:pt x="36" y="176"/>
                    </a:lnTo>
                    <a:lnTo>
                      <a:pt x="36" y="172"/>
                    </a:lnTo>
                    <a:lnTo>
                      <a:pt x="32" y="172"/>
                    </a:lnTo>
                    <a:lnTo>
                      <a:pt x="32" y="168"/>
                    </a:lnTo>
                    <a:lnTo>
                      <a:pt x="32" y="164"/>
                    </a:lnTo>
                    <a:lnTo>
                      <a:pt x="32" y="160"/>
                    </a:lnTo>
                    <a:lnTo>
                      <a:pt x="28" y="160"/>
                    </a:lnTo>
                    <a:lnTo>
                      <a:pt x="28" y="156"/>
                    </a:lnTo>
                    <a:lnTo>
                      <a:pt x="28" y="152"/>
                    </a:lnTo>
                    <a:lnTo>
                      <a:pt x="24" y="152"/>
                    </a:lnTo>
                    <a:lnTo>
                      <a:pt x="24" y="148"/>
                    </a:lnTo>
                    <a:lnTo>
                      <a:pt x="20" y="148"/>
                    </a:lnTo>
                    <a:lnTo>
                      <a:pt x="20" y="144"/>
                    </a:lnTo>
                    <a:lnTo>
                      <a:pt x="16" y="140"/>
                    </a:lnTo>
                    <a:lnTo>
                      <a:pt x="16" y="136"/>
                    </a:lnTo>
                    <a:lnTo>
                      <a:pt x="12" y="132"/>
                    </a:lnTo>
                    <a:lnTo>
                      <a:pt x="8" y="132"/>
                    </a:lnTo>
                    <a:lnTo>
                      <a:pt x="4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8" y="120"/>
                    </a:lnTo>
                    <a:lnTo>
                      <a:pt x="12" y="120"/>
                    </a:lnTo>
                    <a:lnTo>
                      <a:pt x="16" y="120"/>
                    </a:lnTo>
                    <a:lnTo>
                      <a:pt x="16" y="116"/>
                    </a:lnTo>
                    <a:lnTo>
                      <a:pt x="20" y="112"/>
                    </a:lnTo>
                    <a:lnTo>
                      <a:pt x="20" y="108"/>
                    </a:lnTo>
                    <a:lnTo>
                      <a:pt x="16" y="100"/>
                    </a:lnTo>
                    <a:lnTo>
                      <a:pt x="20" y="96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4" y="76"/>
                    </a:lnTo>
                    <a:lnTo>
                      <a:pt x="24" y="72"/>
                    </a:lnTo>
                    <a:lnTo>
                      <a:pt x="28" y="76"/>
                    </a:lnTo>
                    <a:lnTo>
                      <a:pt x="32" y="76"/>
                    </a:lnTo>
                    <a:lnTo>
                      <a:pt x="32" y="72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40" y="44"/>
                    </a:lnTo>
                    <a:lnTo>
                      <a:pt x="40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48" y="36"/>
                    </a:lnTo>
                    <a:lnTo>
                      <a:pt x="52" y="28"/>
                    </a:lnTo>
                    <a:lnTo>
                      <a:pt x="52" y="24"/>
                    </a:lnTo>
                    <a:lnTo>
                      <a:pt x="52" y="20"/>
                    </a:lnTo>
                    <a:lnTo>
                      <a:pt x="52" y="16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68" y="12"/>
                    </a:lnTo>
                    <a:lnTo>
                      <a:pt x="68" y="16"/>
                    </a:lnTo>
                    <a:lnTo>
                      <a:pt x="72" y="16"/>
                    </a:lnTo>
                    <a:lnTo>
                      <a:pt x="72" y="8"/>
                    </a:lnTo>
                    <a:lnTo>
                      <a:pt x="76" y="4"/>
                    </a:lnTo>
                    <a:lnTo>
                      <a:pt x="76" y="0"/>
                    </a:lnTo>
                    <a:lnTo>
                      <a:pt x="76" y="4"/>
                    </a:lnTo>
                    <a:lnTo>
                      <a:pt x="80" y="4"/>
                    </a:lnTo>
                    <a:lnTo>
                      <a:pt x="80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6" y="4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0" y="4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8" y="8"/>
                    </a:lnTo>
                    <a:lnTo>
                      <a:pt x="112" y="8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4" y="20"/>
                    </a:lnTo>
                    <a:lnTo>
                      <a:pt x="124" y="24"/>
                    </a:lnTo>
                    <a:lnTo>
                      <a:pt x="128" y="28"/>
                    </a:lnTo>
                    <a:lnTo>
                      <a:pt x="132" y="28"/>
                    </a:lnTo>
                    <a:lnTo>
                      <a:pt x="132" y="32"/>
                    </a:lnTo>
                    <a:lnTo>
                      <a:pt x="136" y="32"/>
                    </a:lnTo>
                    <a:lnTo>
                      <a:pt x="136" y="36"/>
                    </a:lnTo>
                    <a:lnTo>
                      <a:pt x="140" y="36"/>
                    </a:lnTo>
                    <a:lnTo>
                      <a:pt x="140" y="40"/>
                    </a:lnTo>
                    <a:lnTo>
                      <a:pt x="140" y="44"/>
                    </a:lnTo>
                    <a:lnTo>
                      <a:pt x="144" y="44"/>
                    </a:lnTo>
                    <a:lnTo>
                      <a:pt x="144" y="48"/>
                    </a:lnTo>
                    <a:lnTo>
                      <a:pt x="140" y="48"/>
                    </a:lnTo>
                    <a:lnTo>
                      <a:pt x="140" y="52"/>
                    </a:lnTo>
                    <a:lnTo>
                      <a:pt x="136" y="56"/>
                    </a:lnTo>
                    <a:lnTo>
                      <a:pt x="136" y="60"/>
                    </a:lnTo>
                    <a:lnTo>
                      <a:pt x="132" y="64"/>
                    </a:lnTo>
                    <a:lnTo>
                      <a:pt x="136" y="64"/>
                    </a:lnTo>
                    <a:lnTo>
                      <a:pt x="136" y="68"/>
                    </a:lnTo>
                    <a:lnTo>
                      <a:pt x="136" y="72"/>
                    </a:lnTo>
                    <a:lnTo>
                      <a:pt x="140" y="72"/>
                    </a:lnTo>
                    <a:lnTo>
                      <a:pt x="144" y="72"/>
                    </a:lnTo>
                    <a:lnTo>
                      <a:pt x="148" y="72"/>
                    </a:lnTo>
                    <a:lnTo>
                      <a:pt x="152" y="72"/>
                    </a:lnTo>
                    <a:lnTo>
                      <a:pt x="152" y="76"/>
                    </a:lnTo>
                    <a:lnTo>
                      <a:pt x="148" y="76"/>
                    </a:lnTo>
                    <a:lnTo>
                      <a:pt x="148" y="80"/>
                    </a:lnTo>
                    <a:lnTo>
                      <a:pt x="148" y="84"/>
                    </a:lnTo>
                    <a:lnTo>
                      <a:pt x="152" y="88"/>
                    </a:lnTo>
                    <a:lnTo>
                      <a:pt x="152" y="92"/>
                    </a:lnTo>
                    <a:lnTo>
                      <a:pt x="156" y="92"/>
                    </a:lnTo>
                    <a:lnTo>
                      <a:pt x="156" y="96"/>
                    </a:lnTo>
                    <a:lnTo>
                      <a:pt x="160" y="100"/>
                    </a:lnTo>
                    <a:lnTo>
                      <a:pt x="160" y="104"/>
                    </a:lnTo>
                    <a:lnTo>
                      <a:pt x="164" y="104"/>
                    </a:lnTo>
                    <a:lnTo>
                      <a:pt x="168" y="108"/>
                    </a:lnTo>
                    <a:lnTo>
                      <a:pt x="176" y="112"/>
                    </a:lnTo>
                    <a:lnTo>
                      <a:pt x="184" y="116"/>
                    </a:lnTo>
                    <a:lnTo>
                      <a:pt x="188" y="116"/>
                    </a:lnTo>
                    <a:lnTo>
                      <a:pt x="192" y="120"/>
                    </a:lnTo>
                    <a:lnTo>
                      <a:pt x="200" y="120"/>
                    </a:lnTo>
                    <a:lnTo>
                      <a:pt x="204" y="124"/>
                    </a:lnTo>
                    <a:lnTo>
                      <a:pt x="208" y="124"/>
                    </a:lnTo>
                    <a:lnTo>
                      <a:pt x="212" y="124"/>
                    </a:lnTo>
                    <a:lnTo>
                      <a:pt x="212" y="128"/>
                    </a:lnTo>
                    <a:lnTo>
                      <a:pt x="216" y="128"/>
                    </a:lnTo>
                    <a:lnTo>
                      <a:pt x="224" y="128"/>
                    </a:lnTo>
                    <a:lnTo>
                      <a:pt x="228" y="128"/>
                    </a:lnTo>
                    <a:lnTo>
                      <a:pt x="224" y="132"/>
                    </a:lnTo>
                    <a:lnTo>
                      <a:pt x="220" y="136"/>
                    </a:lnTo>
                    <a:lnTo>
                      <a:pt x="212" y="144"/>
                    </a:lnTo>
                    <a:lnTo>
                      <a:pt x="208" y="152"/>
                    </a:lnTo>
                    <a:lnTo>
                      <a:pt x="200" y="160"/>
                    </a:lnTo>
                    <a:lnTo>
                      <a:pt x="200" y="164"/>
                    </a:lnTo>
                    <a:lnTo>
                      <a:pt x="196" y="164"/>
                    </a:lnTo>
                    <a:lnTo>
                      <a:pt x="192" y="168"/>
                    </a:lnTo>
                    <a:lnTo>
                      <a:pt x="192" y="172"/>
                    </a:lnTo>
                    <a:close/>
                  </a:path>
                </a:pathLst>
              </a:custGeom>
              <a:solidFill>
                <a:srgbClr val="92D050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6" name="Freeform 136">
                <a:extLst>
                  <a:ext uri="{FF2B5EF4-FFF2-40B4-BE49-F238E27FC236}">
                    <a16:creationId xmlns:a16="http://schemas.microsoft.com/office/drawing/2014/main" id="{9F1E84E7-D739-42D3-A046-1DD21787019C}"/>
                  </a:ext>
                </a:extLst>
              </p:cNvPr>
              <p:cNvSpPr>
                <a:spLocks noEditPoints="1"/>
              </p:cNvSpPr>
              <p:nvPr>
                <p:custDataLst>
                  <p:tags r:id="rId56"/>
                </p:custDataLst>
              </p:nvPr>
            </p:nvSpPr>
            <p:spPr bwMode="gray">
              <a:xfrm>
                <a:off x="3958163" y="5912717"/>
                <a:ext cx="110933" cy="139927"/>
              </a:xfrm>
              <a:custGeom>
                <a:avLst/>
                <a:gdLst/>
                <a:ahLst/>
                <a:cxnLst>
                  <a:cxn ang="0">
                    <a:pos x="48" y="96"/>
                  </a:cxn>
                  <a:cxn ang="0">
                    <a:pos x="48" y="103"/>
                  </a:cxn>
                  <a:cxn ang="0">
                    <a:pos x="48" y="107"/>
                  </a:cxn>
                  <a:cxn ang="0">
                    <a:pos x="44" y="107"/>
                  </a:cxn>
                  <a:cxn ang="0">
                    <a:pos x="36" y="111"/>
                  </a:cxn>
                  <a:cxn ang="0">
                    <a:pos x="32" y="107"/>
                  </a:cxn>
                  <a:cxn ang="0">
                    <a:pos x="28" y="99"/>
                  </a:cxn>
                  <a:cxn ang="0">
                    <a:pos x="20" y="92"/>
                  </a:cxn>
                  <a:cxn ang="0">
                    <a:pos x="16" y="88"/>
                  </a:cxn>
                  <a:cxn ang="0">
                    <a:pos x="20" y="88"/>
                  </a:cxn>
                  <a:cxn ang="0">
                    <a:pos x="16" y="88"/>
                  </a:cxn>
                  <a:cxn ang="0">
                    <a:pos x="12" y="80"/>
                  </a:cxn>
                  <a:cxn ang="0">
                    <a:pos x="12" y="80"/>
                  </a:cxn>
                  <a:cxn ang="0">
                    <a:pos x="8" y="76"/>
                  </a:cxn>
                  <a:cxn ang="0">
                    <a:pos x="8" y="72"/>
                  </a:cxn>
                  <a:cxn ang="0">
                    <a:pos x="4" y="64"/>
                  </a:cxn>
                  <a:cxn ang="0">
                    <a:pos x="12" y="72"/>
                  </a:cxn>
                  <a:cxn ang="0">
                    <a:pos x="12" y="72"/>
                  </a:cxn>
                  <a:cxn ang="0">
                    <a:pos x="8" y="68"/>
                  </a:cxn>
                  <a:cxn ang="0">
                    <a:pos x="4" y="6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8" y="48"/>
                  </a:cxn>
                  <a:cxn ang="0">
                    <a:pos x="8" y="44"/>
                  </a:cxn>
                  <a:cxn ang="0">
                    <a:pos x="8" y="40"/>
                  </a:cxn>
                  <a:cxn ang="0">
                    <a:pos x="12" y="40"/>
                  </a:cxn>
                  <a:cxn ang="0">
                    <a:pos x="16" y="4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16" y="28"/>
                  </a:cxn>
                  <a:cxn ang="0">
                    <a:pos x="16" y="24"/>
                  </a:cxn>
                  <a:cxn ang="0">
                    <a:pos x="20" y="24"/>
                  </a:cxn>
                  <a:cxn ang="0">
                    <a:pos x="28" y="24"/>
                  </a:cxn>
                  <a:cxn ang="0">
                    <a:pos x="40" y="12"/>
                  </a:cxn>
                  <a:cxn ang="0">
                    <a:pos x="40" y="0"/>
                  </a:cxn>
                  <a:cxn ang="0">
                    <a:pos x="56" y="0"/>
                  </a:cxn>
                  <a:cxn ang="0">
                    <a:pos x="68" y="0"/>
                  </a:cxn>
                  <a:cxn ang="0">
                    <a:pos x="68" y="4"/>
                  </a:cxn>
                  <a:cxn ang="0">
                    <a:pos x="68" y="12"/>
                  </a:cxn>
                  <a:cxn ang="0">
                    <a:pos x="68" y="20"/>
                  </a:cxn>
                  <a:cxn ang="0">
                    <a:pos x="76" y="16"/>
                  </a:cxn>
                  <a:cxn ang="0">
                    <a:pos x="84" y="16"/>
                  </a:cxn>
                  <a:cxn ang="0">
                    <a:pos x="88" y="24"/>
                  </a:cxn>
                  <a:cxn ang="0">
                    <a:pos x="80" y="32"/>
                  </a:cxn>
                  <a:cxn ang="0">
                    <a:pos x="80" y="44"/>
                  </a:cxn>
                  <a:cxn ang="0">
                    <a:pos x="84" y="48"/>
                  </a:cxn>
                  <a:cxn ang="0">
                    <a:pos x="88" y="52"/>
                  </a:cxn>
                  <a:cxn ang="0">
                    <a:pos x="88" y="64"/>
                  </a:cxn>
                  <a:cxn ang="0">
                    <a:pos x="88" y="76"/>
                  </a:cxn>
                  <a:cxn ang="0">
                    <a:pos x="84" y="80"/>
                  </a:cxn>
                  <a:cxn ang="0">
                    <a:pos x="80" y="88"/>
                  </a:cxn>
                  <a:cxn ang="0">
                    <a:pos x="76" y="84"/>
                  </a:cxn>
                  <a:cxn ang="0">
                    <a:pos x="68" y="84"/>
                  </a:cxn>
                  <a:cxn ang="0">
                    <a:pos x="64" y="84"/>
                  </a:cxn>
                  <a:cxn ang="0">
                    <a:pos x="60" y="76"/>
                  </a:cxn>
                  <a:cxn ang="0">
                    <a:pos x="56" y="80"/>
                  </a:cxn>
                  <a:cxn ang="0">
                    <a:pos x="52" y="84"/>
                  </a:cxn>
                  <a:cxn ang="0">
                    <a:pos x="44" y="84"/>
                  </a:cxn>
                  <a:cxn ang="0">
                    <a:pos x="44" y="92"/>
                  </a:cxn>
                  <a:cxn ang="0">
                    <a:pos x="4" y="56"/>
                  </a:cxn>
                  <a:cxn ang="0">
                    <a:pos x="4" y="56"/>
                  </a:cxn>
                </a:cxnLst>
                <a:rect l="0" t="0" r="r" b="b"/>
                <a:pathLst>
                  <a:path w="88" h="111">
                    <a:moveTo>
                      <a:pt x="44" y="92"/>
                    </a:moveTo>
                    <a:lnTo>
                      <a:pt x="44" y="92"/>
                    </a:lnTo>
                    <a:lnTo>
                      <a:pt x="44" y="96"/>
                    </a:lnTo>
                    <a:lnTo>
                      <a:pt x="44" y="96"/>
                    </a:lnTo>
                    <a:lnTo>
                      <a:pt x="44" y="92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9"/>
                    </a:lnTo>
                    <a:lnTo>
                      <a:pt x="44" y="99"/>
                    </a:lnTo>
                    <a:lnTo>
                      <a:pt x="44" y="99"/>
                    </a:lnTo>
                    <a:lnTo>
                      <a:pt x="48" y="99"/>
                    </a:lnTo>
                    <a:lnTo>
                      <a:pt x="48" y="99"/>
                    </a:lnTo>
                    <a:lnTo>
                      <a:pt x="48" y="99"/>
                    </a:lnTo>
                    <a:lnTo>
                      <a:pt x="48" y="103"/>
                    </a:lnTo>
                    <a:lnTo>
                      <a:pt x="48" y="103"/>
                    </a:lnTo>
                    <a:lnTo>
                      <a:pt x="48" y="103"/>
                    </a:lnTo>
                    <a:lnTo>
                      <a:pt x="48" y="103"/>
                    </a:lnTo>
                    <a:lnTo>
                      <a:pt x="48" y="103"/>
                    </a:lnTo>
                    <a:lnTo>
                      <a:pt x="48" y="103"/>
                    </a:lnTo>
                    <a:lnTo>
                      <a:pt x="48" y="107"/>
                    </a:lnTo>
                    <a:lnTo>
                      <a:pt x="48" y="107"/>
                    </a:lnTo>
                    <a:lnTo>
                      <a:pt x="48" y="107"/>
                    </a:lnTo>
                    <a:lnTo>
                      <a:pt x="48" y="107"/>
                    </a:lnTo>
                    <a:lnTo>
                      <a:pt x="48" y="107"/>
                    </a:lnTo>
                    <a:lnTo>
                      <a:pt x="48" y="107"/>
                    </a:lnTo>
                    <a:lnTo>
                      <a:pt x="48" y="107"/>
                    </a:lnTo>
                    <a:lnTo>
                      <a:pt x="48" y="107"/>
                    </a:lnTo>
                    <a:lnTo>
                      <a:pt x="48" y="107"/>
                    </a:lnTo>
                    <a:lnTo>
                      <a:pt x="44" y="107"/>
                    </a:lnTo>
                    <a:lnTo>
                      <a:pt x="44" y="107"/>
                    </a:lnTo>
                    <a:lnTo>
                      <a:pt x="44" y="107"/>
                    </a:lnTo>
                    <a:lnTo>
                      <a:pt x="44" y="107"/>
                    </a:lnTo>
                    <a:lnTo>
                      <a:pt x="44" y="107"/>
                    </a:lnTo>
                    <a:lnTo>
                      <a:pt x="44" y="107"/>
                    </a:lnTo>
                    <a:lnTo>
                      <a:pt x="40" y="107"/>
                    </a:lnTo>
                    <a:lnTo>
                      <a:pt x="40" y="107"/>
                    </a:lnTo>
                    <a:lnTo>
                      <a:pt x="36" y="111"/>
                    </a:lnTo>
                    <a:lnTo>
                      <a:pt x="36" y="111"/>
                    </a:lnTo>
                    <a:lnTo>
                      <a:pt x="36" y="111"/>
                    </a:lnTo>
                    <a:lnTo>
                      <a:pt x="36" y="111"/>
                    </a:lnTo>
                    <a:lnTo>
                      <a:pt x="36" y="111"/>
                    </a:lnTo>
                    <a:lnTo>
                      <a:pt x="36" y="111"/>
                    </a:lnTo>
                    <a:lnTo>
                      <a:pt x="36" y="111"/>
                    </a:lnTo>
                    <a:lnTo>
                      <a:pt x="36" y="107"/>
                    </a:lnTo>
                    <a:lnTo>
                      <a:pt x="36" y="107"/>
                    </a:lnTo>
                    <a:lnTo>
                      <a:pt x="32" y="107"/>
                    </a:lnTo>
                    <a:lnTo>
                      <a:pt x="32" y="107"/>
                    </a:lnTo>
                    <a:lnTo>
                      <a:pt x="32" y="107"/>
                    </a:lnTo>
                    <a:lnTo>
                      <a:pt x="32" y="107"/>
                    </a:lnTo>
                    <a:lnTo>
                      <a:pt x="32" y="103"/>
                    </a:lnTo>
                    <a:lnTo>
                      <a:pt x="28" y="103"/>
                    </a:lnTo>
                    <a:lnTo>
                      <a:pt x="28" y="103"/>
                    </a:lnTo>
                    <a:lnTo>
                      <a:pt x="28" y="103"/>
                    </a:lnTo>
                    <a:lnTo>
                      <a:pt x="28" y="99"/>
                    </a:lnTo>
                    <a:lnTo>
                      <a:pt x="28" y="99"/>
                    </a:lnTo>
                    <a:lnTo>
                      <a:pt x="24" y="96"/>
                    </a:lnTo>
                    <a:lnTo>
                      <a:pt x="24" y="96"/>
                    </a:lnTo>
                    <a:lnTo>
                      <a:pt x="24" y="96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92"/>
                    </a:lnTo>
                    <a:lnTo>
                      <a:pt x="24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20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12" y="76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8" y="68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2"/>
                    </a:lnTo>
                    <a:lnTo>
                      <a:pt x="0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2" y="36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20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4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8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16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6" y="20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0" y="16"/>
                    </a:lnTo>
                    <a:lnTo>
                      <a:pt x="84" y="16"/>
                    </a:lnTo>
                    <a:lnTo>
                      <a:pt x="84" y="16"/>
                    </a:lnTo>
                    <a:lnTo>
                      <a:pt x="84" y="16"/>
                    </a:lnTo>
                    <a:lnTo>
                      <a:pt x="84" y="16"/>
                    </a:lnTo>
                    <a:lnTo>
                      <a:pt x="84" y="16"/>
                    </a:lnTo>
                    <a:lnTo>
                      <a:pt x="84" y="16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4" y="20"/>
                    </a:lnTo>
                    <a:lnTo>
                      <a:pt x="88" y="24"/>
                    </a:lnTo>
                    <a:lnTo>
                      <a:pt x="88" y="24"/>
                    </a:lnTo>
                    <a:lnTo>
                      <a:pt x="88" y="24"/>
                    </a:lnTo>
                    <a:lnTo>
                      <a:pt x="88" y="28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4" y="32"/>
                    </a:lnTo>
                    <a:lnTo>
                      <a:pt x="80" y="32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0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4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8" y="52"/>
                    </a:lnTo>
                    <a:lnTo>
                      <a:pt x="88" y="52"/>
                    </a:lnTo>
                    <a:lnTo>
                      <a:pt x="88" y="52"/>
                    </a:lnTo>
                    <a:lnTo>
                      <a:pt x="88" y="52"/>
                    </a:lnTo>
                    <a:lnTo>
                      <a:pt x="88" y="56"/>
                    </a:lnTo>
                    <a:lnTo>
                      <a:pt x="88" y="56"/>
                    </a:lnTo>
                    <a:lnTo>
                      <a:pt x="88" y="56"/>
                    </a:lnTo>
                    <a:lnTo>
                      <a:pt x="88" y="60"/>
                    </a:lnTo>
                    <a:lnTo>
                      <a:pt x="88" y="60"/>
                    </a:lnTo>
                    <a:lnTo>
                      <a:pt x="88" y="60"/>
                    </a:lnTo>
                    <a:lnTo>
                      <a:pt x="88" y="64"/>
                    </a:lnTo>
                    <a:lnTo>
                      <a:pt x="88" y="64"/>
                    </a:lnTo>
                    <a:lnTo>
                      <a:pt x="88" y="64"/>
                    </a:lnTo>
                    <a:lnTo>
                      <a:pt x="88" y="68"/>
                    </a:lnTo>
                    <a:lnTo>
                      <a:pt x="88" y="72"/>
                    </a:lnTo>
                    <a:lnTo>
                      <a:pt x="88" y="72"/>
                    </a:lnTo>
                    <a:lnTo>
                      <a:pt x="88" y="72"/>
                    </a:lnTo>
                    <a:lnTo>
                      <a:pt x="88" y="76"/>
                    </a:lnTo>
                    <a:lnTo>
                      <a:pt x="88" y="76"/>
                    </a:lnTo>
                    <a:lnTo>
                      <a:pt x="88" y="76"/>
                    </a:lnTo>
                    <a:lnTo>
                      <a:pt x="88" y="76"/>
                    </a:lnTo>
                    <a:lnTo>
                      <a:pt x="88" y="76"/>
                    </a:lnTo>
                    <a:lnTo>
                      <a:pt x="84" y="76"/>
                    </a:lnTo>
                    <a:lnTo>
                      <a:pt x="84" y="76"/>
                    </a:lnTo>
                    <a:lnTo>
                      <a:pt x="84" y="80"/>
                    </a:lnTo>
                    <a:lnTo>
                      <a:pt x="84" y="80"/>
                    </a:lnTo>
                    <a:lnTo>
                      <a:pt x="84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8"/>
                    </a:lnTo>
                    <a:lnTo>
                      <a:pt x="84" y="88"/>
                    </a:lnTo>
                    <a:lnTo>
                      <a:pt x="80" y="88"/>
                    </a:lnTo>
                    <a:lnTo>
                      <a:pt x="80" y="88"/>
                    </a:lnTo>
                    <a:lnTo>
                      <a:pt x="80" y="88"/>
                    </a:lnTo>
                    <a:lnTo>
                      <a:pt x="80" y="88"/>
                    </a:lnTo>
                    <a:lnTo>
                      <a:pt x="80" y="84"/>
                    </a:lnTo>
                    <a:lnTo>
                      <a:pt x="76" y="80"/>
                    </a:lnTo>
                    <a:lnTo>
                      <a:pt x="76" y="80"/>
                    </a:lnTo>
                    <a:lnTo>
                      <a:pt x="76" y="80"/>
                    </a:lnTo>
                    <a:lnTo>
                      <a:pt x="76" y="84"/>
                    </a:lnTo>
                    <a:lnTo>
                      <a:pt x="76" y="84"/>
                    </a:lnTo>
                    <a:lnTo>
                      <a:pt x="76" y="84"/>
                    </a:lnTo>
                    <a:lnTo>
                      <a:pt x="72" y="84"/>
                    </a:lnTo>
                    <a:lnTo>
                      <a:pt x="72" y="84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72" y="88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4"/>
                    </a:lnTo>
                    <a:lnTo>
                      <a:pt x="52" y="84"/>
                    </a:lnTo>
                    <a:lnTo>
                      <a:pt x="48" y="84"/>
                    </a:lnTo>
                    <a:lnTo>
                      <a:pt x="48" y="84"/>
                    </a:lnTo>
                    <a:lnTo>
                      <a:pt x="48" y="84"/>
                    </a:lnTo>
                    <a:lnTo>
                      <a:pt x="48" y="88"/>
                    </a:lnTo>
                    <a:lnTo>
                      <a:pt x="48" y="88"/>
                    </a:lnTo>
                    <a:lnTo>
                      <a:pt x="44" y="84"/>
                    </a:lnTo>
                    <a:lnTo>
                      <a:pt x="44" y="84"/>
                    </a:lnTo>
                    <a:lnTo>
                      <a:pt x="44" y="84"/>
                    </a:lnTo>
                    <a:lnTo>
                      <a:pt x="44" y="84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4" y="92"/>
                    </a:lnTo>
                    <a:lnTo>
                      <a:pt x="44" y="92"/>
                    </a:lnTo>
                    <a:lnTo>
                      <a:pt x="44" y="92"/>
                    </a:lnTo>
                    <a:lnTo>
                      <a:pt x="44" y="92"/>
                    </a:lnTo>
                    <a:lnTo>
                      <a:pt x="44" y="92"/>
                    </a:lnTo>
                    <a:lnTo>
                      <a:pt x="44" y="92"/>
                    </a:lnTo>
                    <a:close/>
                    <a:moveTo>
                      <a:pt x="4" y="56"/>
                    </a:move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7" name="Freeform 137">
                <a:extLst>
                  <a:ext uri="{FF2B5EF4-FFF2-40B4-BE49-F238E27FC236}">
                    <a16:creationId xmlns:a16="http://schemas.microsoft.com/office/drawing/2014/main" id="{D15ECBAC-92DB-48E6-AAA7-554F664AC45A}"/>
                  </a:ext>
                </a:extLst>
              </p:cNvPr>
              <p:cNvSpPr>
                <a:spLocks/>
              </p:cNvSpPr>
              <p:nvPr>
                <p:custDataLst>
                  <p:tags r:id="rId57"/>
                </p:custDataLst>
              </p:nvPr>
            </p:nvSpPr>
            <p:spPr bwMode="gray">
              <a:xfrm>
                <a:off x="3732514" y="5705978"/>
                <a:ext cx="85721" cy="151272"/>
              </a:xfrm>
              <a:custGeom>
                <a:avLst/>
                <a:gdLst/>
                <a:ahLst/>
                <a:cxnLst>
                  <a:cxn ang="0">
                    <a:pos x="0" y="84"/>
                  </a:cxn>
                  <a:cxn ang="0">
                    <a:pos x="0" y="76"/>
                  </a:cxn>
                  <a:cxn ang="0">
                    <a:pos x="4" y="64"/>
                  </a:cxn>
                  <a:cxn ang="0">
                    <a:pos x="12" y="56"/>
                  </a:cxn>
                  <a:cxn ang="0">
                    <a:pos x="8" y="44"/>
                  </a:cxn>
                  <a:cxn ang="0">
                    <a:pos x="8" y="40"/>
                  </a:cxn>
                  <a:cxn ang="0">
                    <a:pos x="8" y="32"/>
                  </a:cxn>
                  <a:cxn ang="0">
                    <a:pos x="8" y="28"/>
                  </a:cxn>
                  <a:cxn ang="0">
                    <a:pos x="4" y="24"/>
                  </a:cxn>
                  <a:cxn ang="0">
                    <a:pos x="4" y="12"/>
                  </a:cxn>
                  <a:cxn ang="0">
                    <a:pos x="4" y="4"/>
                  </a:cxn>
                  <a:cxn ang="0">
                    <a:pos x="24" y="4"/>
                  </a:cxn>
                  <a:cxn ang="0">
                    <a:pos x="36" y="4"/>
                  </a:cxn>
                  <a:cxn ang="0">
                    <a:pos x="44" y="4"/>
                  </a:cxn>
                  <a:cxn ang="0">
                    <a:pos x="48" y="4"/>
                  </a:cxn>
                  <a:cxn ang="0">
                    <a:pos x="48" y="8"/>
                  </a:cxn>
                  <a:cxn ang="0">
                    <a:pos x="48" y="12"/>
                  </a:cxn>
                  <a:cxn ang="0">
                    <a:pos x="52" y="16"/>
                  </a:cxn>
                  <a:cxn ang="0">
                    <a:pos x="56" y="20"/>
                  </a:cxn>
                  <a:cxn ang="0">
                    <a:pos x="52" y="32"/>
                  </a:cxn>
                  <a:cxn ang="0">
                    <a:pos x="56" y="32"/>
                  </a:cxn>
                  <a:cxn ang="0">
                    <a:pos x="56" y="36"/>
                  </a:cxn>
                  <a:cxn ang="0">
                    <a:pos x="56" y="44"/>
                  </a:cxn>
                  <a:cxn ang="0">
                    <a:pos x="56" y="48"/>
                  </a:cxn>
                  <a:cxn ang="0">
                    <a:pos x="60" y="56"/>
                  </a:cxn>
                  <a:cxn ang="0">
                    <a:pos x="56" y="64"/>
                  </a:cxn>
                  <a:cxn ang="0">
                    <a:pos x="56" y="72"/>
                  </a:cxn>
                  <a:cxn ang="0">
                    <a:pos x="56" y="76"/>
                  </a:cxn>
                  <a:cxn ang="0">
                    <a:pos x="56" y="84"/>
                  </a:cxn>
                  <a:cxn ang="0">
                    <a:pos x="60" y="88"/>
                  </a:cxn>
                  <a:cxn ang="0">
                    <a:pos x="64" y="88"/>
                  </a:cxn>
                  <a:cxn ang="0">
                    <a:pos x="68" y="96"/>
                  </a:cxn>
                  <a:cxn ang="0">
                    <a:pos x="64" y="96"/>
                  </a:cxn>
                  <a:cxn ang="0">
                    <a:pos x="60" y="100"/>
                  </a:cxn>
                  <a:cxn ang="0">
                    <a:pos x="56" y="100"/>
                  </a:cxn>
                  <a:cxn ang="0">
                    <a:pos x="56" y="96"/>
                  </a:cxn>
                  <a:cxn ang="0">
                    <a:pos x="52" y="96"/>
                  </a:cxn>
                  <a:cxn ang="0">
                    <a:pos x="52" y="96"/>
                  </a:cxn>
                  <a:cxn ang="0">
                    <a:pos x="56" y="96"/>
                  </a:cxn>
                  <a:cxn ang="0">
                    <a:pos x="56" y="100"/>
                  </a:cxn>
                  <a:cxn ang="0">
                    <a:pos x="52" y="100"/>
                  </a:cxn>
                  <a:cxn ang="0">
                    <a:pos x="44" y="104"/>
                  </a:cxn>
                  <a:cxn ang="0">
                    <a:pos x="40" y="108"/>
                  </a:cxn>
                  <a:cxn ang="0">
                    <a:pos x="36" y="112"/>
                  </a:cxn>
                  <a:cxn ang="0">
                    <a:pos x="32" y="112"/>
                  </a:cxn>
                  <a:cxn ang="0">
                    <a:pos x="24" y="112"/>
                  </a:cxn>
                  <a:cxn ang="0">
                    <a:pos x="20" y="120"/>
                  </a:cxn>
                  <a:cxn ang="0">
                    <a:pos x="12" y="116"/>
                  </a:cxn>
                  <a:cxn ang="0">
                    <a:pos x="8" y="116"/>
                  </a:cxn>
                  <a:cxn ang="0">
                    <a:pos x="0" y="112"/>
                  </a:cxn>
                  <a:cxn ang="0">
                    <a:pos x="8" y="112"/>
                  </a:cxn>
                  <a:cxn ang="0">
                    <a:pos x="4" y="108"/>
                  </a:cxn>
                  <a:cxn ang="0">
                    <a:pos x="4" y="104"/>
                  </a:cxn>
                  <a:cxn ang="0">
                    <a:pos x="0" y="92"/>
                  </a:cxn>
                </a:cxnLst>
                <a:rect l="0" t="0" r="r" b="b"/>
                <a:pathLst>
                  <a:path w="68" h="120">
                    <a:moveTo>
                      <a:pt x="0" y="92"/>
                    </a:moveTo>
                    <a:lnTo>
                      <a:pt x="0" y="92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48" y="0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20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6" y="32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68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4" y="88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4" y="92"/>
                    </a:lnTo>
                    <a:lnTo>
                      <a:pt x="68" y="92"/>
                    </a:lnTo>
                    <a:lnTo>
                      <a:pt x="68" y="92"/>
                    </a:lnTo>
                    <a:lnTo>
                      <a:pt x="68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60" y="100"/>
                    </a:lnTo>
                    <a:lnTo>
                      <a:pt x="56" y="100"/>
                    </a:lnTo>
                    <a:lnTo>
                      <a:pt x="56" y="100"/>
                    </a:lnTo>
                    <a:lnTo>
                      <a:pt x="52" y="100"/>
                    </a:lnTo>
                    <a:lnTo>
                      <a:pt x="52" y="100"/>
                    </a:lnTo>
                    <a:lnTo>
                      <a:pt x="52" y="100"/>
                    </a:lnTo>
                    <a:lnTo>
                      <a:pt x="52" y="100"/>
                    </a:lnTo>
                    <a:lnTo>
                      <a:pt x="52" y="100"/>
                    </a:lnTo>
                    <a:lnTo>
                      <a:pt x="48" y="104"/>
                    </a:lnTo>
                    <a:lnTo>
                      <a:pt x="48" y="104"/>
                    </a:lnTo>
                    <a:lnTo>
                      <a:pt x="48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4" y="104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12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32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4" y="112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0" y="116"/>
                    </a:lnTo>
                    <a:lnTo>
                      <a:pt x="20" y="120"/>
                    </a:lnTo>
                    <a:lnTo>
                      <a:pt x="16" y="120"/>
                    </a:lnTo>
                    <a:lnTo>
                      <a:pt x="16" y="120"/>
                    </a:lnTo>
                    <a:lnTo>
                      <a:pt x="16" y="120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12" y="116"/>
                    </a:lnTo>
                    <a:lnTo>
                      <a:pt x="8" y="116"/>
                    </a:lnTo>
                    <a:lnTo>
                      <a:pt x="8" y="116"/>
                    </a:lnTo>
                    <a:lnTo>
                      <a:pt x="8" y="116"/>
                    </a:lnTo>
                    <a:lnTo>
                      <a:pt x="4" y="112"/>
                    </a:lnTo>
                    <a:lnTo>
                      <a:pt x="4" y="112"/>
                    </a:lnTo>
                    <a:lnTo>
                      <a:pt x="4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0" y="112"/>
                    </a:lnTo>
                    <a:lnTo>
                      <a:pt x="4" y="112"/>
                    </a:lnTo>
                    <a:lnTo>
                      <a:pt x="4" y="112"/>
                    </a:lnTo>
                    <a:lnTo>
                      <a:pt x="8" y="112"/>
                    </a:lnTo>
                    <a:lnTo>
                      <a:pt x="8" y="112"/>
                    </a:lnTo>
                    <a:lnTo>
                      <a:pt x="8" y="112"/>
                    </a:lnTo>
                    <a:lnTo>
                      <a:pt x="8" y="112"/>
                    </a:lnTo>
                    <a:lnTo>
                      <a:pt x="8" y="112"/>
                    </a:lnTo>
                    <a:lnTo>
                      <a:pt x="4" y="108"/>
                    </a:lnTo>
                    <a:lnTo>
                      <a:pt x="4" y="108"/>
                    </a:lnTo>
                    <a:lnTo>
                      <a:pt x="8" y="108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0"/>
                    </a:lnTo>
                    <a:lnTo>
                      <a:pt x="4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8" name="Freeform 138">
                <a:extLst>
                  <a:ext uri="{FF2B5EF4-FFF2-40B4-BE49-F238E27FC236}">
                    <a16:creationId xmlns:a16="http://schemas.microsoft.com/office/drawing/2014/main" id="{C667E613-30A6-4A46-ABCE-2ED617504336}"/>
                  </a:ext>
                </a:extLst>
              </p:cNvPr>
              <p:cNvSpPr>
                <a:spLocks/>
              </p:cNvSpPr>
              <p:nvPr>
                <p:custDataLst>
                  <p:tags r:id="rId58"/>
                </p:custDataLst>
              </p:nvPr>
            </p:nvSpPr>
            <p:spPr bwMode="gray">
              <a:xfrm>
                <a:off x="3505605" y="5670681"/>
                <a:ext cx="141188" cy="131103"/>
              </a:xfrm>
              <a:custGeom>
                <a:avLst/>
                <a:gdLst/>
                <a:ahLst/>
                <a:cxnLst>
                  <a:cxn ang="0">
                    <a:pos x="104" y="92"/>
                  </a:cxn>
                  <a:cxn ang="0">
                    <a:pos x="100" y="96"/>
                  </a:cxn>
                  <a:cxn ang="0">
                    <a:pos x="96" y="92"/>
                  </a:cxn>
                  <a:cxn ang="0">
                    <a:pos x="92" y="100"/>
                  </a:cxn>
                  <a:cxn ang="0">
                    <a:pos x="88" y="100"/>
                  </a:cxn>
                  <a:cxn ang="0">
                    <a:pos x="84" y="96"/>
                  </a:cxn>
                  <a:cxn ang="0">
                    <a:pos x="84" y="92"/>
                  </a:cxn>
                  <a:cxn ang="0">
                    <a:pos x="80" y="80"/>
                  </a:cxn>
                  <a:cxn ang="0">
                    <a:pos x="72" y="80"/>
                  </a:cxn>
                  <a:cxn ang="0">
                    <a:pos x="64" y="80"/>
                  </a:cxn>
                  <a:cxn ang="0">
                    <a:pos x="68" y="68"/>
                  </a:cxn>
                  <a:cxn ang="0">
                    <a:pos x="64" y="64"/>
                  </a:cxn>
                  <a:cxn ang="0">
                    <a:pos x="60" y="56"/>
                  </a:cxn>
                  <a:cxn ang="0">
                    <a:pos x="52" y="52"/>
                  </a:cxn>
                  <a:cxn ang="0">
                    <a:pos x="44" y="52"/>
                  </a:cxn>
                  <a:cxn ang="0">
                    <a:pos x="36" y="56"/>
                  </a:cxn>
                  <a:cxn ang="0">
                    <a:pos x="32" y="64"/>
                  </a:cxn>
                  <a:cxn ang="0">
                    <a:pos x="28" y="68"/>
                  </a:cxn>
                  <a:cxn ang="0">
                    <a:pos x="24" y="64"/>
                  </a:cxn>
                  <a:cxn ang="0">
                    <a:pos x="20" y="60"/>
                  </a:cxn>
                  <a:cxn ang="0">
                    <a:pos x="20" y="56"/>
                  </a:cxn>
                  <a:cxn ang="0">
                    <a:pos x="20" y="52"/>
                  </a:cxn>
                  <a:cxn ang="0">
                    <a:pos x="16" y="48"/>
                  </a:cxn>
                  <a:cxn ang="0">
                    <a:pos x="8" y="40"/>
                  </a:cxn>
                  <a:cxn ang="0">
                    <a:pos x="8" y="36"/>
                  </a:cxn>
                  <a:cxn ang="0">
                    <a:pos x="4" y="32"/>
                  </a:cxn>
                  <a:cxn ang="0">
                    <a:pos x="0" y="32"/>
                  </a:cxn>
                  <a:cxn ang="0">
                    <a:pos x="0" y="32"/>
                  </a:cxn>
                  <a:cxn ang="0">
                    <a:pos x="4" y="24"/>
                  </a:cxn>
                  <a:cxn ang="0">
                    <a:pos x="8" y="24"/>
                  </a:cxn>
                  <a:cxn ang="0">
                    <a:pos x="16" y="20"/>
                  </a:cxn>
                  <a:cxn ang="0">
                    <a:pos x="16" y="12"/>
                  </a:cxn>
                  <a:cxn ang="0">
                    <a:pos x="20" y="8"/>
                  </a:cxn>
                  <a:cxn ang="0">
                    <a:pos x="20" y="4"/>
                  </a:cxn>
                  <a:cxn ang="0">
                    <a:pos x="28" y="0"/>
                  </a:cxn>
                  <a:cxn ang="0">
                    <a:pos x="32" y="4"/>
                  </a:cxn>
                  <a:cxn ang="0">
                    <a:pos x="40" y="4"/>
                  </a:cxn>
                  <a:cxn ang="0">
                    <a:pos x="44" y="8"/>
                  </a:cxn>
                  <a:cxn ang="0">
                    <a:pos x="52" y="4"/>
                  </a:cxn>
                  <a:cxn ang="0">
                    <a:pos x="52" y="8"/>
                  </a:cxn>
                  <a:cxn ang="0">
                    <a:pos x="56" y="12"/>
                  </a:cxn>
                  <a:cxn ang="0">
                    <a:pos x="64" y="8"/>
                  </a:cxn>
                  <a:cxn ang="0">
                    <a:pos x="68" y="12"/>
                  </a:cxn>
                  <a:cxn ang="0">
                    <a:pos x="80" y="12"/>
                  </a:cxn>
                  <a:cxn ang="0">
                    <a:pos x="84" y="8"/>
                  </a:cxn>
                  <a:cxn ang="0">
                    <a:pos x="88" y="4"/>
                  </a:cxn>
                  <a:cxn ang="0">
                    <a:pos x="92" y="8"/>
                  </a:cxn>
                  <a:cxn ang="0">
                    <a:pos x="92" y="20"/>
                  </a:cxn>
                  <a:cxn ang="0">
                    <a:pos x="96" y="24"/>
                  </a:cxn>
                  <a:cxn ang="0">
                    <a:pos x="100" y="24"/>
                  </a:cxn>
                  <a:cxn ang="0">
                    <a:pos x="96" y="28"/>
                  </a:cxn>
                  <a:cxn ang="0">
                    <a:pos x="104" y="36"/>
                  </a:cxn>
                  <a:cxn ang="0">
                    <a:pos x="108" y="44"/>
                  </a:cxn>
                  <a:cxn ang="0">
                    <a:pos x="104" y="52"/>
                  </a:cxn>
                  <a:cxn ang="0">
                    <a:pos x="104" y="60"/>
                  </a:cxn>
                  <a:cxn ang="0">
                    <a:pos x="108" y="64"/>
                  </a:cxn>
                  <a:cxn ang="0">
                    <a:pos x="108" y="68"/>
                  </a:cxn>
                  <a:cxn ang="0">
                    <a:pos x="108" y="72"/>
                  </a:cxn>
                  <a:cxn ang="0">
                    <a:pos x="112" y="80"/>
                  </a:cxn>
                  <a:cxn ang="0">
                    <a:pos x="104" y="84"/>
                  </a:cxn>
                  <a:cxn ang="0">
                    <a:pos x="108" y="88"/>
                  </a:cxn>
                </a:cxnLst>
                <a:rect l="0" t="0" r="r" b="b"/>
                <a:pathLst>
                  <a:path w="112" h="104">
                    <a:moveTo>
                      <a:pt x="108" y="88"/>
                    </a:moveTo>
                    <a:lnTo>
                      <a:pt x="108" y="88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4" y="88"/>
                    </a:lnTo>
                    <a:lnTo>
                      <a:pt x="104" y="92"/>
                    </a:lnTo>
                    <a:lnTo>
                      <a:pt x="104" y="92"/>
                    </a:lnTo>
                    <a:lnTo>
                      <a:pt x="104" y="92"/>
                    </a:lnTo>
                    <a:lnTo>
                      <a:pt x="104" y="96"/>
                    </a:lnTo>
                    <a:lnTo>
                      <a:pt x="104" y="96"/>
                    </a:lnTo>
                    <a:lnTo>
                      <a:pt x="104" y="96"/>
                    </a:lnTo>
                    <a:lnTo>
                      <a:pt x="104" y="96"/>
                    </a:lnTo>
                    <a:lnTo>
                      <a:pt x="104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6"/>
                    </a:lnTo>
                    <a:lnTo>
                      <a:pt x="100" y="92"/>
                    </a:lnTo>
                    <a:lnTo>
                      <a:pt x="100" y="92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6" y="92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92" y="100"/>
                    </a:lnTo>
                    <a:lnTo>
                      <a:pt x="88" y="100"/>
                    </a:lnTo>
                    <a:lnTo>
                      <a:pt x="88" y="104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8" y="100"/>
                    </a:lnTo>
                    <a:lnTo>
                      <a:pt x="88" y="96"/>
                    </a:lnTo>
                    <a:lnTo>
                      <a:pt x="84" y="96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100"/>
                    </a:lnTo>
                    <a:lnTo>
                      <a:pt x="84" y="96"/>
                    </a:lnTo>
                    <a:lnTo>
                      <a:pt x="84" y="96"/>
                    </a:lnTo>
                    <a:lnTo>
                      <a:pt x="84" y="96"/>
                    </a:lnTo>
                    <a:lnTo>
                      <a:pt x="84" y="96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8" y="92"/>
                    </a:lnTo>
                    <a:lnTo>
                      <a:pt x="84" y="92"/>
                    </a:lnTo>
                    <a:lnTo>
                      <a:pt x="84" y="92"/>
                    </a:lnTo>
                    <a:lnTo>
                      <a:pt x="84" y="88"/>
                    </a:lnTo>
                    <a:lnTo>
                      <a:pt x="84" y="88"/>
                    </a:lnTo>
                    <a:lnTo>
                      <a:pt x="84" y="88"/>
                    </a:lnTo>
                    <a:lnTo>
                      <a:pt x="84" y="88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0" y="80"/>
                    </a:lnTo>
                    <a:lnTo>
                      <a:pt x="80" y="80"/>
                    </a:lnTo>
                    <a:lnTo>
                      <a:pt x="80" y="76"/>
                    </a:lnTo>
                    <a:lnTo>
                      <a:pt x="80" y="80"/>
                    </a:lnTo>
                    <a:lnTo>
                      <a:pt x="80" y="76"/>
                    </a:lnTo>
                    <a:lnTo>
                      <a:pt x="76" y="76"/>
                    </a:lnTo>
                    <a:lnTo>
                      <a:pt x="76" y="80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4" y="80"/>
                    </a:lnTo>
                    <a:lnTo>
                      <a:pt x="64" y="80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8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8" y="64"/>
                    </a:lnTo>
                    <a:lnTo>
                      <a:pt x="68" y="64"/>
                    </a:lnTo>
                    <a:lnTo>
                      <a:pt x="64" y="64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6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8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4" y="52"/>
                    </a:lnTo>
                    <a:lnTo>
                      <a:pt x="40" y="52"/>
                    </a:lnTo>
                    <a:lnTo>
                      <a:pt x="40" y="52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60"/>
                    </a:lnTo>
                    <a:lnTo>
                      <a:pt x="36" y="60"/>
                    </a:lnTo>
                    <a:lnTo>
                      <a:pt x="36" y="60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4"/>
                    </a:lnTo>
                    <a:lnTo>
                      <a:pt x="32" y="68"/>
                    </a:lnTo>
                    <a:lnTo>
                      <a:pt x="32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4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20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6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4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8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4" y="16"/>
                    </a:lnTo>
                    <a:lnTo>
                      <a:pt x="68" y="16"/>
                    </a:lnTo>
                    <a:lnTo>
                      <a:pt x="68" y="12"/>
                    </a:lnTo>
                    <a:lnTo>
                      <a:pt x="68" y="12"/>
                    </a:lnTo>
                    <a:lnTo>
                      <a:pt x="72" y="12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8"/>
                    </a:lnTo>
                    <a:lnTo>
                      <a:pt x="76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0" y="12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4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8" y="4"/>
                    </a:lnTo>
                    <a:lnTo>
                      <a:pt x="84" y="4"/>
                    </a:lnTo>
                    <a:lnTo>
                      <a:pt x="84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2" y="8"/>
                    </a:lnTo>
                    <a:lnTo>
                      <a:pt x="96" y="12"/>
                    </a:lnTo>
                    <a:lnTo>
                      <a:pt x="96" y="16"/>
                    </a:lnTo>
                    <a:lnTo>
                      <a:pt x="96" y="16"/>
                    </a:lnTo>
                    <a:lnTo>
                      <a:pt x="92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0"/>
                    </a:lnTo>
                    <a:lnTo>
                      <a:pt x="96" y="24"/>
                    </a:lnTo>
                    <a:lnTo>
                      <a:pt x="96" y="24"/>
                    </a:lnTo>
                    <a:lnTo>
                      <a:pt x="96" y="24"/>
                    </a:lnTo>
                    <a:lnTo>
                      <a:pt x="96" y="24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100" y="24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100" y="28"/>
                    </a:lnTo>
                    <a:lnTo>
                      <a:pt x="96" y="28"/>
                    </a:lnTo>
                    <a:lnTo>
                      <a:pt x="96" y="32"/>
                    </a:lnTo>
                    <a:lnTo>
                      <a:pt x="96" y="32"/>
                    </a:lnTo>
                    <a:lnTo>
                      <a:pt x="96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4" y="32"/>
                    </a:lnTo>
                    <a:lnTo>
                      <a:pt x="104" y="36"/>
                    </a:lnTo>
                    <a:lnTo>
                      <a:pt x="100" y="36"/>
                    </a:lnTo>
                    <a:lnTo>
                      <a:pt x="104" y="40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8" y="48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4" y="48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2"/>
                    </a:lnTo>
                    <a:lnTo>
                      <a:pt x="104" y="56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4" y="60"/>
                    </a:lnTo>
                    <a:lnTo>
                      <a:pt x="108" y="60"/>
                    </a:lnTo>
                    <a:lnTo>
                      <a:pt x="108" y="60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4"/>
                    </a:lnTo>
                    <a:lnTo>
                      <a:pt x="108" y="68"/>
                    </a:lnTo>
                    <a:lnTo>
                      <a:pt x="112" y="68"/>
                    </a:lnTo>
                    <a:lnTo>
                      <a:pt x="112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8" y="72"/>
                    </a:lnTo>
                    <a:lnTo>
                      <a:pt x="108" y="72"/>
                    </a:lnTo>
                    <a:lnTo>
                      <a:pt x="108" y="72"/>
                    </a:lnTo>
                    <a:lnTo>
                      <a:pt x="108" y="72"/>
                    </a:lnTo>
                    <a:lnTo>
                      <a:pt x="108" y="72"/>
                    </a:lnTo>
                    <a:lnTo>
                      <a:pt x="112" y="72"/>
                    </a:lnTo>
                    <a:lnTo>
                      <a:pt x="112" y="76"/>
                    </a:lnTo>
                    <a:lnTo>
                      <a:pt x="112" y="76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12" y="80"/>
                    </a:lnTo>
                    <a:lnTo>
                      <a:pt x="108" y="80"/>
                    </a:lnTo>
                    <a:lnTo>
                      <a:pt x="108" y="80"/>
                    </a:lnTo>
                    <a:lnTo>
                      <a:pt x="108" y="76"/>
                    </a:lnTo>
                    <a:lnTo>
                      <a:pt x="104" y="76"/>
                    </a:lnTo>
                    <a:lnTo>
                      <a:pt x="104" y="80"/>
                    </a:lnTo>
                    <a:lnTo>
                      <a:pt x="104" y="80"/>
                    </a:lnTo>
                    <a:lnTo>
                      <a:pt x="104" y="84"/>
                    </a:lnTo>
                    <a:lnTo>
                      <a:pt x="104" y="84"/>
                    </a:lnTo>
                    <a:lnTo>
                      <a:pt x="104" y="84"/>
                    </a:lnTo>
                    <a:lnTo>
                      <a:pt x="104" y="84"/>
                    </a:lnTo>
                    <a:lnTo>
                      <a:pt x="104" y="84"/>
                    </a:lnTo>
                    <a:lnTo>
                      <a:pt x="108" y="84"/>
                    </a:lnTo>
                    <a:lnTo>
                      <a:pt x="108" y="84"/>
                    </a:lnTo>
                    <a:lnTo>
                      <a:pt x="108" y="88"/>
                    </a:lnTo>
                    <a:lnTo>
                      <a:pt x="108" y="8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69" name="Freeform 139">
                <a:extLst>
                  <a:ext uri="{FF2B5EF4-FFF2-40B4-BE49-F238E27FC236}">
                    <a16:creationId xmlns:a16="http://schemas.microsoft.com/office/drawing/2014/main" id="{7C1783FD-7FB6-4C54-9ECE-BDF6E65FD0CB}"/>
                  </a:ext>
                </a:extLst>
              </p:cNvPr>
              <p:cNvSpPr>
                <a:spLocks noEditPoints="1"/>
              </p:cNvSpPr>
              <p:nvPr>
                <p:custDataLst>
                  <p:tags r:id="rId59"/>
                </p:custDataLst>
              </p:nvPr>
            </p:nvSpPr>
            <p:spPr bwMode="gray">
              <a:xfrm>
                <a:off x="3475351" y="5670681"/>
                <a:ext cx="55467" cy="40339"/>
              </a:xfrm>
              <a:custGeom>
                <a:avLst/>
                <a:gdLst/>
                <a:ahLst/>
                <a:cxnLst>
                  <a:cxn ang="0">
                    <a:pos x="8" y="16"/>
                  </a:cxn>
                  <a:cxn ang="0">
                    <a:pos x="12" y="12"/>
                  </a:cxn>
                  <a:cxn ang="0">
                    <a:pos x="12" y="12"/>
                  </a:cxn>
                  <a:cxn ang="0">
                    <a:pos x="12" y="16"/>
                  </a:cxn>
                  <a:cxn ang="0">
                    <a:pos x="4" y="16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4"/>
                  </a:cxn>
                  <a:cxn ang="0">
                    <a:pos x="12" y="4"/>
                  </a:cxn>
                  <a:cxn ang="0">
                    <a:pos x="20" y="0"/>
                  </a:cxn>
                  <a:cxn ang="0">
                    <a:pos x="32" y="0"/>
                  </a:cxn>
                  <a:cxn ang="0">
                    <a:pos x="40" y="0"/>
                  </a:cxn>
                  <a:cxn ang="0">
                    <a:pos x="44" y="4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40" y="12"/>
                  </a:cxn>
                  <a:cxn ang="0">
                    <a:pos x="44" y="20"/>
                  </a:cxn>
                  <a:cxn ang="0">
                    <a:pos x="36" y="20"/>
                  </a:cxn>
                  <a:cxn ang="0">
                    <a:pos x="32" y="20"/>
                  </a:cxn>
                  <a:cxn ang="0">
                    <a:pos x="28" y="24"/>
                  </a:cxn>
                  <a:cxn ang="0">
                    <a:pos x="28" y="28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4" y="28"/>
                  </a:cxn>
                  <a:cxn ang="0">
                    <a:pos x="20" y="32"/>
                  </a:cxn>
                  <a:cxn ang="0">
                    <a:pos x="20" y="28"/>
                  </a:cxn>
                  <a:cxn ang="0">
                    <a:pos x="20" y="28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0" y="24"/>
                  </a:cxn>
                  <a:cxn ang="0">
                    <a:pos x="20" y="20"/>
                  </a:cxn>
                  <a:cxn ang="0">
                    <a:pos x="24" y="20"/>
                  </a:cxn>
                  <a:cxn ang="0">
                    <a:pos x="20" y="20"/>
                  </a:cxn>
                  <a:cxn ang="0">
                    <a:pos x="20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20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6"/>
                  </a:cxn>
                  <a:cxn ang="0">
                    <a:pos x="24" y="12"/>
                  </a:cxn>
                  <a:cxn ang="0">
                    <a:pos x="20" y="16"/>
                  </a:cxn>
                  <a:cxn ang="0">
                    <a:pos x="16" y="16"/>
                  </a:cxn>
                  <a:cxn ang="0">
                    <a:pos x="12" y="28"/>
                  </a:cxn>
                  <a:cxn ang="0">
                    <a:pos x="12" y="28"/>
                  </a:cxn>
                  <a:cxn ang="0">
                    <a:pos x="12" y="28"/>
                  </a:cxn>
                  <a:cxn ang="0">
                    <a:pos x="8" y="16"/>
                  </a:cxn>
                  <a:cxn ang="0">
                    <a:pos x="8" y="16"/>
                  </a:cxn>
                  <a:cxn ang="0">
                    <a:pos x="16" y="24"/>
                  </a:cxn>
                  <a:cxn ang="0">
                    <a:pos x="8" y="24"/>
                  </a:cxn>
                  <a:cxn ang="0">
                    <a:pos x="12" y="20"/>
                  </a:cxn>
                  <a:cxn ang="0">
                    <a:pos x="8" y="24"/>
                  </a:cxn>
                  <a:cxn ang="0">
                    <a:pos x="4" y="24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8" y="32"/>
                  </a:cxn>
                  <a:cxn ang="0">
                    <a:pos x="4" y="28"/>
                  </a:cxn>
                  <a:cxn ang="0">
                    <a:pos x="8" y="28"/>
                  </a:cxn>
                  <a:cxn ang="0">
                    <a:pos x="8" y="28"/>
                  </a:cxn>
                </a:cxnLst>
                <a:rect l="0" t="0" r="r" b="b"/>
                <a:pathLst>
                  <a:path w="44" h="32">
                    <a:moveTo>
                      <a:pt x="12" y="16"/>
                    </a:moveTo>
                    <a:lnTo>
                      <a:pt x="12" y="16"/>
                    </a:lnTo>
                    <a:lnTo>
                      <a:pt x="12" y="16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6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16" y="28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2" y="16"/>
                    </a:lnTo>
                    <a:close/>
                    <a:moveTo>
                      <a:pt x="12" y="28"/>
                    </a:move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2" y="28"/>
                    </a:lnTo>
                    <a:close/>
                    <a:moveTo>
                      <a:pt x="8" y="16"/>
                    </a:move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close/>
                    <a:moveTo>
                      <a:pt x="16" y="20"/>
                    </a:moveTo>
                    <a:lnTo>
                      <a:pt x="16" y="20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close/>
                    <a:moveTo>
                      <a:pt x="8" y="24"/>
                    </a:move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8" y="24"/>
                    </a:lnTo>
                    <a:lnTo>
                      <a:pt x="8" y="24"/>
                    </a:lnTo>
                    <a:close/>
                    <a:moveTo>
                      <a:pt x="4" y="24"/>
                    </a:move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  <a:moveTo>
                      <a:pt x="8" y="32"/>
                    </a:move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0" name="Freeform 140">
                <a:extLst>
                  <a:ext uri="{FF2B5EF4-FFF2-40B4-BE49-F238E27FC236}">
                    <a16:creationId xmlns:a16="http://schemas.microsoft.com/office/drawing/2014/main" id="{74E25ADD-B851-4CFD-A4F8-ACAA707F2648}"/>
                  </a:ext>
                </a:extLst>
              </p:cNvPr>
              <p:cNvSpPr>
                <a:spLocks noEditPoints="1"/>
              </p:cNvSpPr>
              <p:nvPr>
                <p:custDataLst>
                  <p:tags r:id="rId60"/>
                </p:custDataLst>
              </p:nvPr>
            </p:nvSpPr>
            <p:spPr bwMode="gray">
              <a:xfrm>
                <a:off x="4440974" y="5857250"/>
                <a:ext cx="151273" cy="215563"/>
              </a:xfrm>
              <a:custGeom>
                <a:avLst/>
                <a:gdLst/>
                <a:ahLst/>
                <a:cxnLst>
                  <a:cxn ang="0">
                    <a:pos x="0" y="88"/>
                  </a:cxn>
                  <a:cxn ang="0">
                    <a:pos x="0" y="84"/>
                  </a:cxn>
                  <a:cxn ang="0">
                    <a:pos x="4" y="76"/>
                  </a:cxn>
                  <a:cxn ang="0">
                    <a:pos x="8" y="68"/>
                  </a:cxn>
                  <a:cxn ang="0">
                    <a:pos x="12" y="64"/>
                  </a:cxn>
                  <a:cxn ang="0">
                    <a:pos x="12" y="60"/>
                  </a:cxn>
                  <a:cxn ang="0">
                    <a:pos x="12" y="60"/>
                  </a:cxn>
                  <a:cxn ang="0">
                    <a:pos x="16" y="56"/>
                  </a:cxn>
                  <a:cxn ang="0">
                    <a:pos x="12" y="44"/>
                  </a:cxn>
                  <a:cxn ang="0">
                    <a:pos x="12" y="36"/>
                  </a:cxn>
                  <a:cxn ang="0">
                    <a:pos x="8" y="32"/>
                  </a:cxn>
                  <a:cxn ang="0">
                    <a:pos x="8" y="24"/>
                  </a:cxn>
                  <a:cxn ang="0">
                    <a:pos x="4" y="16"/>
                  </a:cxn>
                  <a:cxn ang="0">
                    <a:pos x="0" y="8"/>
                  </a:cxn>
                  <a:cxn ang="0">
                    <a:pos x="8" y="0"/>
                  </a:cxn>
                  <a:cxn ang="0">
                    <a:pos x="16" y="0"/>
                  </a:cxn>
                  <a:cxn ang="0">
                    <a:pos x="24" y="0"/>
                  </a:cxn>
                  <a:cxn ang="0">
                    <a:pos x="28" y="0"/>
                  </a:cxn>
                  <a:cxn ang="0">
                    <a:pos x="40" y="4"/>
                  </a:cxn>
                  <a:cxn ang="0">
                    <a:pos x="48" y="8"/>
                  </a:cxn>
                  <a:cxn ang="0">
                    <a:pos x="64" y="20"/>
                  </a:cxn>
                  <a:cxn ang="0">
                    <a:pos x="76" y="20"/>
                  </a:cxn>
                  <a:cxn ang="0">
                    <a:pos x="80" y="24"/>
                  </a:cxn>
                  <a:cxn ang="0">
                    <a:pos x="84" y="24"/>
                  </a:cxn>
                  <a:cxn ang="0">
                    <a:pos x="88" y="20"/>
                  </a:cxn>
                  <a:cxn ang="0">
                    <a:pos x="100" y="8"/>
                  </a:cxn>
                  <a:cxn ang="0">
                    <a:pos x="108" y="12"/>
                  </a:cxn>
                  <a:cxn ang="0">
                    <a:pos x="112" y="12"/>
                  </a:cxn>
                  <a:cxn ang="0">
                    <a:pos x="120" y="12"/>
                  </a:cxn>
                  <a:cxn ang="0">
                    <a:pos x="120" y="16"/>
                  </a:cxn>
                  <a:cxn ang="0">
                    <a:pos x="108" y="60"/>
                  </a:cxn>
                  <a:cxn ang="0">
                    <a:pos x="116" y="116"/>
                  </a:cxn>
                  <a:cxn ang="0">
                    <a:pos x="112" y="120"/>
                  </a:cxn>
                  <a:cxn ang="0">
                    <a:pos x="104" y="124"/>
                  </a:cxn>
                  <a:cxn ang="0">
                    <a:pos x="104" y="128"/>
                  </a:cxn>
                  <a:cxn ang="0">
                    <a:pos x="104" y="128"/>
                  </a:cxn>
                  <a:cxn ang="0">
                    <a:pos x="100" y="132"/>
                  </a:cxn>
                  <a:cxn ang="0">
                    <a:pos x="96" y="132"/>
                  </a:cxn>
                  <a:cxn ang="0">
                    <a:pos x="92" y="140"/>
                  </a:cxn>
                  <a:cxn ang="0">
                    <a:pos x="92" y="147"/>
                  </a:cxn>
                  <a:cxn ang="0">
                    <a:pos x="88" y="151"/>
                  </a:cxn>
                  <a:cxn ang="0">
                    <a:pos x="88" y="155"/>
                  </a:cxn>
                  <a:cxn ang="0">
                    <a:pos x="80" y="171"/>
                  </a:cxn>
                  <a:cxn ang="0">
                    <a:pos x="72" y="163"/>
                  </a:cxn>
                  <a:cxn ang="0">
                    <a:pos x="56" y="151"/>
                  </a:cxn>
                  <a:cxn ang="0">
                    <a:pos x="56" y="147"/>
                  </a:cxn>
                  <a:cxn ang="0">
                    <a:pos x="56" y="143"/>
                  </a:cxn>
                  <a:cxn ang="0">
                    <a:pos x="48" y="136"/>
                  </a:cxn>
                  <a:cxn ang="0">
                    <a:pos x="32" y="124"/>
                  </a:cxn>
                  <a:cxn ang="0">
                    <a:pos x="8" y="108"/>
                  </a:cxn>
                  <a:cxn ang="0">
                    <a:pos x="108" y="128"/>
                  </a:cxn>
                  <a:cxn ang="0">
                    <a:pos x="108" y="124"/>
                  </a:cxn>
                  <a:cxn ang="0">
                    <a:pos x="108" y="124"/>
                  </a:cxn>
                </a:cxnLst>
                <a:rect l="0" t="0" r="r" b="b"/>
                <a:pathLst>
                  <a:path w="120" h="171">
                    <a:moveTo>
                      <a:pt x="0" y="104"/>
                    </a:moveTo>
                    <a:lnTo>
                      <a:pt x="0" y="104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0" y="80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8" y="72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60" y="16"/>
                    </a:lnTo>
                    <a:lnTo>
                      <a:pt x="60" y="20"/>
                    </a:lnTo>
                    <a:lnTo>
                      <a:pt x="60" y="20"/>
                    </a:lnTo>
                    <a:lnTo>
                      <a:pt x="64" y="20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2" y="20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80" y="24"/>
                    </a:lnTo>
                    <a:lnTo>
                      <a:pt x="80" y="24"/>
                    </a:lnTo>
                    <a:lnTo>
                      <a:pt x="80" y="24"/>
                    </a:lnTo>
                    <a:lnTo>
                      <a:pt x="80" y="24"/>
                    </a:lnTo>
                    <a:lnTo>
                      <a:pt x="80" y="20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4"/>
                    </a:lnTo>
                    <a:lnTo>
                      <a:pt x="84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92" y="12"/>
                    </a:lnTo>
                    <a:lnTo>
                      <a:pt x="92" y="12"/>
                    </a:lnTo>
                    <a:lnTo>
                      <a:pt x="96" y="12"/>
                    </a:lnTo>
                    <a:lnTo>
                      <a:pt x="96" y="12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4" y="8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2"/>
                    </a:lnTo>
                    <a:lnTo>
                      <a:pt x="120" y="12"/>
                    </a:lnTo>
                    <a:lnTo>
                      <a:pt x="120" y="12"/>
                    </a:lnTo>
                    <a:lnTo>
                      <a:pt x="120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12" y="28"/>
                    </a:lnTo>
                    <a:lnTo>
                      <a:pt x="112" y="28"/>
                    </a:lnTo>
                    <a:lnTo>
                      <a:pt x="108" y="36"/>
                    </a:lnTo>
                    <a:lnTo>
                      <a:pt x="108" y="36"/>
                    </a:lnTo>
                    <a:lnTo>
                      <a:pt x="108" y="44"/>
                    </a:lnTo>
                    <a:lnTo>
                      <a:pt x="108" y="60"/>
                    </a:lnTo>
                    <a:lnTo>
                      <a:pt x="108" y="84"/>
                    </a:lnTo>
                    <a:lnTo>
                      <a:pt x="108" y="100"/>
                    </a:lnTo>
                    <a:lnTo>
                      <a:pt x="108" y="104"/>
                    </a:lnTo>
                    <a:lnTo>
                      <a:pt x="112" y="112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6" y="116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8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4" y="128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100" y="132"/>
                    </a:lnTo>
                    <a:lnTo>
                      <a:pt x="96" y="132"/>
                    </a:lnTo>
                    <a:lnTo>
                      <a:pt x="96" y="132"/>
                    </a:lnTo>
                    <a:lnTo>
                      <a:pt x="96" y="132"/>
                    </a:lnTo>
                    <a:lnTo>
                      <a:pt x="96" y="132"/>
                    </a:lnTo>
                    <a:lnTo>
                      <a:pt x="96" y="136"/>
                    </a:lnTo>
                    <a:lnTo>
                      <a:pt x="96" y="136"/>
                    </a:lnTo>
                    <a:lnTo>
                      <a:pt x="96" y="136"/>
                    </a:lnTo>
                    <a:lnTo>
                      <a:pt x="92" y="136"/>
                    </a:lnTo>
                    <a:lnTo>
                      <a:pt x="92" y="140"/>
                    </a:lnTo>
                    <a:lnTo>
                      <a:pt x="92" y="140"/>
                    </a:lnTo>
                    <a:lnTo>
                      <a:pt x="92" y="140"/>
                    </a:lnTo>
                    <a:lnTo>
                      <a:pt x="92" y="143"/>
                    </a:lnTo>
                    <a:lnTo>
                      <a:pt x="92" y="143"/>
                    </a:lnTo>
                    <a:lnTo>
                      <a:pt x="92" y="143"/>
                    </a:lnTo>
                    <a:lnTo>
                      <a:pt x="92" y="143"/>
                    </a:lnTo>
                    <a:lnTo>
                      <a:pt x="92" y="147"/>
                    </a:lnTo>
                    <a:lnTo>
                      <a:pt x="92" y="147"/>
                    </a:lnTo>
                    <a:lnTo>
                      <a:pt x="92" y="147"/>
                    </a:lnTo>
                    <a:lnTo>
                      <a:pt x="92" y="147"/>
                    </a:lnTo>
                    <a:lnTo>
                      <a:pt x="92" y="147"/>
                    </a:lnTo>
                    <a:lnTo>
                      <a:pt x="88" y="151"/>
                    </a:lnTo>
                    <a:lnTo>
                      <a:pt x="88" y="151"/>
                    </a:lnTo>
                    <a:lnTo>
                      <a:pt x="88" y="151"/>
                    </a:lnTo>
                    <a:lnTo>
                      <a:pt x="88" y="151"/>
                    </a:lnTo>
                    <a:lnTo>
                      <a:pt x="88" y="155"/>
                    </a:lnTo>
                    <a:lnTo>
                      <a:pt x="88" y="155"/>
                    </a:lnTo>
                    <a:lnTo>
                      <a:pt x="88" y="155"/>
                    </a:lnTo>
                    <a:lnTo>
                      <a:pt x="88" y="155"/>
                    </a:lnTo>
                    <a:lnTo>
                      <a:pt x="88" y="159"/>
                    </a:lnTo>
                    <a:lnTo>
                      <a:pt x="88" y="159"/>
                    </a:lnTo>
                    <a:lnTo>
                      <a:pt x="88" y="159"/>
                    </a:lnTo>
                    <a:lnTo>
                      <a:pt x="84" y="167"/>
                    </a:lnTo>
                    <a:lnTo>
                      <a:pt x="84" y="171"/>
                    </a:lnTo>
                    <a:lnTo>
                      <a:pt x="80" y="171"/>
                    </a:lnTo>
                    <a:lnTo>
                      <a:pt x="80" y="171"/>
                    </a:lnTo>
                    <a:lnTo>
                      <a:pt x="80" y="171"/>
                    </a:lnTo>
                    <a:lnTo>
                      <a:pt x="80" y="171"/>
                    </a:lnTo>
                    <a:lnTo>
                      <a:pt x="80" y="171"/>
                    </a:lnTo>
                    <a:lnTo>
                      <a:pt x="76" y="167"/>
                    </a:lnTo>
                    <a:lnTo>
                      <a:pt x="72" y="163"/>
                    </a:lnTo>
                    <a:lnTo>
                      <a:pt x="72" y="163"/>
                    </a:lnTo>
                    <a:lnTo>
                      <a:pt x="68" y="163"/>
                    </a:lnTo>
                    <a:lnTo>
                      <a:pt x="68" y="159"/>
                    </a:lnTo>
                    <a:lnTo>
                      <a:pt x="60" y="151"/>
                    </a:lnTo>
                    <a:lnTo>
                      <a:pt x="56" y="151"/>
                    </a:lnTo>
                    <a:lnTo>
                      <a:pt x="56" y="151"/>
                    </a:lnTo>
                    <a:lnTo>
                      <a:pt x="56" y="151"/>
                    </a:lnTo>
                    <a:lnTo>
                      <a:pt x="56" y="151"/>
                    </a:lnTo>
                    <a:lnTo>
                      <a:pt x="56" y="151"/>
                    </a:lnTo>
                    <a:lnTo>
                      <a:pt x="56" y="151"/>
                    </a:lnTo>
                    <a:lnTo>
                      <a:pt x="56" y="151"/>
                    </a:lnTo>
                    <a:lnTo>
                      <a:pt x="56" y="147"/>
                    </a:lnTo>
                    <a:lnTo>
                      <a:pt x="56" y="147"/>
                    </a:lnTo>
                    <a:lnTo>
                      <a:pt x="56" y="147"/>
                    </a:lnTo>
                    <a:lnTo>
                      <a:pt x="56" y="147"/>
                    </a:lnTo>
                    <a:lnTo>
                      <a:pt x="56" y="147"/>
                    </a:lnTo>
                    <a:lnTo>
                      <a:pt x="56" y="143"/>
                    </a:lnTo>
                    <a:lnTo>
                      <a:pt x="56" y="143"/>
                    </a:lnTo>
                    <a:lnTo>
                      <a:pt x="56" y="140"/>
                    </a:lnTo>
                    <a:lnTo>
                      <a:pt x="56" y="140"/>
                    </a:lnTo>
                    <a:lnTo>
                      <a:pt x="52" y="140"/>
                    </a:lnTo>
                    <a:lnTo>
                      <a:pt x="52" y="140"/>
                    </a:lnTo>
                    <a:lnTo>
                      <a:pt x="52" y="140"/>
                    </a:lnTo>
                    <a:lnTo>
                      <a:pt x="48" y="136"/>
                    </a:lnTo>
                    <a:lnTo>
                      <a:pt x="48" y="136"/>
                    </a:lnTo>
                    <a:lnTo>
                      <a:pt x="48" y="136"/>
                    </a:lnTo>
                    <a:lnTo>
                      <a:pt x="40" y="132"/>
                    </a:lnTo>
                    <a:lnTo>
                      <a:pt x="36" y="128"/>
                    </a:lnTo>
                    <a:lnTo>
                      <a:pt x="32" y="128"/>
                    </a:lnTo>
                    <a:lnTo>
                      <a:pt x="32" y="124"/>
                    </a:lnTo>
                    <a:lnTo>
                      <a:pt x="28" y="124"/>
                    </a:lnTo>
                    <a:lnTo>
                      <a:pt x="24" y="120"/>
                    </a:lnTo>
                    <a:lnTo>
                      <a:pt x="20" y="116"/>
                    </a:lnTo>
                    <a:lnTo>
                      <a:pt x="12" y="112"/>
                    </a:lnTo>
                    <a:lnTo>
                      <a:pt x="8" y="108"/>
                    </a:lnTo>
                    <a:lnTo>
                      <a:pt x="8" y="108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close/>
                    <a:moveTo>
                      <a:pt x="108" y="128"/>
                    </a:moveTo>
                    <a:lnTo>
                      <a:pt x="108" y="128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8"/>
                    </a:lnTo>
                    <a:close/>
                  </a:path>
                </a:pathLst>
              </a:custGeom>
              <a:solidFill>
                <a:srgbClr val="97D700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1" name="Freeform 141">
                <a:extLst>
                  <a:ext uri="{FF2B5EF4-FFF2-40B4-BE49-F238E27FC236}">
                    <a16:creationId xmlns:a16="http://schemas.microsoft.com/office/drawing/2014/main" id="{74774F93-4C80-458C-ADB4-44D946DC4565}"/>
                  </a:ext>
                </a:extLst>
              </p:cNvPr>
              <p:cNvSpPr>
                <a:spLocks/>
              </p:cNvSpPr>
              <p:nvPr>
                <p:custDataLst>
                  <p:tags r:id="rId61"/>
                </p:custDataLst>
              </p:nvPr>
            </p:nvSpPr>
            <p:spPr bwMode="gray">
              <a:xfrm>
                <a:off x="4311132" y="6636304"/>
                <a:ext cx="44121" cy="50424"/>
              </a:xfrm>
              <a:custGeom>
                <a:avLst/>
                <a:gdLst/>
                <a:ahLst/>
                <a:cxnLst>
                  <a:cxn ang="0">
                    <a:pos x="27" y="28"/>
                  </a:cxn>
                  <a:cxn ang="0">
                    <a:pos x="23" y="32"/>
                  </a:cxn>
                  <a:cxn ang="0">
                    <a:pos x="23" y="32"/>
                  </a:cxn>
                  <a:cxn ang="0">
                    <a:pos x="19" y="32"/>
                  </a:cxn>
                  <a:cxn ang="0">
                    <a:pos x="19" y="32"/>
                  </a:cxn>
                  <a:cxn ang="0">
                    <a:pos x="15" y="36"/>
                  </a:cxn>
                  <a:cxn ang="0">
                    <a:pos x="15" y="40"/>
                  </a:cxn>
                  <a:cxn ang="0">
                    <a:pos x="12" y="40"/>
                  </a:cxn>
                  <a:cxn ang="0">
                    <a:pos x="12" y="40"/>
                  </a:cxn>
                  <a:cxn ang="0">
                    <a:pos x="8" y="40"/>
                  </a:cxn>
                  <a:cxn ang="0">
                    <a:pos x="8" y="36"/>
                  </a:cxn>
                  <a:cxn ang="0">
                    <a:pos x="4" y="36"/>
                  </a:cxn>
                  <a:cxn ang="0">
                    <a:pos x="4" y="32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0"/>
                  </a:cxn>
                  <a:cxn ang="0">
                    <a:pos x="0" y="20"/>
                  </a:cxn>
                  <a:cxn ang="0">
                    <a:pos x="4" y="20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8" y="12"/>
                  </a:cxn>
                  <a:cxn ang="0">
                    <a:pos x="8" y="12"/>
                  </a:cxn>
                  <a:cxn ang="0">
                    <a:pos x="8" y="8"/>
                  </a:cxn>
                  <a:cxn ang="0">
                    <a:pos x="12" y="8"/>
                  </a:cxn>
                  <a:cxn ang="0">
                    <a:pos x="15" y="4"/>
                  </a:cxn>
                  <a:cxn ang="0">
                    <a:pos x="15" y="4"/>
                  </a:cxn>
                  <a:cxn ang="0">
                    <a:pos x="19" y="4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19" y="0"/>
                  </a:cxn>
                  <a:cxn ang="0">
                    <a:pos x="23" y="0"/>
                  </a:cxn>
                  <a:cxn ang="0">
                    <a:pos x="23" y="4"/>
                  </a:cxn>
                  <a:cxn ang="0">
                    <a:pos x="27" y="4"/>
                  </a:cxn>
                  <a:cxn ang="0">
                    <a:pos x="27" y="4"/>
                  </a:cxn>
                  <a:cxn ang="0">
                    <a:pos x="27" y="8"/>
                  </a:cxn>
                  <a:cxn ang="0">
                    <a:pos x="31" y="8"/>
                  </a:cxn>
                  <a:cxn ang="0">
                    <a:pos x="31" y="12"/>
                  </a:cxn>
                  <a:cxn ang="0">
                    <a:pos x="35" y="16"/>
                  </a:cxn>
                  <a:cxn ang="0">
                    <a:pos x="35" y="16"/>
                  </a:cxn>
                  <a:cxn ang="0">
                    <a:pos x="31" y="16"/>
                  </a:cxn>
                  <a:cxn ang="0">
                    <a:pos x="31" y="20"/>
                  </a:cxn>
                  <a:cxn ang="0">
                    <a:pos x="31" y="20"/>
                  </a:cxn>
                  <a:cxn ang="0">
                    <a:pos x="31" y="20"/>
                  </a:cxn>
                  <a:cxn ang="0">
                    <a:pos x="31" y="24"/>
                  </a:cxn>
                  <a:cxn ang="0">
                    <a:pos x="31" y="24"/>
                  </a:cxn>
                  <a:cxn ang="0">
                    <a:pos x="31" y="24"/>
                  </a:cxn>
                  <a:cxn ang="0">
                    <a:pos x="31" y="24"/>
                  </a:cxn>
                  <a:cxn ang="0">
                    <a:pos x="27" y="28"/>
                  </a:cxn>
                  <a:cxn ang="0">
                    <a:pos x="27" y="28"/>
                  </a:cxn>
                </a:cxnLst>
                <a:rect l="0" t="0" r="r" b="b"/>
                <a:pathLst>
                  <a:path w="35" h="40">
                    <a:moveTo>
                      <a:pt x="27" y="28"/>
                    </a:moveTo>
                    <a:lnTo>
                      <a:pt x="27" y="28"/>
                    </a:lnTo>
                    <a:lnTo>
                      <a:pt x="27" y="28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23" y="32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19" y="32"/>
                    </a:lnTo>
                    <a:lnTo>
                      <a:pt x="15" y="32"/>
                    </a:lnTo>
                    <a:lnTo>
                      <a:pt x="15" y="36"/>
                    </a:lnTo>
                    <a:lnTo>
                      <a:pt x="15" y="40"/>
                    </a:lnTo>
                    <a:lnTo>
                      <a:pt x="15" y="40"/>
                    </a:lnTo>
                    <a:lnTo>
                      <a:pt x="15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5" y="4"/>
                    </a:lnTo>
                    <a:lnTo>
                      <a:pt x="19" y="4"/>
                    </a:lnTo>
                    <a:lnTo>
                      <a:pt x="19" y="4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19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23" y="4"/>
                    </a:lnTo>
                    <a:lnTo>
                      <a:pt x="23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4"/>
                    </a:lnTo>
                    <a:lnTo>
                      <a:pt x="27" y="8"/>
                    </a:lnTo>
                    <a:lnTo>
                      <a:pt x="27" y="8"/>
                    </a:lnTo>
                    <a:lnTo>
                      <a:pt x="31" y="8"/>
                    </a:lnTo>
                    <a:lnTo>
                      <a:pt x="31" y="12"/>
                    </a:lnTo>
                    <a:lnTo>
                      <a:pt x="31" y="12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5" y="16"/>
                    </a:lnTo>
                    <a:lnTo>
                      <a:pt x="31" y="16"/>
                    </a:lnTo>
                    <a:lnTo>
                      <a:pt x="31" y="16"/>
                    </a:lnTo>
                    <a:lnTo>
                      <a:pt x="31" y="20"/>
                    </a:lnTo>
                    <a:lnTo>
                      <a:pt x="31" y="20"/>
                    </a:lnTo>
                    <a:lnTo>
                      <a:pt x="31" y="20"/>
                    </a:lnTo>
                    <a:lnTo>
                      <a:pt x="31" y="20"/>
                    </a:lnTo>
                    <a:lnTo>
                      <a:pt x="31" y="20"/>
                    </a:lnTo>
                    <a:lnTo>
                      <a:pt x="31" y="20"/>
                    </a:lnTo>
                    <a:lnTo>
                      <a:pt x="31" y="20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31" y="24"/>
                    </a:lnTo>
                    <a:lnTo>
                      <a:pt x="31" y="28"/>
                    </a:lnTo>
                    <a:lnTo>
                      <a:pt x="27" y="28"/>
                    </a:lnTo>
                    <a:lnTo>
                      <a:pt x="27" y="28"/>
                    </a:lnTo>
                    <a:lnTo>
                      <a:pt x="27" y="2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2" name="Freeform 142">
                <a:extLst>
                  <a:ext uri="{FF2B5EF4-FFF2-40B4-BE49-F238E27FC236}">
                    <a16:creationId xmlns:a16="http://schemas.microsoft.com/office/drawing/2014/main" id="{705DD2F1-EA65-4E48-8957-A623BD7EACC6}"/>
                  </a:ext>
                </a:extLst>
              </p:cNvPr>
              <p:cNvSpPr>
                <a:spLocks/>
              </p:cNvSpPr>
              <p:nvPr>
                <p:custDataLst>
                  <p:tags r:id="rId62"/>
                </p:custDataLst>
              </p:nvPr>
            </p:nvSpPr>
            <p:spPr bwMode="gray">
              <a:xfrm>
                <a:off x="3571157" y="5766487"/>
                <a:ext cx="80679" cy="100848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4"/>
                  </a:cxn>
                  <a:cxn ang="0">
                    <a:pos x="8" y="24"/>
                  </a:cxn>
                  <a:cxn ang="0">
                    <a:pos x="12" y="20"/>
                  </a:cxn>
                  <a:cxn ang="0">
                    <a:pos x="12" y="20"/>
                  </a:cxn>
                  <a:cxn ang="0">
                    <a:pos x="12" y="16"/>
                  </a:cxn>
                  <a:cxn ang="0">
                    <a:pos x="16" y="12"/>
                  </a:cxn>
                  <a:cxn ang="0">
                    <a:pos x="16" y="8"/>
                  </a:cxn>
                  <a:cxn ang="0">
                    <a:pos x="20" y="4"/>
                  </a:cxn>
                  <a:cxn ang="0">
                    <a:pos x="24" y="4"/>
                  </a:cxn>
                  <a:cxn ang="0">
                    <a:pos x="28" y="0"/>
                  </a:cxn>
                  <a:cxn ang="0">
                    <a:pos x="32" y="8"/>
                  </a:cxn>
                  <a:cxn ang="0">
                    <a:pos x="32" y="12"/>
                  </a:cxn>
                  <a:cxn ang="0">
                    <a:pos x="32" y="16"/>
                  </a:cxn>
                  <a:cxn ang="0">
                    <a:pos x="32" y="20"/>
                  </a:cxn>
                  <a:cxn ang="0">
                    <a:pos x="32" y="24"/>
                  </a:cxn>
                  <a:cxn ang="0">
                    <a:pos x="36" y="24"/>
                  </a:cxn>
                  <a:cxn ang="0">
                    <a:pos x="36" y="24"/>
                  </a:cxn>
                  <a:cxn ang="0">
                    <a:pos x="40" y="24"/>
                  </a:cxn>
                  <a:cxn ang="0">
                    <a:pos x="44" y="20"/>
                  </a:cxn>
                  <a:cxn ang="0">
                    <a:pos x="44" y="16"/>
                  </a:cxn>
                  <a:cxn ang="0">
                    <a:pos x="48" y="16"/>
                  </a:cxn>
                  <a:cxn ang="0">
                    <a:pos x="48" y="20"/>
                  </a:cxn>
                  <a:cxn ang="0">
                    <a:pos x="48" y="24"/>
                  </a:cxn>
                  <a:cxn ang="0">
                    <a:pos x="52" y="28"/>
                  </a:cxn>
                  <a:cxn ang="0">
                    <a:pos x="48" y="32"/>
                  </a:cxn>
                  <a:cxn ang="0">
                    <a:pos x="48" y="36"/>
                  </a:cxn>
                  <a:cxn ang="0">
                    <a:pos x="48" y="36"/>
                  </a:cxn>
                  <a:cxn ang="0">
                    <a:pos x="44" y="40"/>
                  </a:cxn>
                  <a:cxn ang="0">
                    <a:pos x="48" y="40"/>
                  </a:cxn>
                  <a:cxn ang="0">
                    <a:pos x="52" y="44"/>
                  </a:cxn>
                  <a:cxn ang="0">
                    <a:pos x="56" y="44"/>
                  </a:cxn>
                  <a:cxn ang="0">
                    <a:pos x="56" y="48"/>
                  </a:cxn>
                  <a:cxn ang="0">
                    <a:pos x="60" y="52"/>
                  </a:cxn>
                  <a:cxn ang="0">
                    <a:pos x="64" y="52"/>
                  </a:cxn>
                  <a:cxn ang="0">
                    <a:pos x="64" y="56"/>
                  </a:cxn>
                  <a:cxn ang="0">
                    <a:pos x="64" y="56"/>
                  </a:cxn>
                  <a:cxn ang="0">
                    <a:pos x="64" y="60"/>
                  </a:cxn>
                  <a:cxn ang="0">
                    <a:pos x="60" y="68"/>
                  </a:cxn>
                  <a:cxn ang="0">
                    <a:pos x="60" y="72"/>
                  </a:cxn>
                  <a:cxn ang="0">
                    <a:pos x="60" y="80"/>
                  </a:cxn>
                  <a:cxn ang="0">
                    <a:pos x="56" y="76"/>
                  </a:cxn>
                  <a:cxn ang="0">
                    <a:pos x="56" y="76"/>
                  </a:cxn>
                  <a:cxn ang="0">
                    <a:pos x="48" y="72"/>
                  </a:cxn>
                  <a:cxn ang="0">
                    <a:pos x="44" y="68"/>
                  </a:cxn>
                  <a:cxn ang="0">
                    <a:pos x="40" y="68"/>
                  </a:cxn>
                  <a:cxn ang="0">
                    <a:pos x="36" y="64"/>
                  </a:cxn>
                  <a:cxn ang="0">
                    <a:pos x="32" y="60"/>
                  </a:cxn>
                  <a:cxn ang="0">
                    <a:pos x="28" y="56"/>
                  </a:cxn>
                  <a:cxn ang="0">
                    <a:pos x="20" y="48"/>
                  </a:cxn>
                  <a:cxn ang="0">
                    <a:pos x="20" y="44"/>
                  </a:cxn>
                  <a:cxn ang="0">
                    <a:pos x="16" y="44"/>
                  </a:cxn>
                  <a:cxn ang="0">
                    <a:pos x="12" y="44"/>
                  </a:cxn>
                  <a:cxn ang="0">
                    <a:pos x="12" y="40"/>
                  </a:cxn>
                  <a:cxn ang="0">
                    <a:pos x="12" y="40"/>
                  </a:cxn>
                  <a:cxn ang="0">
                    <a:pos x="4" y="36"/>
                  </a:cxn>
                  <a:cxn ang="0">
                    <a:pos x="4" y="32"/>
                  </a:cxn>
                </a:cxnLst>
                <a:rect l="0" t="0" r="r" b="b"/>
                <a:pathLst>
                  <a:path w="64" h="80">
                    <a:moveTo>
                      <a:pt x="0" y="32"/>
                    </a:moveTo>
                    <a:lnTo>
                      <a:pt x="0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4" y="4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28" y="0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8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16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4"/>
                    </a:lnTo>
                    <a:lnTo>
                      <a:pt x="36" y="28"/>
                    </a:lnTo>
                    <a:lnTo>
                      <a:pt x="36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4" y="24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20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4" y="16"/>
                    </a:lnTo>
                    <a:lnTo>
                      <a:pt x="48" y="16"/>
                    </a:lnTo>
                    <a:lnTo>
                      <a:pt x="48" y="16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2" y="28"/>
                    </a:lnTo>
                    <a:lnTo>
                      <a:pt x="52" y="28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8" y="36"/>
                    </a:lnTo>
                    <a:lnTo>
                      <a:pt x="44" y="36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4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48" y="40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2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48"/>
                    </a:lnTo>
                    <a:lnTo>
                      <a:pt x="60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2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60" y="80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4" y="52"/>
                    </a:lnTo>
                    <a:lnTo>
                      <a:pt x="24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20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32"/>
                    </a:lnTo>
                    <a:close/>
                  </a:path>
                </a:pathLst>
              </a:custGeom>
              <a:solidFill>
                <a:srgbClr val="B4B4B4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3" name="Freeform 143">
                <a:extLst>
                  <a:ext uri="{FF2B5EF4-FFF2-40B4-BE49-F238E27FC236}">
                    <a16:creationId xmlns:a16="http://schemas.microsoft.com/office/drawing/2014/main" id="{6FFC1C49-3315-4590-A1D1-E1A9EDE0F88B}"/>
                  </a:ext>
                </a:extLst>
              </p:cNvPr>
              <p:cNvSpPr>
                <a:spLocks/>
              </p:cNvSpPr>
              <p:nvPr>
                <p:custDataLst>
                  <p:tags r:id="rId63"/>
                </p:custDataLst>
              </p:nvPr>
            </p:nvSpPr>
            <p:spPr bwMode="gray">
              <a:xfrm>
                <a:off x="3968248" y="5177784"/>
                <a:ext cx="302545" cy="331538"/>
              </a:xfrm>
              <a:custGeom>
                <a:avLst/>
                <a:gdLst/>
                <a:ahLst/>
                <a:cxnLst>
                  <a:cxn ang="0">
                    <a:pos x="80" y="12"/>
                  </a:cxn>
                  <a:cxn ang="0">
                    <a:pos x="92" y="20"/>
                  </a:cxn>
                  <a:cxn ang="0">
                    <a:pos x="96" y="36"/>
                  </a:cxn>
                  <a:cxn ang="0">
                    <a:pos x="108" y="40"/>
                  </a:cxn>
                  <a:cxn ang="0">
                    <a:pos x="124" y="40"/>
                  </a:cxn>
                  <a:cxn ang="0">
                    <a:pos x="132" y="48"/>
                  </a:cxn>
                  <a:cxn ang="0">
                    <a:pos x="144" y="56"/>
                  </a:cxn>
                  <a:cxn ang="0">
                    <a:pos x="152" y="56"/>
                  </a:cxn>
                  <a:cxn ang="0">
                    <a:pos x="164" y="44"/>
                  </a:cxn>
                  <a:cxn ang="0">
                    <a:pos x="164" y="28"/>
                  </a:cxn>
                  <a:cxn ang="0">
                    <a:pos x="172" y="12"/>
                  </a:cxn>
                  <a:cxn ang="0">
                    <a:pos x="184" y="8"/>
                  </a:cxn>
                  <a:cxn ang="0">
                    <a:pos x="196" y="4"/>
                  </a:cxn>
                  <a:cxn ang="0">
                    <a:pos x="208" y="8"/>
                  </a:cxn>
                  <a:cxn ang="0">
                    <a:pos x="212" y="20"/>
                  </a:cxn>
                  <a:cxn ang="0">
                    <a:pos x="224" y="24"/>
                  </a:cxn>
                  <a:cxn ang="0">
                    <a:pos x="240" y="24"/>
                  </a:cxn>
                  <a:cxn ang="0">
                    <a:pos x="236" y="36"/>
                  </a:cxn>
                  <a:cxn ang="0">
                    <a:pos x="240" y="52"/>
                  </a:cxn>
                  <a:cxn ang="0">
                    <a:pos x="236" y="68"/>
                  </a:cxn>
                  <a:cxn ang="0">
                    <a:pos x="240" y="84"/>
                  </a:cxn>
                  <a:cxn ang="0">
                    <a:pos x="240" y="108"/>
                  </a:cxn>
                  <a:cxn ang="0">
                    <a:pos x="240" y="128"/>
                  </a:cxn>
                  <a:cxn ang="0">
                    <a:pos x="240" y="160"/>
                  </a:cxn>
                  <a:cxn ang="0">
                    <a:pos x="240" y="188"/>
                  </a:cxn>
                  <a:cxn ang="0">
                    <a:pos x="240" y="255"/>
                  </a:cxn>
                  <a:cxn ang="0">
                    <a:pos x="224" y="255"/>
                  </a:cxn>
                  <a:cxn ang="0">
                    <a:pos x="200" y="247"/>
                  </a:cxn>
                  <a:cxn ang="0">
                    <a:pos x="168" y="232"/>
                  </a:cxn>
                  <a:cxn ang="0">
                    <a:pos x="144" y="216"/>
                  </a:cxn>
                  <a:cxn ang="0">
                    <a:pos x="116" y="200"/>
                  </a:cxn>
                  <a:cxn ang="0">
                    <a:pos x="88" y="196"/>
                  </a:cxn>
                  <a:cxn ang="0">
                    <a:pos x="76" y="204"/>
                  </a:cxn>
                  <a:cxn ang="0">
                    <a:pos x="64" y="196"/>
                  </a:cxn>
                  <a:cxn ang="0">
                    <a:pos x="48" y="192"/>
                  </a:cxn>
                  <a:cxn ang="0">
                    <a:pos x="36" y="172"/>
                  </a:cxn>
                  <a:cxn ang="0">
                    <a:pos x="20" y="168"/>
                  </a:cxn>
                  <a:cxn ang="0">
                    <a:pos x="12" y="164"/>
                  </a:cxn>
                  <a:cxn ang="0">
                    <a:pos x="8" y="148"/>
                  </a:cxn>
                  <a:cxn ang="0">
                    <a:pos x="12" y="128"/>
                  </a:cxn>
                  <a:cxn ang="0">
                    <a:pos x="8" y="116"/>
                  </a:cxn>
                  <a:cxn ang="0">
                    <a:pos x="8" y="100"/>
                  </a:cxn>
                  <a:cxn ang="0">
                    <a:pos x="8" y="84"/>
                  </a:cxn>
                  <a:cxn ang="0">
                    <a:pos x="8" y="68"/>
                  </a:cxn>
                  <a:cxn ang="0">
                    <a:pos x="4" y="60"/>
                  </a:cxn>
                  <a:cxn ang="0">
                    <a:pos x="16" y="48"/>
                  </a:cxn>
                  <a:cxn ang="0">
                    <a:pos x="12" y="36"/>
                  </a:cxn>
                  <a:cxn ang="0">
                    <a:pos x="24" y="24"/>
                  </a:cxn>
                  <a:cxn ang="0">
                    <a:pos x="36" y="16"/>
                  </a:cxn>
                  <a:cxn ang="0">
                    <a:pos x="36" y="0"/>
                  </a:cxn>
                  <a:cxn ang="0">
                    <a:pos x="44" y="8"/>
                  </a:cxn>
                  <a:cxn ang="0">
                    <a:pos x="60" y="8"/>
                  </a:cxn>
                  <a:cxn ang="0">
                    <a:pos x="68" y="8"/>
                  </a:cxn>
                </a:cxnLst>
                <a:rect l="0" t="0" r="r" b="b"/>
                <a:pathLst>
                  <a:path w="240" h="263">
                    <a:moveTo>
                      <a:pt x="72" y="8"/>
                    </a:moveTo>
                    <a:lnTo>
                      <a:pt x="76" y="8"/>
                    </a:lnTo>
                    <a:lnTo>
                      <a:pt x="76" y="12"/>
                    </a:lnTo>
                    <a:lnTo>
                      <a:pt x="80" y="12"/>
                    </a:lnTo>
                    <a:lnTo>
                      <a:pt x="84" y="16"/>
                    </a:lnTo>
                    <a:lnTo>
                      <a:pt x="88" y="16"/>
                    </a:lnTo>
                    <a:lnTo>
                      <a:pt x="92" y="16"/>
                    </a:lnTo>
                    <a:lnTo>
                      <a:pt x="92" y="20"/>
                    </a:lnTo>
                    <a:lnTo>
                      <a:pt x="92" y="24"/>
                    </a:lnTo>
                    <a:lnTo>
                      <a:pt x="92" y="28"/>
                    </a:lnTo>
                    <a:lnTo>
                      <a:pt x="96" y="32"/>
                    </a:lnTo>
                    <a:lnTo>
                      <a:pt x="96" y="36"/>
                    </a:lnTo>
                    <a:lnTo>
                      <a:pt x="100" y="36"/>
                    </a:lnTo>
                    <a:lnTo>
                      <a:pt x="104" y="36"/>
                    </a:lnTo>
                    <a:lnTo>
                      <a:pt x="104" y="40"/>
                    </a:lnTo>
                    <a:lnTo>
                      <a:pt x="108" y="40"/>
                    </a:lnTo>
                    <a:lnTo>
                      <a:pt x="112" y="40"/>
                    </a:lnTo>
                    <a:lnTo>
                      <a:pt x="116" y="40"/>
                    </a:lnTo>
                    <a:lnTo>
                      <a:pt x="120" y="40"/>
                    </a:lnTo>
                    <a:lnTo>
                      <a:pt x="124" y="40"/>
                    </a:lnTo>
                    <a:lnTo>
                      <a:pt x="124" y="44"/>
                    </a:lnTo>
                    <a:lnTo>
                      <a:pt x="128" y="44"/>
                    </a:lnTo>
                    <a:lnTo>
                      <a:pt x="132" y="44"/>
                    </a:lnTo>
                    <a:lnTo>
                      <a:pt x="132" y="48"/>
                    </a:lnTo>
                    <a:lnTo>
                      <a:pt x="136" y="48"/>
                    </a:lnTo>
                    <a:lnTo>
                      <a:pt x="136" y="52"/>
                    </a:lnTo>
                    <a:lnTo>
                      <a:pt x="140" y="52"/>
                    </a:lnTo>
                    <a:lnTo>
                      <a:pt x="144" y="56"/>
                    </a:lnTo>
                    <a:lnTo>
                      <a:pt x="148" y="56"/>
                    </a:lnTo>
                    <a:lnTo>
                      <a:pt x="148" y="60"/>
                    </a:lnTo>
                    <a:lnTo>
                      <a:pt x="152" y="60"/>
                    </a:lnTo>
                    <a:lnTo>
                      <a:pt x="152" y="56"/>
                    </a:lnTo>
                    <a:lnTo>
                      <a:pt x="156" y="56"/>
                    </a:lnTo>
                    <a:lnTo>
                      <a:pt x="160" y="52"/>
                    </a:lnTo>
                    <a:lnTo>
                      <a:pt x="164" y="48"/>
                    </a:lnTo>
                    <a:lnTo>
                      <a:pt x="164" y="44"/>
                    </a:lnTo>
                    <a:lnTo>
                      <a:pt x="164" y="40"/>
                    </a:lnTo>
                    <a:lnTo>
                      <a:pt x="164" y="36"/>
                    </a:lnTo>
                    <a:lnTo>
                      <a:pt x="164" y="32"/>
                    </a:lnTo>
                    <a:lnTo>
                      <a:pt x="164" y="28"/>
                    </a:lnTo>
                    <a:lnTo>
                      <a:pt x="164" y="24"/>
                    </a:lnTo>
                    <a:lnTo>
                      <a:pt x="164" y="20"/>
                    </a:lnTo>
                    <a:lnTo>
                      <a:pt x="168" y="16"/>
                    </a:lnTo>
                    <a:lnTo>
                      <a:pt x="172" y="12"/>
                    </a:lnTo>
                    <a:lnTo>
                      <a:pt x="176" y="12"/>
                    </a:lnTo>
                    <a:lnTo>
                      <a:pt x="176" y="8"/>
                    </a:lnTo>
                    <a:lnTo>
                      <a:pt x="180" y="8"/>
                    </a:lnTo>
                    <a:lnTo>
                      <a:pt x="184" y="8"/>
                    </a:lnTo>
                    <a:lnTo>
                      <a:pt x="188" y="8"/>
                    </a:lnTo>
                    <a:lnTo>
                      <a:pt x="188" y="4"/>
                    </a:lnTo>
                    <a:lnTo>
                      <a:pt x="192" y="4"/>
                    </a:lnTo>
                    <a:lnTo>
                      <a:pt x="196" y="4"/>
                    </a:lnTo>
                    <a:lnTo>
                      <a:pt x="196" y="8"/>
                    </a:lnTo>
                    <a:lnTo>
                      <a:pt x="200" y="8"/>
                    </a:lnTo>
                    <a:lnTo>
                      <a:pt x="204" y="8"/>
                    </a:lnTo>
                    <a:lnTo>
                      <a:pt x="208" y="8"/>
                    </a:lnTo>
                    <a:lnTo>
                      <a:pt x="208" y="12"/>
                    </a:lnTo>
                    <a:lnTo>
                      <a:pt x="212" y="12"/>
                    </a:lnTo>
                    <a:lnTo>
                      <a:pt x="212" y="16"/>
                    </a:lnTo>
                    <a:lnTo>
                      <a:pt x="212" y="20"/>
                    </a:lnTo>
                    <a:lnTo>
                      <a:pt x="216" y="20"/>
                    </a:lnTo>
                    <a:lnTo>
                      <a:pt x="220" y="20"/>
                    </a:lnTo>
                    <a:lnTo>
                      <a:pt x="224" y="20"/>
                    </a:lnTo>
                    <a:lnTo>
                      <a:pt x="224" y="24"/>
                    </a:lnTo>
                    <a:lnTo>
                      <a:pt x="228" y="24"/>
                    </a:lnTo>
                    <a:lnTo>
                      <a:pt x="232" y="24"/>
                    </a:lnTo>
                    <a:lnTo>
                      <a:pt x="236" y="24"/>
                    </a:lnTo>
                    <a:lnTo>
                      <a:pt x="240" y="24"/>
                    </a:lnTo>
                    <a:lnTo>
                      <a:pt x="240" y="28"/>
                    </a:lnTo>
                    <a:lnTo>
                      <a:pt x="240" y="32"/>
                    </a:lnTo>
                    <a:lnTo>
                      <a:pt x="240" y="36"/>
                    </a:lnTo>
                    <a:lnTo>
                      <a:pt x="236" y="36"/>
                    </a:lnTo>
                    <a:lnTo>
                      <a:pt x="236" y="40"/>
                    </a:lnTo>
                    <a:lnTo>
                      <a:pt x="240" y="44"/>
                    </a:lnTo>
                    <a:lnTo>
                      <a:pt x="240" y="48"/>
                    </a:lnTo>
                    <a:lnTo>
                      <a:pt x="240" y="52"/>
                    </a:lnTo>
                    <a:lnTo>
                      <a:pt x="236" y="56"/>
                    </a:lnTo>
                    <a:lnTo>
                      <a:pt x="236" y="60"/>
                    </a:lnTo>
                    <a:lnTo>
                      <a:pt x="236" y="64"/>
                    </a:lnTo>
                    <a:lnTo>
                      <a:pt x="236" y="68"/>
                    </a:lnTo>
                    <a:lnTo>
                      <a:pt x="236" y="72"/>
                    </a:lnTo>
                    <a:lnTo>
                      <a:pt x="240" y="76"/>
                    </a:lnTo>
                    <a:lnTo>
                      <a:pt x="240" y="80"/>
                    </a:lnTo>
                    <a:lnTo>
                      <a:pt x="240" y="84"/>
                    </a:lnTo>
                    <a:lnTo>
                      <a:pt x="240" y="96"/>
                    </a:lnTo>
                    <a:lnTo>
                      <a:pt x="240" y="100"/>
                    </a:lnTo>
                    <a:lnTo>
                      <a:pt x="240" y="104"/>
                    </a:lnTo>
                    <a:lnTo>
                      <a:pt x="240" y="108"/>
                    </a:lnTo>
                    <a:lnTo>
                      <a:pt x="240" y="112"/>
                    </a:lnTo>
                    <a:lnTo>
                      <a:pt x="240" y="120"/>
                    </a:lnTo>
                    <a:lnTo>
                      <a:pt x="240" y="124"/>
                    </a:lnTo>
                    <a:lnTo>
                      <a:pt x="240" y="128"/>
                    </a:lnTo>
                    <a:lnTo>
                      <a:pt x="240" y="132"/>
                    </a:lnTo>
                    <a:lnTo>
                      <a:pt x="240" y="140"/>
                    </a:lnTo>
                    <a:lnTo>
                      <a:pt x="240" y="152"/>
                    </a:lnTo>
                    <a:lnTo>
                      <a:pt x="240" y="160"/>
                    </a:lnTo>
                    <a:lnTo>
                      <a:pt x="240" y="164"/>
                    </a:lnTo>
                    <a:lnTo>
                      <a:pt x="240" y="172"/>
                    </a:lnTo>
                    <a:lnTo>
                      <a:pt x="240" y="180"/>
                    </a:lnTo>
                    <a:lnTo>
                      <a:pt x="240" y="188"/>
                    </a:lnTo>
                    <a:lnTo>
                      <a:pt x="240" y="212"/>
                    </a:lnTo>
                    <a:lnTo>
                      <a:pt x="240" y="216"/>
                    </a:lnTo>
                    <a:lnTo>
                      <a:pt x="240" y="236"/>
                    </a:lnTo>
                    <a:lnTo>
                      <a:pt x="240" y="255"/>
                    </a:lnTo>
                    <a:lnTo>
                      <a:pt x="236" y="255"/>
                    </a:lnTo>
                    <a:lnTo>
                      <a:pt x="232" y="255"/>
                    </a:lnTo>
                    <a:lnTo>
                      <a:pt x="228" y="255"/>
                    </a:lnTo>
                    <a:lnTo>
                      <a:pt x="224" y="255"/>
                    </a:lnTo>
                    <a:lnTo>
                      <a:pt x="224" y="263"/>
                    </a:lnTo>
                    <a:lnTo>
                      <a:pt x="216" y="259"/>
                    </a:lnTo>
                    <a:lnTo>
                      <a:pt x="208" y="255"/>
                    </a:lnTo>
                    <a:lnTo>
                      <a:pt x="200" y="247"/>
                    </a:lnTo>
                    <a:lnTo>
                      <a:pt x="192" y="244"/>
                    </a:lnTo>
                    <a:lnTo>
                      <a:pt x="184" y="240"/>
                    </a:lnTo>
                    <a:lnTo>
                      <a:pt x="180" y="236"/>
                    </a:lnTo>
                    <a:lnTo>
                      <a:pt x="168" y="232"/>
                    </a:lnTo>
                    <a:lnTo>
                      <a:pt x="160" y="224"/>
                    </a:lnTo>
                    <a:lnTo>
                      <a:pt x="152" y="220"/>
                    </a:lnTo>
                    <a:lnTo>
                      <a:pt x="148" y="216"/>
                    </a:lnTo>
                    <a:lnTo>
                      <a:pt x="144" y="216"/>
                    </a:lnTo>
                    <a:lnTo>
                      <a:pt x="140" y="212"/>
                    </a:lnTo>
                    <a:lnTo>
                      <a:pt x="132" y="208"/>
                    </a:lnTo>
                    <a:lnTo>
                      <a:pt x="128" y="204"/>
                    </a:lnTo>
                    <a:lnTo>
                      <a:pt x="116" y="200"/>
                    </a:lnTo>
                    <a:lnTo>
                      <a:pt x="108" y="192"/>
                    </a:lnTo>
                    <a:lnTo>
                      <a:pt x="104" y="192"/>
                    </a:lnTo>
                    <a:lnTo>
                      <a:pt x="92" y="196"/>
                    </a:lnTo>
                    <a:lnTo>
                      <a:pt x="88" y="196"/>
                    </a:lnTo>
                    <a:lnTo>
                      <a:pt x="88" y="200"/>
                    </a:lnTo>
                    <a:lnTo>
                      <a:pt x="84" y="200"/>
                    </a:lnTo>
                    <a:lnTo>
                      <a:pt x="80" y="204"/>
                    </a:lnTo>
                    <a:lnTo>
                      <a:pt x="76" y="204"/>
                    </a:lnTo>
                    <a:lnTo>
                      <a:pt x="76" y="208"/>
                    </a:lnTo>
                    <a:lnTo>
                      <a:pt x="72" y="200"/>
                    </a:lnTo>
                    <a:lnTo>
                      <a:pt x="68" y="196"/>
                    </a:lnTo>
                    <a:lnTo>
                      <a:pt x="64" y="196"/>
                    </a:lnTo>
                    <a:lnTo>
                      <a:pt x="60" y="192"/>
                    </a:lnTo>
                    <a:lnTo>
                      <a:pt x="56" y="192"/>
                    </a:lnTo>
                    <a:lnTo>
                      <a:pt x="52" y="192"/>
                    </a:lnTo>
                    <a:lnTo>
                      <a:pt x="48" y="192"/>
                    </a:lnTo>
                    <a:lnTo>
                      <a:pt x="44" y="188"/>
                    </a:lnTo>
                    <a:lnTo>
                      <a:pt x="40" y="188"/>
                    </a:lnTo>
                    <a:lnTo>
                      <a:pt x="40" y="180"/>
                    </a:lnTo>
                    <a:lnTo>
                      <a:pt x="36" y="172"/>
                    </a:lnTo>
                    <a:lnTo>
                      <a:pt x="32" y="172"/>
                    </a:lnTo>
                    <a:lnTo>
                      <a:pt x="28" y="172"/>
                    </a:lnTo>
                    <a:lnTo>
                      <a:pt x="24" y="168"/>
                    </a:lnTo>
                    <a:lnTo>
                      <a:pt x="20" y="168"/>
                    </a:lnTo>
                    <a:lnTo>
                      <a:pt x="20" y="172"/>
                    </a:lnTo>
                    <a:lnTo>
                      <a:pt x="16" y="168"/>
                    </a:lnTo>
                    <a:lnTo>
                      <a:pt x="16" y="164"/>
                    </a:lnTo>
                    <a:lnTo>
                      <a:pt x="12" y="164"/>
                    </a:lnTo>
                    <a:lnTo>
                      <a:pt x="12" y="160"/>
                    </a:lnTo>
                    <a:lnTo>
                      <a:pt x="12" y="156"/>
                    </a:lnTo>
                    <a:lnTo>
                      <a:pt x="12" y="152"/>
                    </a:lnTo>
                    <a:lnTo>
                      <a:pt x="8" y="148"/>
                    </a:lnTo>
                    <a:lnTo>
                      <a:pt x="4" y="140"/>
                    </a:lnTo>
                    <a:lnTo>
                      <a:pt x="4" y="136"/>
                    </a:lnTo>
                    <a:lnTo>
                      <a:pt x="8" y="132"/>
                    </a:lnTo>
                    <a:lnTo>
                      <a:pt x="12" y="128"/>
                    </a:lnTo>
                    <a:lnTo>
                      <a:pt x="12" y="124"/>
                    </a:lnTo>
                    <a:lnTo>
                      <a:pt x="8" y="124"/>
                    </a:lnTo>
                    <a:lnTo>
                      <a:pt x="8" y="120"/>
                    </a:lnTo>
                    <a:lnTo>
                      <a:pt x="8" y="116"/>
                    </a:lnTo>
                    <a:lnTo>
                      <a:pt x="8" y="112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8" y="100"/>
                    </a:lnTo>
                    <a:lnTo>
                      <a:pt x="8" y="96"/>
                    </a:lnTo>
                    <a:lnTo>
                      <a:pt x="8" y="92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0"/>
                    </a:lnTo>
                    <a:lnTo>
                      <a:pt x="8" y="76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0" y="60"/>
                    </a:lnTo>
                    <a:lnTo>
                      <a:pt x="4" y="60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2" y="36"/>
                    </a:lnTo>
                    <a:lnTo>
                      <a:pt x="12" y="32"/>
                    </a:lnTo>
                    <a:lnTo>
                      <a:pt x="16" y="28"/>
                    </a:lnTo>
                    <a:lnTo>
                      <a:pt x="20" y="28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8" y="20"/>
                    </a:lnTo>
                    <a:lnTo>
                      <a:pt x="32" y="16"/>
                    </a:lnTo>
                    <a:lnTo>
                      <a:pt x="36" y="16"/>
                    </a:lnTo>
                    <a:lnTo>
                      <a:pt x="36" y="12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8"/>
                    </a:lnTo>
                    <a:lnTo>
                      <a:pt x="68" y="8"/>
                    </a:lnTo>
                    <a:lnTo>
                      <a:pt x="72" y="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4" name="Freeform 144">
                <a:extLst>
                  <a:ext uri="{FF2B5EF4-FFF2-40B4-BE49-F238E27FC236}">
                    <a16:creationId xmlns:a16="http://schemas.microsoft.com/office/drawing/2014/main" id="{6D8AF6EF-783A-403D-A0EC-5E18B9AFE97E}"/>
                  </a:ext>
                </a:extLst>
              </p:cNvPr>
              <p:cNvSpPr>
                <a:spLocks noEditPoints="1"/>
              </p:cNvSpPr>
              <p:nvPr>
                <p:custDataLst>
                  <p:tags r:id="rId64"/>
                </p:custDataLst>
              </p:nvPr>
            </p:nvSpPr>
            <p:spPr bwMode="gray">
              <a:xfrm>
                <a:off x="4617458" y="6239213"/>
                <a:ext cx="141188" cy="327757"/>
              </a:xfrm>
              <a:custGeom>
                <a:avLst/>
                <a:gdLst/>
                <a:ahLst/>
                <a:cxnLst>
                  <a:cxn ang="0">
                    <a:pos x="76" y="28"/>
                  </a:cxn>
                  <a:cxn ang="0">
                    <a:pos x="80" y="172"/>
                  </a:cxn>
                  <a:cxn ang="0">
                    <a:pos x="76" y="188"/>
                  </a:cxn>
                  <a:cxn ang="0">
                    <a:pos x="72" y="204"/>
                  </a:cxn>
                  <a:cxn ang="0">
                    <a:pos x="68" y="216"/>
                  </a:cxn>
                  <a:cxn ang="0">
                    <a:pos x="64" y="228"/>
                  </a:cxn>
                  <a:cxn ang="0">
                    <a:pos x="60" y="244"/>
                  </a:cxn>
                  <a:cxn ang="0">
                    <a:pos x="48" y="252"/>
                  </a:cxn>
                  <a:cxn ang="0">
                    <a:pos x="36" y="256"/>
                  </a:cxn>
                  <a:cxn ang="0">
                    <a:pos x="28" y="256"/>
                  </a:cxn>
                  <a:cxn ang="0">
                    <a:pos x="16" y="252"/>
                  </a:cxn>
                  <a:cxn ang="0">
                    <a:pos x="12" y="248"/>
                  </a:cxn>
                  <a:cxn ang="0">
                    <a:pos x="8" y="232"/>
                  </a:cxn>
                  <a:cxn ang="0">
                    <a:pos x="8" y="216"/>
                  </a:cxn>
                  <a:cxn ang="0">
                    <a:pos x="4" y="204"/>
                  </a:cxn>
                  <a:cxn ang="0">
                    <a:pos x="0" y="192"/>
                  </a:cxn>
                  <a:cxn ang="0">
                    <a:pos x="4" y="180"/>
                  </a:cxn>
                  <a:cxn ang="0">
                    <a:pos x="12" y="172"/>
                  </a:cxn>
                  <a:cxn ang="0">
                    <a:pos x="16" y="156"/>
                  </a:cxn>
                  <a:cxn ang="0">
                    <a:pos x="20" y="144"/>
                  </a:cxn>
                  <a:cxn ang="0">
                    <a:pos x="16" y="132"/>
                  </a:cxn>
                  <a:cxn ang="0">
                    <a:pos x="12" y="120"/>
                  </a:cxn>
                  <a:cxn ang="0">
                    <a:pos x="12" y="104"/>
                  </a:cxn>
                  <a:cxn ang="0">
                    <a:pos x="16" y="92"/>
                  </a:cxn>
                  <a:cxn ang="0">
                    <a:pos x="16" y="84"/>
                  </a:cxn>
                  <a:cxn ang="0">
                    <a:pos x="28" y="76"/>
                  </a:cxn>
                  <a:cxn ang="0">
                    <a:pos x="36" y="76"/>
                  </a:cxn>
                  <a:cxn ang="0">
                    <a:pos x="40" y="72"/>
                  </a:cxn>
                  <a:cxn ang="0">
                    <a:pos x="48" y="72"/>
                  </a:cxn>
                  <a:cxn ang="0">
                    <a:pos x="48" y="68"/>
                  </a:cxn>
                  <a:cxn ang="0">
                    <a:pos x="60" y="64"/>
                  </a:cxn>
                  <a:cxn ang="0">
                    <a:pos x="60" y="64"/>
                  </a:cxn>
                  <a:cxn ang="0">
                    <a:pos x="64" y="56"/>
                  </a:cxn>
                  <a:cxn ang="0">
                    <a:pos x="68" y="56"/>
                  </a:cxn>
                  <a:cxn ang="0">
                    <a:pos x="72" y="52"/>
                  </a:cxn>
                  <a:cxn ang="0">
                    <a:pos x="72" y="44"/>
                  </a:cxn>
                  <a:cxn ang="0">
                    <a:pos x="72" y="36"/>
                  </a:cxn>
                  <a:cxn ang="0">
                    <a:pos x="80" y="32"/>
                  </a:cxn>
                  <a:cxn ang="0">
                    <a:pos x="84" y="28"/>
                  </a:cxn>
                  <a:cxn ang="0">
                    <a:pos x="88" y="16"/>
                  </a:cxn>
                  <a:cxn ang="0">
                    <a:pos x="92" y="8"/>
                  </a:cxn>
                  <a:cxn ang="0">
                    <a:pos x="92" y="0"/>
                  </a:cxn>
                  <a:cxn ang="0">
                    <a:pos x="92" y="8"/>
                  </a:cxn>
                  <a:cxn ang="0">
                    <a:pos x="100" y="16"/>
                  </a:cxn>
                  <a:cxn ang="0">
                    <a:pos x="100" y="24"/>
                  </a:cxn>
                  <a:cxn ang="0">
                    <a:pos x="104" y="36"/>
                  </a:cxn>
                  <a:cxn ang="0">
                    <a:pos x="108" y="48"/>
                  </a:cxn>
                  <a:cxn ang="0">
                    <a:pos x="108" y="60"/>
                  </a:cxn>
                  <a:cxn ang="0">
                    <a:pos x="108" y="76"/>
                  </a:cxn>
                  <a:cxn ang="0">
                    <a:pos x="96" y="68"/>
                  </a:cxn>
                  <a:cxn ang="0">
                    <a:pos x="100" y="80"/>
                  </a:cxn>
                  <a:cxn ang="0">
                    <a:pos x="96" y="92"/>
                  </a:cxn>
                  <a:cxn ang="0">
                    <a:pos x="96" y="108"/>
                  </a:cxn>
                  <a:cxn ang="0">
                    <a:pos x="92" y="124"/>
                  </a:cxn>
                  <a:cxn ang="0">
                    <a:pos x="88" y="136"/>
                  </a:cxn>
                  <a:cxn ang="0">
                    <a:pos x="84" y="148"/>
                  </a:cxn>
                  <a:cxn ang="0">
                    <a:pos x="80" y="160"/>
                  </a:cxn>
                  <a:cxn ang="0">
                    <a:pos x="104" y="96"/>
                  </a:cxn>
                </a:cxnLst>
                <a:rect l="0" t="0" r="r" b="b"/>
                <a:pathLst>
                  <a:path w="112" h="260">
                    <a:moveTo>
                      <a:pt x="76" y="28"/>
                    </a:moveTo>
                    <a:lnTo>
                      <a:pt x="76" y="24"/>
                    </a:lnTo>
                    <a:lnTo>
                      <a:pt x="80" y="28"/>
                    </a:lnTo>
                    <a:lnTo>
                      <a:pt x="76" y="28"/>
                    </a:lnTo>
                    <a:close/>
                    <a:moveTo>
                      <a:pt x="80" y="160"/>
                    </a:moveTo>
                    <a:lnTo>
                      <a:pt x="80" y="164"/>
                    </a:lnTo>
                    <a:lnTo>
                      <a:pt x="80" y="168"/>
                    </a:lnTo>
                    <a:lnTo>
                      <a:pt x="80" y="172"/>
                    </a:lnTo>
                    <a:lnTo>
                      <a:pt x="80" y="176"/>
                    </a:lnTo>
                    <a:lnTo>
                      <a:pt x="76" y="180"/>
                    </a:lnTo>
                    <a:lnTo>
                      <a:pt x="76" y="184"/>
                    </a:lnTo>
                    <a:lnTo>
                      <a:pt x="76" y="188"/>
                    </a:lnTo>
                    <a:lnTo>
                      <a:pt x="72" y="192"/>
                    </a:lnTo>
                    <a:lnTo>
                      <a:pt x="72" y="196"/>
                    </a:lnTo>
                    <a:lnTo>
                      <a:pt x="72" y="200"/>
                    </a:lnTo>
                    <a:lnTo>
                      <a:pt x="72" y="204"/>
                    </a:lnTo>
                    <a:lnTo>
                      <a:pt x="72" y="208"/>
                    </a:lnTo>
                    <a:lnTo>
                      <a:pt x="68" y="208"/>
                    </a:lnTo>
                    <a:lnTo>
                      <a:pt x="68" y="212"/>
                    </a:lnTo>
                    <a:lnTo>
                      <a:pt x="68" y="216"/>
                    </a:lnTo>
                    <a:lnTo>
                      <a:pt x="68" y="220"/>
                    </a:lnTo>
                    <a:lnTo>
                      <a:pt x="68" y="224"/>
                    </a:lnTo>
                    <a:lnTo>
                      <a:pt x="64" y="224"/>
                    </a:lnTo>
                    <a:lnTo>
                      <a:pt x="64" y="228"/>
                    </a:lnTo>
                    <a:lnTo>
                      <a:pt x="64" y="232"/>
                    </a:lnTo>
                    <a:lnTo>
                      <a:pt x="64" y="236"/>
                    </a:lnTo>
                    <a:lnTo>
                      <a:pt x="60" y="240"/>
                    </a:lnTo>
                    <a:lnTo>
                      <a:pt x="60" y="244"/>
                    </a:lnTo>
                    <a:lnTo>
                      <a:pt x="60" y="248"/>
                    </a:lnTo>
                    <a:lnTo>
                      <a:pt x="56" y="248"/>
                    </a:lnTo>
                    <a:lnTo>
                      <a:pt x="52" y="252"/>
                    </a:lnTo>
                    <a:lnTo>
                      <a:pt x="48" y="252"/>
                    </a:lnTo>
                    <a:lnTo>
                      <a:pt x="44" y="252"/>
                    </a:lnTo>
                    <a:lnTo>
                      <a:pt x="40" y="252"/>
                    </a:lnTo>
                    <a:lnTo>
                      <a:pt x="40" y="256"/>
                    </a:lnTo>
                    <a:lnTo>
                      <a:pt x="36" y="256"/>
                    </a:lnTo>
                    <a:lnTo>
                      <a:pt x="36" y="260"/>
                    </a:lnTo>
                    <a:lnTo>
                      <a:pt x="32" y="260"/>
                    </a:lnTo>
                    <a:lnTo>
                      <a:pt x="28" y="260"/>
                    </a:lnTo>
                    <a:lnTo>
                      <a:pt x="28" y="256"/>
                    </a:lnTo>
                    <a:lnTo>
                      <a:pt x="24" y="256"/>
                    </a:lnTo>
                    <a:lnTo>
                      <a:pt x="24" y="252"/>
                    </a:lnTo>
                    <a:lnTo>
                      <a:pt x="20" y="252"/>
                    </a:lnTo>
                    <a:lnTo>
                      <a:pt x="16" y="252"/>
                    </a:lnTo>
                    <a:lnTo>
                      <a:pt x="20" y="252"/>
                    </a:lnTo>
                    <a:lnTo>
                      <a:pt x="16" y="252"/>
                    </a:lnTo>
                    <a:lnTo>
                      <a:pt x="16" y="248"/>
                    </a:lnTo>
                    <a:lnTo>
                      <a:pt x="12" y="248"/>
                    </a:lnTo>
                    <a:lnTo>
                      <a:pt x="12" y="244"/>
                    </a:lnTo>
                    <a:lnTo>
                      <a:pt x="12" y="240"/>
                    </a:lnTo>
                    <a:lnTo>
                      <a:pt x="8" y="236"/>
                    </a:lnTo>
                    <a:lnTo>
                      <a:pt x="8" y="232"/>
                    </a:lnTo>
                    <a:lnTo>
                      <a:pt x="8" y="228"/>
                    </a:lnTo>
                    <a:lnTo>
                      <a:pt x="8" y="224"/>
                    </a:lnTo>
                    <a:lnTo>
                      <a:pt x="8" y="220"/>
                    </a:lnTo>
                    <a:lnTo>
                      <a:pt x="8" y="216"/>
                    </a:lnTo>
                    <a:lnTo>
                      <a:pt x="4" y="216"/>
                    </a:lnTo>
                    <a:lnTo>
                      <a:pt x="4" y="212"/>
                    </a:lnTo>
                    <a:lnTo>
                      <a:pt x="4" y="208"/>
                    </a:lnTo>
                    <a:lnTo>
                      <a:pt x="4" y="204"/>
                    </a:lnTo>
                    <a:lnTo>
                      <a:pt x="0" y="204"/>
                    </a:lnTo>
                    <a:lnTo>
                      <a:pt x="0" y="200"/>
                    </a:lnTo>
                    <a:lnTo>
                      <a:pt x="0" y="196"/>
                    </a:lnTo>
                    <a:lnTo>
                      <a:pt x="0" y="192"/>
                    </a:lnTo>
                    <a:lnTo>
                      <a:pt x="0" y="188"/>
                    </a:lnTo>
                    <a:lnTo>
                      <a:pt x="0" y="184"/>
                    </a:lnTo>
                    <a:lnTo>
                      <a:pt x="4" y="184"/>
                    </a:lnTo>
                    <a:lnTo>
                      <a:pt x="4" y="180"/>
                    </a:lnTo>
                    <a:lnTo>
                      <a:pt x="4" y="176"/>
                    </a:lnTo>
                    <a:lnTo>
                      <a:pt x="8" y="176"/>
                    </a:lnTo>
                    <a:lnTo>
                      <a:pt x="8" y="172"/>
                    </a:lnTo>
                    <a:lnTo>
                      <a:pt x="12" y="172"/>
                    </a:lnTo>
                    <a:lnTo>
                      <a:pt x="12" y="168"/>
                    </a:lnTo>
                    <a:lnTo>
                      <a:pt x="12" y="164"/>
                    </a:lnTo>
                    <a:lnTo>
                      <a:pt x="16" y="160"/>
                    </a:lnTo>
                    <a:lnTo>
                      <a:pt x="16" y="156"/>
                    </a:lnTo>
                    <a:lnTo>
                      <a:pt x="20" y="152"/>
                    </a:lnTo>
                    <a:lnTo>
                      <a:pt x="20" y="148"/>
                    </a:lnTo>
                    <a:lnTo>
                      <a:pt x="16" y="148"/>
                    </a:lnTo>
                    <a:lnTo>
                      <a:pt x="20" y="144"/>
                    </a:lnTo>
                    <a:lnTo>
                      <a:pt x="20" y="140"/>
                    </a:lnTo>
                    <a:lnTo>
                      <a:pt x="16" y="140"/>
                    </a:lnTo>
                    <a:lnTo>
                      <a:pt x="16" y="136"/>
                    </a:lnTo>
                    <a:lnTo>
                      <a:pt x="16" y="132"/>
                    </a:lnTo>
                    <a:lnTo>
                      <a:pt x="16" y="128"/>
                    </a:lnTo>
                    <a:lnTo>
                      <a:pt x="16" y="124"/>
                    </a:lnTo>
                    <a:lnTo>
                      <a:pt x="12" y="124"/>
                    </a:lnTo>
                    <a:lnTo>
                      <a:pt x="12" y="120"/>
                    </a:lnTo>
                    <a:lnTo>
                      <a:pt x="12" y="116"/>
                    </a:lnTo>
                    <a:lnTo>
                      <a:pt x="12" y="112"/>
                    </a:lnTo>
                    <a:lnTo>
                      <a:pt x="12" y="108"/>
                    </a:lnTo>
                    <a:lnTo>
                      <a:pt x="12" y="104"/>
                    </a:lnTo>
                    <a:lnTo>
                      <a:pt x="12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20" y="80"/>
                    </a:lnTo>
                    <a:lnTo>
                      <a:pt x="24" y="80"/>
                    </a:lnTo>
                    <a:lnTo>
                      <a:pt x="28" y="80"/>
                    </a:lnTo>
                    <a:lnTo>
                      <a:pt x="28" y="76"/>
                    </a:lnTo>
                    <a:lnTo>
                      <a:pt x="32" y="76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80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40" y="72"/>
                    </a:lnTo>
                    <a:lnTo>
                      <a:pt x="40" y="76"/>
                    </a:lnTo>
                    <a:lnTo>
                      <a:pt x="44" y="76"/>
                    </a:lnTo>
                    <a:lnTo>
                      <a:pt x="44" y="72"/>
                    </a:lnTo>
                    <a:lnTo>
                      <a:pt x="48" y="72"/>
                    </a:lnTo>
                    <a:lnTo>
                      <a:pt x="44" y="72"/>
                    </a:lnTo>
                    <a:lnTo>
                      <a:pt x="48" y="76"/>
                    </a:lnTo>
                    <a:lnTo>
                      <a:pt x="48" y="72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56" y="64"/>
                    </a:lnTo>
                    <a:lnTo>
                      <a:pt x="56" y="68"/>
                    </a:lnTo>
                    <a:lnTo>
                      <a:pt x="60" y="68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64" y="56"/>
                    </a:lnTo>
                    <a:lnTo>
                      <a:pt x="60" y="56"/>
                    </a:lnTo>
                    <a:lnTo>
                      <a:pt x="64" y="56"/>
                    </a:lnTo>
                    <a:lnTo>
                      <a:pt x="64" y="52"/>
                    </a:lnTo>
                    <a:lnTo>
                      <a:pt x="64" y="56"/>
                    </a:lnTo>
                    <a:lnTo>
                      <a:pt x="64" y="60"/>
                    </a:lnTo>
                    <a:lnTo>
                      <a:pt x="68" y="56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68" y="52"/>
                    </a:lnTo>
                    <a:lnTo>
                      <a:pt x="68" y="48"/>
                    </a:lnTo>
                    <a:lnTo>
                      <a:pt x="68" y="44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72" y="44"/>
                    </a:lnTo>
                    <a:lnTo>
                      <a:pt x="72" y="40"/>
                    </a:lnTo>
                    <a:lnTo>
                      <a:pt x="72" y="36"/>
                    </a:lnTo>
                    <a:lnTo>
                      <a:pt x="72" y="32"/>
                    </a:lnTo>
                    <a:lnTo>
                      <a:pt x="76" y="32"/>
                    </a:lnTo>
                    <a:lnTo>
                      <a:pt x="76" y="36"/>
                    </a:lnTo>
                    <a:lnTo>
                      <a:pt x="80" y="32"/>
                    </a:lnTo>
                    <a:lnTo>
                      <a:pt x="76" y="32"/>
                    </a:lnTo>
                    <a:lnTo>
                      <a:pt x="80" y="32"/>
                    </a:lnTo>
                    <a:lnTo>
                      <a:pt x="80" y="28"/>
                    </a:lnTo>
                    <a:lnTo>
                      <a:pt x="84" y="28"/>
                    </a:lnTo>
                    <a:lnTo>
                      <a:pt x="84" y="24"/>
                    </a:lnTo>
                    <a:lnTo>
                      <a:pt x="84" y="20"/>
                    </a:lnTo>
                    <a:lnTo>
                      <a:pt x="88" y="20"/>
                    </a:lnTo>
                    <a:lnTo>
                      <a:pt x="88" y="16"/>
                    </a:lnTo>
                    <a:lnTo>
                      <a:pt x="84" y="12"/>
                    </a:lnTo>
                    <a:lnTo>
                      <a:pt x="88" y="12"/>
                    </a:lnTo>
                    <a:lnTo>
                      <a:pt x="88" y="8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88" y="4"/>
                    </a:lnTo>
                    <a:lnTo>
                      <a:pt x="92" y="4"/>
                    </a:lnTo>
                    <a:lnTo>
                      <a:pt x="92" y="0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2" y="4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96" y="12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0" y="24"/>
                    </a:lnTo>
                    <a:lnTo>
                      <a:pt x="104" y="24"/>
                    </a:lnTo>
                    <a:lnTo>
                      <a:pt x="104" y="28"/>
                    </a:lnTo>
                    <a:lnTo>
                      <a:pt x="104" y="32"/>
                    </a:lnTo>
                    <a:lnTo>
                      <a:pt x="104" y="36"/>
                    </a:lnTo>
                    <a:lnTo>
                      <a:pt x="104" y="40"/>
                    </a:lnTo>
                    <a:lnTo>
                      <a:pt x="104" y="44"/>
                    </a:lnTo>
                    <a:lnTo>
                      <a:pt x="108" y="44"/>
                    </a:lnTo>
                    <a:lnTo>
                      <a:pt x="108" y="48"/>
                    </a:lnTo>
                    <a:lnTo>
                      <a:pt x="104" y="48"/>
                    </a:lnTo>
                    <a:lnTo>
                      <a:pt x="108" y="52"/>
                    </a:lnTo>
                    <a:lnTo>
                      <a:pt x="108" y="56"/>
                    </a:lnTo>
                    <a:lnTo>
                      <a:pt x="108" y="60"/>
                    </a:lnTo>
                    <a:lnTo>
                      <a:pt x="112" y="64"/>
                    </a:lnTo>
                    <a:lnTo>
                      <a:pt x="108" y="68"/>
                    </a:lnTo>
                    <a:lnTo>
                      <a:pt x="108" y="72"/>
                    </a:lnTo>
                    <a:lnTo>
                      <a:pt x="108" y="76"/>
                    </a:lnTo>
                    <a:lnTo>
                      <a:pt x="104" y="76"/>
                    </a:lnTo>
                    <a:lnTo>
                      <a:pt x="104" y="72"/>
                    </a:lnTo>
                    <a:lnTo>
                      <a:pt x="100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100" y="72"/>
                    </a:lnTo>
                    <a:lnTo>
                      <a:pt x="100" y="76"/>
                    </a:lnTo>
                    <a:lnTo>
                      <a:pt x="100" y="80"/>
                    </a:lnTo>
                    <a:lnTo>
                      <a:pt x="100" y="84"/>
                    </a:lnTo>
                    <a:lnTo>
                      <a:pt x="100" y="88"/>
                    </a:lnTo>
                    <a:lnTo>
                      <a:pt x="100" y="92"/>
                    </a:lnTo>
                    <a:lnTo>
                      <a:pt x="96" y="92"/>
                    </a:lnTo>
                    <a:lnTo>
                      <a:pt x="96" y="96"/>
                    </a:lnTo>
                    <a:lnTo>
                      <a:pt x="96" y="100"/>
                    </a:lnTo>
                    <a:lnTo>
                      <a:pt x="96" y="104"/>
                    </a:lnTo>
                    <a:lnTo>
                      <a:pt x="96" y="108"/>
                    </a:lnTo>
                    <a:lnTo>
                      <a:pt x="96" y="112"/>
                    </a:lnTo>
                    <a:lnTo>
                      <a:pt x="96" y="116"/>
                    </a:lnTo>
                    <a:lnTo>
                      <a:pt x="92" y="120"/>
                    </a:lnTo>
                    <a:lnTo>
                      <a:pt x="92" y="124"/>
                    </a:lnTo>
                    <a:lnTo>
                      <a:pt x="92" y="128"/>
                    </a:lnTo>
                    <a:lnTo>
                      <a:pt x="92" y="132"/>
                    </a:lnTo>
                    <a:lnTo>
                      <a:pt x="88" y="132"/>
                    </a:lnTo>
                    <a:lnTo>
                      <a:pt x="88" y="136"/>
                    </a:lnTo>
                    <a:lnTo>
                      <a:pt x="88" y="140"/>
                    </a:lnTo>
                    <a:lnTo>
                      <a:pt x="88" y="144"/>
                    </a:lnTo>
                    <a:lnTo>
                      <a:pt x="84" y="144"/>
                    </a:lnTo>
                    <a:lnTo>
                      <a:pt x="84" y="148"/>
                    </a:lnTo>
                    <a:lnTo>
                      <a:pt x="84" y="152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close/>
                    <a:moveTo>
                      <a:pt x="100" y="96"/>
                    </a:moveTo>
                    <a:lnTo>
                      <a:pt x="100" y="92"/>
                    </a:lnTo>
                    <a:lnTo>
                      <a:pt x="104" y="92"/>
                    </a:lnTo>
                    <a:lnTo>
                      <a:pt x="104" y="96"/>
                    </a:lnTo>
                    <a:lnTo>
                      <a:pt x="100" y="96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5" name="Freeform 145">
                <a:extLst>
                  <a:ext uri="{FF2B5EF4-FFF2-40B4-BE49-F238E27FC236}">
                    <a16:creationId xmlns:a16="http://schemas.microsoft.com/office/drawing/2014/main" id="{6D983191-EE76-4C25-A02F-BE1731E08F69}"/>
                  </a:ext>
                </a:extLst>
              </p:cNvPr>
              <p:cNvSpPr>
                <a:spLocks noEditPoints="1"/>
              </p:cNvSpPr>
              <p:nvPr>
                <p:custDataLst>
                  <p:tags r:id="rId65"/>
                </p:custDataLst>
              </p:nvPr>
            </p:nvSpPr>
            <p:spPr bwMode="gray">
              <a:xfrm>
                <a:off x="4415762" y="6183746"/>
                <a:ext cx="60509" cy="181527"/>
              </a:xfrm>
              <a:custGeom>
                <a:avLst/>
                <a:gdLst/>
                <a:ahLst/>
                <a:cxnLst>
                  <a:cxn ang="0">
                    <a:pos x="4" y="84"/>
                  </a:cxn>
                  <a:cxn ang="0">
                    <a:pos x="0" y="76"/>
                  </a:cxn>
                  <a:cxn ang="0">
                    <a:pos x="4" y="72"/>
                  </a:cxn>
                  <a:cxn ang="0">
                    <a:pos x="4" y="64"/>
                  </a:cxn>
                  <a:cxn ang="0">
                    <a:pos x="4" y="60"/>
                  </a:cxn>
                  <a:cxn ang="0">
                    <a:pos x="12" y="56"/>
                  </a:cxn>
                  <a:cxn ang="0">
                    <a:pos x="12" y="52"/>
                  </a:cxn>
                  <a:cxn ang="0">
                    <a:pos x="12" y="52"/>
                  </a:cxn>
                  <a:cxn ang="0">
                    <a:pos x="8" y="40"/>
                  </a:cxn>
                  <a:cxn ang="0">
                    <a:pos x="12" y="32"/>
                  </a:cxn>
                  <a:cxn ang="0">
                    <a:pos x="8" y="28"/>
                  </a:cxn>
                  <a:cxn ang="0">
                    <a:pos x="12" y="24"/>
                  </a:cxn>
                  <a:cxn ang="0">
                    <a:pos x="16" y="20"/>
                  </a:cxn>
                  <a:cxn ang="0">
                    <a:pos x="12" y="16"/>
                  </a:cxn>
                  <a:cxn ang="0">
                    <a:pos x="8" y="12"/>
                  </a:cxn>
                  <a:cxn ang="0">
                    <a:pos x="8" y="4"/>
                  </a:cxn>
                  <a:cxn ang="0">
                    <a:pos x="8" y="4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12" y="0"/>
                  </a:cxn>
                  <a:cxn ang="0">
                    <a:pos x="16" y="4"/>
                  </a:cxn>
                  <a:cxn ang="0">
                    <a:pos x="20" y="4"/>
                  </a:cxn>
                  <a:cxn ang="0">
                    <a:pos x="20" y="0"/>
                  </a:cxn>
                  <a:cxn ang="0">
                    <a:pos x="28" y="8"/>
                  </a:cxn>
                  <a:cxn ang="0">
                    <a:pos x="28" y="16"/>
                  </a:cxn>
                  <a:cxn ang="0">
                    <a:pos x="28" y="20"/>
                  </a:cxn>
                  <a:cxn ang="0">
                    <a:pos x="28" y="28"/>
                  </a:cxn>
                  <a:cxn ang="0">
                    <a:pos x="32" y="32"/>
                  </a:cxn>
                  <a:cxn ang="0">
                    <a:pos x="36" y="40"/>
                  </a:cxn>
                  <a:cxn ang="0">
                    <a:pos x="28" y="40"/>
                  </a:cxn>
                  <a:cxn ang="0">
                    <a:pos x="28" y="44"/>
                  </a:cxn>
                  <a:cxn ang="0">
                    <a:pos x="24" y="52"/>
                  </a:cxn>
                  <a:cxn ang="0">
                    <a:pos x="28" y="56"/>
                  </a:cxn>
                  <a:cxn ang="0">
                    <a:pos x="28" y="60"/>
                  </a:cxn>
                  <a:cxn ang="0">
                    <a:pos x="28" y="72"/>
                  </a:cxn>
                  <a:cxn ang="0">
                    <a:pos x="32" y="76"/>
                  </a:cxn>
                  <a:cxn ang="0">
                    <a:pos x="44" y="88"/>
                  </a:cxn>
                  <a:cxn ang="0">
                    <a:pos x="48" y="100"/>
                  </a:cxn>
                  <a:cxn ang="0">
                    <a:pos x="48" y="108"/>
                  </a:cxn>
                  <a:cxn ang="0">
                    <a:pos x="48" y="120"/>
                  </a:cxn>
                  <a:cxn ang="0">
                    <a:pos x="44" y="124"/>
                  </a:cxn>
                  <a:cxn ang="0">
                    <a:pos x="40" y="132"/>
                  </a:cxn>
                  <a:cxn ang="0">
                    <a:pos x="40" y="132"/>
                  </a:cxn>
                  <a:cxn ang="0">
                    <a:pos x="40" y="140"/>
                  </a:cxn>
                  <a:cxn ang="0">
                    <a:pos x="36" y="140"/>
                  </a:cxn>
                  <a:cxn ang="0">
                    <a:pos x="36" y="136"/>
                  </a:cxn>
                  <a:cxn ang="0">
                    <a:pos x="32" y="132"/>
                  </a:cxn>
                  <a:cxn ang="0">
                    <a:pos x="28" y="128"/>
                  </a:cxn>
                  <a:cxn ang="0">
                    <a:pos x="28" y="124"/>
                  </a:cxn>
                  <a:cxn ang="0">
                    <a:pos x="24" y="120"/>
                  </a:cxn>
                  <a:cxn ang="0">
                    <a:pos x="24" y="116"/>
                  </a:cxn>
                  <a:cxn ang="0">
                    <a:pos x="28" y="112"/>
                  </a:cxn>
                  <a:cxn ang="0">
                    <a:pos x="28" y="108"/>
                  </a:cxn>
                  <a:cxn ang="0">
                    <a:pos x="28" y="104"/>
                  </a:cxn>
                  <a:cxn ang="0">
                    <a:pos x="28" y="96"/>
                  </a:cxn>
                  <a:cxn ang="0">
                    <a:pos x="24" y="92"/>
                  </a:cxn>
                  <a:cxn ang="0">
                    <a:pos x="16" y="92"/>
                  </a:cxn>
                  <a:cxn ang="0">
                    <a:pos x="8" y="84"/>
                  </a:cxn>
                  <a:cxn ang="0">
                    <a:pos x="32" y="48"/>
                  </a:cxn>
                </a:cxnLst>
                <a:rect l="0" t="0" r="r" b="b"/>
                <a:pathLst>
                  <a:path w="48" h="144">
                    <a:moveTo>
                      <a:pt x="8" y="84"/>
                    </a:move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0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0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12" y="12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32" y="20"/>
                    </a:lnTo>
                    <a:lnTo>
                      <a:pt x="32" y="20"/>
                    </a:lnTo>
                    <a:lnTo>
                      <a:pt x="32" y="24"/>
                    </a:lnTo>
                    <a:lnTo>
                      <a:pt x="32" y="24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28"/>
                    </a:lnTo>
                    <a:lnTo>
                      <a:pt x="28" y="32"/>
                    </a:lnTo>
                    <a:lnTo>
                      <a:pt x="28" y="32"/>
                    </a:lnTo>
                    <a:lnTo>
                      <a:pt x="32" y="32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6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2" y="40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8" y="56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0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80"/>
                    </a:lnTo>
                    <a:lnTo>
                      <a:pt x="40" y="80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4" y="88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100"/>
                    </a:lnTo>
                    <a:lnTo>
                      <a:pt x="48" y="104"/>
                    </a:lnTo>
                    <a:lnTo>
                      <a:pt x="48" y="104"/>
                    </a:lnTo>
                    <a:lnTo>
                      <a:pt x="48" y="108"/>
                    </a:lnTo>
                    <a:lnTo>
                      <a:pt x="48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20"/>
                    </a:lnTo>
                    <a:lnTo>
                      <a:pt x="48" y="120"/>
                    </a:lnTo>
                    <a:lnTo>
                      <a:pt x="48" y="124"/>
                    </a:lnTo>
                    <a:lnTo>
                      <a:pt x="48" y="124"/>
                    </a:lnTo>
                    <a:lnTo>
                      <a:pt x="48" y="124"/>
                    </a:lnTo>
                    <a:lnTo>
                      <a:pt x="44" y="124"/>
                    </a:lnTo>
                    <a:lnTo>
                      <a:pt x="44" y="124"/>
                    </a:lnTo>
                    <a:lnTo>
                      <a:pt x="44" y="124"/>
                    </a:lnTo>
                    <a:lnTo>
                      <a:pt x="40" y="124"/>
                    </a:lnTo>
                    <a:lnTo>
                      <a:pt x="40" y="124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28"/>
                    </a:lnTo>
                    <a:lnTo>
                      <a:pt x="40" y="132"/>
                    </a:lnTo>
                    <a:lnTo>
                      <a:pt x="36" y="132"/>
                    </a:lnTo>
                    <a:lnTo>
                      <a:pt x="36" y="132"/>
                    </a:lnTo>
                    <a:lnTo>
                      <a:pt x="36" y="132"/>
                    </a:lnTo>
                    <a:lnTo>
                      <a:pt x="40" y="132"/>
                    </a:lnTo>
                    <a:lnTo>
                      <a:pt x="40" y="132"/>
                    </a:lnTo>
                    <a:lnTo>
                      <a:pt x="40" y="132"/>
                    </a:lnTo>
                    <a:lnTo>
                      <a:pt x="40" y="136"/>
                    </a:lnTo>
                    <a:lnTo>
                      <a:pt x="40" y="136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40" y="144"/>
                    </a:lnTo>
                    <a:lnTo>
                      <a:pt x="40" y="144"/>
                    </a:lnTo>
                    <a:lnTo>
                      <a:pt x="36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36"/>
                    </a:lnTo>
                    <a:lnTo>
                      <a:pt x="36" y="136"/>
                    </a:lnTo>
                    <a:lnTo>
                      <a:pt x="36" y="136"/>
                    </a:lnTo>
                    <a:lnTo>
                      <a:pt x="36" y="136"/>
                    </a:lnTo>
                    <a:lnTo>
                      <a:pt x="36" y="136"/>
                    </a:lnTo>
                    <a:lnTo>
                      <a:pt x="36" y="136"/>
                    </a:lnTo>
                    <a:lnTo>
                      <a:pt x="32" y="132"/>
                    </a:lnTo>
                    <a:lnTo>
                      <a:pt x="32" y="132"/>
                    </a:lnTo>
                    <a:lnTo>
                      <a:pt x="32" y="132"/>
                    </a:lnTo>
                    <a:lnTo>
                      <a:pt x="32" y="128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28"/>
                    </a:lnTo>
                    <a:lnTo>
                      <a:pt x="28" y="124"/>
                    </a:lnTo>
                    <a:lnTo>
                      <a:pt x="28" y="124"/>
                    </a:lnTo>
                    <a:lnTo>
                      <a:pt x="28" y="124"/>
                    </a:lnTo>
                    <a:lnTo>
                      <a:pt x="28" y="124"/>
                    </a:lnTo>
                    <a:lnTo>
                      <a:pt x="28" y="124"/>
                    </a:lnTo>
                    <a:lnTo>
                      <a:pt x="24" y="120"/>
                    </a:lnTo>
                    <a:lnTo>
                      <a:pt x="24" y="120"/>
                    </a:lnTo>
                    <a:lnTo>
                      <a:pt x="24" y="120"/>
                    </a:lnTo>
                    <a:lnTo>
                      <a:pt x="24" y="120"/>
                    </a:lnTo>
                    <a:lnTo>
                      <a:pt x="24" y="120"/>
                    </a:lnTo>
                    <a:lnTo>
                      <a:pt x="24" y="120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4" y="116"/>
                    </a:lnTo>
                    <a:lnTo>
                      <a:pt x="28" y="116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12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8" y="108"/>
                    </a:lnTo>
                    <a:lnTo>
                      <a:pt x="28" y="104"/>
                    </a:lnTo>
                    <a:lnTo>
                      <a:pt x="28" y="104"/>
                    </a:lnTo>
                    <a:lnTo>
                      <a:pt x="28" y="100"/>
                    </a:lnTo>
                    <a:lnTo>
                      <a:pt x="28" y="100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0" y="92"/>
                    </a:lnTo>
                    <a:lnTo>
                      <a:pt x="16" y="92"/>
                    </a:lnTo>
                    <a:lnTo>
                      <a:pt x="16" y="92"/>
                    </a:lnTo>
                    <a:lnTo>
                      <a:pt x="16" y="92"/>
                    </a:lnTo>
                    <a:lnTo>
                      <a:pt x="12" y="92"/>
                    </a:lnTo>
                    <a:lnTo>
                      <a:pt x="12" y="88"/>
                    </a:lnTo>
                    <a:lnTo>
                      <a:pt x="12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4"/>
                    </a:lnTo>
                    <a:close/>
                    <a:moveTo>
                      <a:pt x="28" y="48"/>
                    </a:move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close/>
                    <a:moveTo>
                      <a:pt x="32" y="48"/>
                    </a:move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close/>
                  </a:path>
                </a:pathLst>
              </a:custGeom>
              <a:solidFill>
                <a:schemeClr val="bg1">
                  <a:lumMod val="75000"/>
                </a:schemeClr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6" name="Freeform 146">
                <a:extLst>
                  <a:ext uri="{FF2B5EF4-FFF2-40B4-BE49-F238E27FC236}">
                    <a16:creationId xmlns:a16="http://schemas.microsoft.com/office/drawing/2014/main" id="{2DDEB676-8016-49D9-AD93-2187BA525F2D}"/>
                  </a:ext>
                </a:extLst>
              </p:cNvPr>
              <p:cNvSpPr>
                <a:spLocks/>
              </p:cNvSpPr>
              <p:nvPr>
                <p:custDataLst>
                  <p:tags r:id="rId66"/>
                </p:custDataLst>
              </p:nvPr>
            </p:nvSpPr>
            <p:spPr bwMode="gray">
              <a:xfrm>
                <a:off x="3561072" y="5379481"/>
                <a:ext cx="312630" cy="351708"/>
              </a:xfrm>
              <a:custGeom>
                <a:avLst/>
                <a:gdLst/>
                <a:ahLst/>
                <a:cxnLst>
                  <a:cxn ang="0">
                    <a:pos x="28" y="243"/>
                  </a:cxn>
                  <a:cxn ang="0">
                    <a:pos x="20" y="239"/>
                  </a:cxn>
                  <a:cxn ang="0">
                    <a:pos x="8" y="239"/>
                  </a:cxn>
                  <a:cxn ang="0">
                    <a:pos x="12" y="223"/>
                  </a:cxn>
                  <a:cxn ang="0">
                    <a:pos x="0" y="215"/>
                  </a:cxn>
                  <a:cxn ang="0">
                    <a:pos x="4" y="203"/>
                  </a:cxn>
                  <a:cxn ang="0">
                    <a:pos x="0" y="195"/>
                  </a:cxn>
                  <a:cxn ang="0">
                    <a:pos x="8" y="179"/>
                  </a:cxn>
                  <a:cxn ang="0">
                    <a:pos x="20" y="187"/>
                  </a:cxn>
                  <a:cxn ang="0">
                    <a:pos x="32" y="183"/>
                  </a:cxn>
                  <a:cxn ang="0">
                    <a:pos x="44" y="179"/>
                  </a:cxn>
                  <a:cxn ang="0">
                    <a:pos x="64" y="179"/>
                  </a:cxn>
                  <a:cxn ang="0">
                    <a:pos x="88" y="179"/>
                  </a:cxn>
                  <a:cxn ang="0">
                    <a:pos x="104" y="163"/>
                  </a:cxn>
                  <a:cxn ang="0">
                    <a:pos x="96" y="131"/>
                  </a:cxn>
                  <a:cxn ang="0">
                    <a:pos x="92" y="99"/>
                  </a:cxn>
                  <a:cxn ang="0">
                    <a:pos x="92" y="72"/>
                  </a:cxn>
                  <a:cxn ang="0">
                    <a:pos x="88" y="44"/>
                  </a:cxn>
                  <a:cxn ang="0">
                    <a:pos x="84" y="12"/>
                  </a:cxn>
                  <a:cxn ang="0">
                    <a:pos x="96" y="0"/>
                  </a:cxn>
                  <a:cxn ang="0">
                    <a:pos x="128" y="12"/>
                  </a:cxn>
                  <a:cxn ang="0">
                    <a:pos x="152" y="36"/>
                  </a:cxn>
                  <a:cxn ang="0">
                    <a:pos x="176" y="56"/>
                  </a:cxn>
                  <a:cxn ang="0">
                    <a:pos x="200" y="76"/>
                  </a:cxn>
                  <a:cxn ang="0">
                    <a:pos x="208" y="84"/>
                  </a:cxn>
                  <a:cxn ang="0">
                    <a:pos x="220" y="91"/>
                  </a:cxn>
                  <a:cxn ang="0">
                    <a:pos x="232" y="103"/>
                  </a:cxn>
                  <a:cxn ang="0">
                    <a:pos x="244" y="111"/>
                  </a:cxn>
                  <a:cxn ang="0">
                    <a:pos x="248" y="139"/>
                  </a:cxn>
                  <a:cxn ang="0">
                    <a:pos x="248" y="163"/>
                  </a:cxn>
                  <a:cxn ang="0">
                    <a:pos x="240" y="175"/>
                  </a:cxn>
                  <a:cxn ang="0">
                    <a:pos x="228" y="179"/>
                  </a:cxn>
                  <a:cxn ang="0">
                    <a:pos x="200" y="187"/>
                  </a:cxn>
                  <a:cxn ang="0">
                    <a:pos x="188" y="191"/>
                  </a:cxn>
                  <a:cxn ang="0">
                    <a:pos x="176" y="187"/>
                  </a:cxn>
                  <a:cxn ang="0">
                    <a:pos x="156" y="199"/>
                  </a:cxn>
                  <a:cxn ang="0">
                    <a:pos x="140" y="207"/>
                  </a:cxn>
                  <a:cxn ang="0">
                    <a:pos x="136" y="215"/>
                  </a:cxn>
                  <a:cxn ang="0">
                    <a:pos x="128" y="219"/>
                  </a:cxn>
                  <a:cxn ang="0">
                    <a:pos x="120" y="227"/>
                  </a:cxn>
                  <a:cxn ang="0">
                    <a:pos x="112" y="243"/>
                  </a:cxn>
                  <a:cxn ang="0">
                    <a:pos x="104" y="259"/>
                  </a:cxn>
                  <a:cxn ang="0">
                    <a:pos x="100" y="275"/>
                  </a:cxn>
                  <a:cxn ang="0">
                    <a:pos x="88" y="275"/>
                  </a:cxn>
                  <a:cxn ang="0">
                    <a:pos x="88" y="267"/>
                  </a:cxn>
                  <a:cxn ang="0">
                    <a:pos x="80" y="279"/>
                  </a:cxn>
                  <a:cxn ang="0">
                    <a:pos x="64" y="275"/>
                  </a:cxn>
                  <a:cxn ang="0">
                    <a:pos x="56" y="267"/>
                  </a:cxn>
                  <a:cxn ang="0">
                    <a:pos x="52" y="259"/>
                  </a:cxn>
                  <a:cxn ang="0">
                    <a:pos x="48" y="251"/>
                  </a:cxn>
                  <a:cxn ang="0">
                    <a:pos x="44" y="235"/>
                  </a:cxn>
                  <a:cxn ang="0">
                    <a:pos x="36" y="243"/>
                  </a:cxn>
                </a:cxnLst>
                <a:rect l="0" t="0" r="r" b="b"/>
                <a:pathLst>
                  <a:path w="248" h="279">
                    <a:moveTo>
                      <a:pt x="36" y="243"/>
                    </a:moveTo>
                    <a:lnTo>
                      <a:pt x="32" y="243"/>
                    </a:lnTo>
                    <a:lnTo>
                      <a:pt x="32" y="239"/>
                    </a:lnTo>
                    <a:lnTo>
                      <a:pt x="28" y="239"/>
                    </a:lnTo>
                    <a:lnTo>
                      <a:pt x="28" y="243"/>
                    </a:lnTo>
                    <a:lnTo>
                      <a:pt x="24" y="243"/>
                    </a:lnTo>
                    <a:lnTo>
                      <a:pt x="24" y="247"/>
                    </a:lnTo>
                    <a:lnTo>
                      <a:pt x="20" y="247"/>
                    </a:lnTo>
                    <a:lnTo>
                      <a:pt x="20" y="243"/>
                    </a:lnTo>
                    <a:lnTo>
                      <a:pt x="20" y="239"/>
                    </a:lnTo>
                    <a:lnTo>
                      <a:pt x="16" y="239"/>
                    </a:lnTo>
                    <a:lnTo>
                      <a:pt x="16" y="243"/>
                    </a:lnTo>
                    <a:lnTo>
                      <a:pt x="12" y="243"/>
                    </a:lnTo>
                    <a:lnTo>
                      <a:pt x="8" y="243"/>
                    </a:lnTo>
                    <a:lnTo>
                      <a:pt x="8" y="239"/>
                    </a:lnTo>
                    <a:lnTo>
                      <a:pt x="12" y="239"/>
                    </a:lnTo>
                    <a:lnTo>
                      <a:pt x="12" y="235"/>
                    </a:lnTo>
                    <a:lnTo>
                      <a:pt x="12" y="231"/>
                    </a:lnTo>
                    <a:lnTo>
                      <a:pt x="12" y="227"/>
                    </a:lnTo>
                    <a:lnTo>
                      <a:pt x="12" y="223"/>
                    </a:lnTo>
                    <a:lnTo>
                      <a:pt x="8" y="223"/>
                    </a:lnTo>
                    <a:lnTo>
                      <a:pt x="8" y="219"/>
                    </a:lnTo>
                    <a:lnTo>
                      <a:pt x="4" y="219"/>
                    </a:lnTo>
                    <a:lnTo>
                      <a:pt x="4" y="215"/>
                    </a:lnTo>
                    <a:lnTo>
                      <a:pt x="0" y="215"/>
                    </a:lnTo>
                    <a:lnTo>
                      <a:pt x="0" y="211"/>
                    </a:lnTo>
                    <a:lnTo>
                      <a:pt x="4" y="211"/>
                    </a:lnTo>
                    <a:lnTo>
                      <a:pt x="4" y="207"/>
                    </a:lnTo>
                    <a:lnTo>
                      <a:pt x="0" y="207"/>
                    </a:lnTo>
                    <a:lnTo>
                      <a:pt x="4" y="203"/>
                    </a:lnTo>
                    <a:lnTo>
                      <a:pt x="0" y="203"/>
                    </a:lnTo>
                    <a:lnTo>
                      <a:pt x="0" y="199"/>
                    </a:lnTo>
                    <a:lnTo>
                      <a:pt x="0" y="195"/>
                    </a:lnTo>
                    <a:lnTo>
                      <a:pt x="0" y="191"/>
                    </a:lnTo>
                    <a:lnTo>
                      <a:pt x="0" y="195"/>
                    </a:lnTo>
                    <a:lnTo>
                      <a:pt x="4" y="191"/>
                    </a:lnTo>
                    <a:lnTo>
                      <a:pt x="4" y="187"/>
                    </a:lnTo>
                    <a:lnTo>
                      <a:pt x="4" y="183"/>
                    </a:lnTo>
                    <a:lnTo>
                      <a:pt x="4" y="179"/>
                    </a:lnTo>
                    <a:lnTo>
                      <a:pt x="8" y="179"/>
                    </a:lnTo>
                    <a:lnTo>
                      <a:pt x="8" y="175"/>
                    </a:lnTo>
                    <a:lnTo>
                      <a:pt x="12" y="175"/>
                    </a:lnTo>
                    <a:lnTo>
                      <a:pt x="12" y="179"/>
                    </a:lnTo>
                    <a:lnTo>
                      <a:pt x="16" y="183"/>
                    </a:lnTo>
                    <a:lnTo>
                      <a:pt x="20" y="187"/>
                    </a:lnTo>
                    <a:lnTo>
                      <a:pt x="20" y="183"/>
                    </a:lnTo>
                    <a:lnTo>
                      <a:pt x="20" y="179"/>
                    </a:lnTo>
                    <a:lnTo>
                      <a:pt x="24" y="179"/>
                    </a:lnTo>
                    <a:lnTo>
                      <a:pt x="28" y="179"/>
                    </a:lnTo>
                    <a:lnTo>
                      <a:pt x="32" y="183"/>
                    </a:lnTo>
                    <a:lnTo>
                      <a:pt x="36" y="183"/>
                    </a:lnTo>
                    <a:lnTo>
                      <a:pt x="36" y="179"/>
                    </a:lnTo>
                    <a:lnTo>
                      <a:pt x="40" y="179"/>
                    </a:lnTo>
                    <a:lnTo>
                      <a:pt x="44" y="175"/>
                    </a:lnTo>
                    <a:lnTo>
                      <a:pt x="44" y="179"/>
                    </a:lnTo>
                    <a:lnTo>
                      <a:pt x="48" y="179"/>
                    </a:lnTo>
                    <a:lnTo>
                      <a:pt x="52" y="179"/>
                    </a:lnTo>
                    <a:lnTo>
                      <a:pt x="56" y="179"/>
                    </a:lnTo>
                    <a:lnTo>
                      <a:pt x="60" y="179"/>
                    </a:lnTo>
                    <a:lnTo>
                      <a:pt x="64" y="179"/>
                    </a:lnTo>
                    <a:lnTo>
                      <a:pt x="68" y="179"/>
                    </a:lnTo>
                    <a:lnTo>
                      <a:pt x="72" y="179"/>
                    </a:lnTo>
                    <a:lnTo>
                      <a:pt x="76" y="179"/>
                    </a:lnTo>
                    <a:lnTo>
                      <a:pt x="84" y="179"/>
                    </a:lnTo>
                    <a:lnTo>
                      <a:pt x="88" y="179"/>
                    </a:lnTo>
                    <a:lnTo>
                      <a:pt x="92" y="179"/>
                    </a:lnTo>
                    <a:lnTo>
                      <a:pt x="100" y="179"/>
                    </a:lnTo>
                    <a:lnTo>
                      <a:pt x="100" y="171"/>
                    </a:lnTo>
                    <a:lnTo>
                      <a:pt x="104" y="167"/>
                    </a:lnTo>
                    <a:lnTo>
                      <a:pt x="104" y="163"/>
                    </a:lnTo>
                    <a:lnTo>
                      <a:pt x="100" y="159"/>
                    </a:lnTo>
                    <a:lnTo>
                      <a:pt x="100" y="155"/>
                    </a:lnTo>
                    <a:lnTo>
                      <a:pt x="96" y="143"/>
                    </a:lnTo>
                    <a:lnTo>
                      <a:pt x="96" y="135"/>
                    </a:lnTo>
                    <a:lnTo>
                      <a:pt x="96" y="131"/>
                    </a:lnTo>
                    <a:lnTo>
                      <a:pt x="96" y="127"/>
                    </a:lnTo>
                    <a:lnTo>
                      <a:pt x="96" y="119"/>
                    </a:lnTo>
                    <a:lnTo>
                      <a:pt x="96" y="111"/>
                    </a:lnTo>
                    <a:lnTo>
                      <a:pt x="96" y="107"/>
                    </a:lnTo>
                    <a:lnTo>
                      <a:pt x="92" y="99"/>
                    </a:lnTo>
                    <a:lnTo>
                      <a:pt x="92" y="91"/>
                    </a:lnTo>
                    <a:lnTo>
                      <a:pt x="92" y="84"/>
                    </a:lnTo>
                    <a:lnTo>
                      <a:pt x="92" y="80"/>
                    </a:lnTo>
                    <a:lnTo>
                      <a:pt x="92" y="76"/>
                    </a:lnTo>
                    <a:lnTo>
                      <a:pt x="92" y="72"/>
                    </a:lnTo>
                    <a:lnTo>
                      <a:pt x="92" y="68"/>
                    </a:lnTo>
                    <a:lnTo>
                      <a:pt x="92" y="64"/>
                    </a:lnTo>
                    <a:lnTo>
                      <a:pt x="88" y="60"/>
                    </a:lnTo>
                    <a:lnTo>
                      <a:pt x="88" y="56"/>
                    </a:lnTo>
                    <a:lnTo>
                      <a:pt x="88" y="44"/>
                    </a:lnTo>
                    <a:lnTo>
                      <a:pt x="88" y="40"/>
                    </a:lnTo>
                    <a:lnTo>
                      <a:pt x="88" y="32"/>
                    </a:lnTo>
                    <a:lnTo>
                      <a:pt x="88" y="24"/>
                    </a:lnTo>
                    <a:lnTo>
                      <a:pt x="84" y="16"/>
                    </a:lnTo>
                    <a:lnTo>
                      <a:pt x="84" y="12"/>
                    </a:lnTo>
                    <a:lnTo>
                      <a:pt x="84" y="8"/>
                    </a:lnTo>
                    <a:lnTo>
                      <a:pt x="84" y="0"/>
                    </a:lnTo>
                    <a:lnTo>
                      <a:pt x="88" y="0"/>
                    </a:lnTo>
                    <a:lnTo>
                      <a:pt x="92" y="0"/>
                    </a:lnTo>
                    <a:lnTo>
                      <a:pt x="96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6" y="4"/>
                    </a:lnTo>
                    <a:lnTo>
                      <a:pt x="120" y="8"/>
                    </a:lnTo>
                    <a:lnTo>
                      <a:pt x="128" y="12"/>
                    </a:lnTo>
                    <a:lnTo>
                      <a:pt x="132" y="16"/>
                    </a:lnTo>
                    <a:lnTo>
                      <a:pt x="136" y="20"/>
                    </a:lnTo>
                    <a:lnTo>
                      <a:pt x="140" y="24"/>
                    </a:lnTo>
                    <a:lnTo>
                      <a:pt x="148" y="28"/>
                    </a:lnTo>
                    <a:lnTo>
                      <a:pt x="152" y="36"/>
                    </a:lnTo>
                    <a:lnTo>
                      <a:pt x="156" y="40"/>
                    </a:lnTo>
                    <a:lnTo>
                      <a:pt x="164" y="44"/>
                    </a:lnTo>
                    <a:lnTo>
                      <a:pt x="168" y="48"/>
                    </a:lnTo>
                    <a:lnTo>
                      <a:pt x="172" y="52"/>
                    </a:lnTo>
                    <a:lnTo>
                      <a:pt x="176" y="56"/>
                    </a:lnTo>
                    <a:lnTo>
                      <a:pt x="184" y="60"/>
                    </a:lnTo>
                    <a:lnTo>
                      <a:pt x="188" y="64"/>
                    </a:lnTo>
                    <a:lnTo>
                      <a:pt x="192" y="64"/>
                    </a:lnTo>
                    <a:lnTo>
                      <a:pt x="196" y="72"/>
                    </a:lnTo>
                    <a:lnTo>
                      <a:pt x="200" y="76"/>
                    </a:lnTo>
                    <a:lnTo>
                      <a:pt x="204" y="76"/>
                    </a:lnTo>
                    <a:lnTo>
                      <a:pt x="204" y="80"/>
                    </a:lnTo>
                    <a:lnTo>
                      <a:pt x="200" y="80"/>
                    </a:lnTo>
                    <a:lnTo>
                      <a:pt x="204" y="84"/>
                    </a:lnTo>
                    <a:lnTo>
                      <a:pt x="208" y="84"/>
                    </a:lnTo>
                    <a:lnTo>
                      <a:pt x="208" y="87"/>
                    </a:lnTo>
                    <a:lnTo>
                      <a:pt x="212" y="87"/>
                    </a:lnTo>
                    <a:lnTo>
                      <a:pt x="212" y="91"/>
                    </a:lnTo>
                    <a:lnTo>
                      <a:pt x="216" y="91"/>
                    </a:lnTo>
                    <a:lnTo>
                      <a:pt x="220" y="91"/>
                    </a:lnTo>
                    <a:lnTo>
                      <a:pt x="220" y="95"/>
                    </a:lnTo>
                    <a:lnTo>
                      <a:pt x="224" y="95"/>
                    </a:lnTo>
                    <a:lnTo>
                      <a:pt x="228" y="95"/>
                    </a:lnTo>
                    <a:lnTo>
                      <a:pt x="232" y="99"/>
                    </a:lnTo>
                    <a:lnTo>
                      <a:pt x="232" y="103"/>
                    </a:lnTo>
                    <a:lnTo>
                      <a:pt x="232" y="107"/>
                    </a:lnTo>
                    <a:lnTo>
                      <a:pt x="232" y="111"/>
                    </a:lnTo>
                    <a:lnTo>
                      <a:pt x="236" y="115"/>
                    </a:lnTo>
                    <a:lnTo>
                      <a:pt x="240" y="111"/>
                    </a:lnTo>
                    <a:lnTo>
                      <a:pt x="244" y="111"/>
                    </a:lnTo>
                    <a:lnTo>
                      <a:pt x="248" y="111"/>
                    </a:lnTo>
                    <a:lnTo>
                      <a:pt x="248" y="115"/>
                    </a:lnTo>
                    <a:lnTo>
                      <a:pt x="248" y="119"/>
                    </a:lnTo>
                    <a:lnTo>
                      <a:pt x="248" y="131"/>
                    </a:lnTo>
                    <a:lnTo>
                      <a:pt x="248" y="139"/>
                    </a:lnTo>
                    <a:lnTo>
                      <a:pt x="248" y="143"/>
                    </a:lnTo>
                    <a:lnTo>
                      <a:pt x="248" y="147"/>
                    </a:lnTo>
                    <a:lnTo>
                      <a:pt x="248" y="151"/>
                    </a:lnTo>
                    <a:lnTo>
                      <a:pt x="248" y="155"/>
                    </a:lnTo>
                    <a:lnTo>
                      <a:pt x="248" y="163"/>
                    </a:lnTo>
                    <a:lnTo>
                      <a:pt x="244" y="163"/>
                    </a:lnTo>
                    <a:lnTo>
                      <a:pt x="244" y="167"/>
                    </a:lnTo>
                    <a:lnTo>
                      <a:pt x="244" y="171"/>
                    </a:lnTo>
                    <a:lnTo>
                      <a:pt x="244" y="175"/>
                    </a:lnTo>
                    <a:lnTo>
                      <a:pt x="240" y="175"/>
                    </a:lnTo>
                    <a:lnTo>
                      <a:pt x="240" y="179"/>
                    </a:lnTo>
                    <a:lnTo>
                      <a:pt x="236" y="179"/>
                    </a:lnTo>
                    <a:lnTo>
                      <a:pt x="236" y="183"/>
                    </a:lnTo>
                    <a:lnTo>
                      <a:pt x="232" y="179"/>
                    </a:lnTo>
                    <a:lnTo>
                      <a:pt x="228" y="179"/>
                    </a:lnTo>
                    <a:lnTo>
                      <a:pt x="228" y="183"/>
                    </a:lnTo>
                    <a:lnTo>
                      <a:pt x="224" y="183"/>
                    </a:lnTo>
                    <a:lnTo>
                      <a:pt x="212" y="183"/>
                    </a:lnTo>
                    <a:lnTo>
                      <a:pt x="204" y="183"/>
                    </a:lnTo>
                    <a:lnTo>
                      <a:pt x="200" y="187"/>
                    </a:lnTo>
                    <a:lnTo>
                      <a:pt x="196" y="191"/>
                    </a:lnTo>
                    <a:lnTo>
                      <a:pt x="192" y="191"/>
                    </a:lnTo>
                    <a:lnTo>
                      <a:pt x="192" y="187"/>
                    </a:lnTo>
                    <a:lnTo>
                      <a:pt x="192" y="191"/>
                    </a:lnTo>
                    <a:lnTo>
                      <a:pt x="188" y="191"/>
                    </a:lnTo>
                    <a:lnTo>
                      <a:pt x="188" y="187"/>
                    </a:lnTo>
                    <a:lnTo>
                      <a:pt x="188" y="191"/>
                    </a:lnTo>
                    <a:lnTo>
                      <a:pt x="184" y="187"/>
                    </a:lnTo>
                    <a:lnTo>
                      <a:pt x="180" y="187"/>
                    </a:lnTo>
                    <a:lnTo>
                      <a:pt x="176" y="187"/>
                    </a:lnTo>
                    <a:lnTo>
                      <a:pt x="172" y="187"/>
                    </a:lnTo>
                    <a:lnTo>
                      <a:pt x="168" y="191"/>
                    </a:lnTo>
                    <a:lnTo>
                      <a:pt x="164" y="195"/>
                    </a:lnTo>
                    <a:lnTo>
                      <a:pt x="160" y="199"/>
                    </a:lnTo>
                    <a:lnTo>
                      <a:pt x="156" y="199"/>
                    </a:lnTo>
                    <a:lnTo>
                      <a:pt x="152" y="199"/>
                    </a:lnTo>
                    <a:lnTo>
                      <a:pt x="152" y="203"/>
                    </a:lnTo>
                    <a:lnTo>
                      <a:pt x="148" y="203"/>
                    </a:lnTo>
                    <a:lnTo>
                      <a:pt x="144" y="203"/>
                    </a:lnTo>
                    <a:lnTo>
                      <a:pt x="140" y="207"/>
                    </a:lnTo>
                    <a:lnTo>
                      <a:pt x="140" y="211"/>
                    </a:lnTo>
                    <a:lnTo>
                      <a:pt x="140" y="215"/>
                    </a:lnTo>
                    <a:lnTo>
                      <a:pt x="136" y="215"/>
                    </a:lnTo>
                    <a:lnTo>
                      <a:pt x="136" y="211"/>
                    </a:lnTo>
                    <a:lnTo>
                      <a:pt x="136" y="215"/>
                    </a:lnTo>
                    <a:lnTo>
                      <a:pt x="136" y="219"/>
                    </a:lnTo>
                    <a:lnTo>
                      <a:pt x="132" y="219"/>
                    </a:lnTo>
                    <a:lnTo>
                      <a:pt x="132" y="223"/>
                    </a:lnTo>
                    <a:lnTo>
                      <a:pt x="128" y="223"/>
                    </a:lnTo>
                    <a:lnTo>
                      <a:pt x="128" y="219"/>
                    </a:lnTo>
                    <a:lnTo>
                      <a:pt x="124" y="219"/>
                    </a:lnTo>
                    <a:lnTo>
                      <a:pt x="124" y="215"/>
                    </a:lnTo>
                    <a:lnTo>
                      <a:pt x="120" y="219"/>
                    </a:lnTo>
                    <a:lnTo>
                      <a:pt x="120" y="223"/>
                    </a:lnTo>
                    <a:lnTo>
                      <a:pt x="120" y="227"/>
                    </a:lnTo>
                    <a:lnTo>
                      <a:pt x="120" y="231"/>
                    </a:lnTo>
                    <a:lnTo>
                      <a:pt x="116" y="231"/>
                    </a:lnTo>
                    <a:lnTo>
                      <a:pt x="116" y="235"/>
                    </a:lnTo>
                    <a:lnTo>
                      <a:pt x="116" y="239"/>
                    </a:lnTo>
                    <a:lnTo>
                      <a:pt x="112" y="243"/>
                    </a:lnTo>
                    <a:lnTo>
                      <a:pt x="108" y="243"/>
                    </a:lnTo>
                    <a:lnTo>
                      <a:pt x="104" y="247"/>
                    </a:lnTo>
                    <a:lnTo>
                      <a:pt x="104" y="251"/>
                    </a:lnTo>
                    <a:lnTo>
                      <a:pt x="104" y="255"/>
                    </a:lnTo>
                    <a:lnTo>
                      <a:pt x="104" y="259"/>
                    </a:lnTo>
                    <a:lnTo>
                      <a:pt x="104" y="263"/>
                    </a:lnTo>
                    <a:lnTo>
                      <a:pt x="100" y="263"/>
                    </a:lnTo>
                    <a:lnTo>
                      <a:pt x="100" y="267"/>
                    </a:lnTo>
                    <a:lnTo>
                      <a:pt x="100" y="271"/>
                    </a:lnTo>
                    <a:lnTo>
                      <a:pt x="100" y="275"/>
                    </a:lnTo>
                    <a:lnTo>
                      <a:pt x="100" y="271"/>
                    </a:lnTo>
                    <a:lnTo>
                      <a:pt x="96" y="275"/>
                    </a:lnTo>
                    <a:lnTo>
                      <a:pt x="92" y="275"/>
                    </a:lnTo>
                    <a:lnTo>
                      <a:pt x="92" y="279"/>
                    </a:lnTo>
                    <a:lnTo>
                      <a:pt x="88" y="275"/>
                    </a:lnTo>
                    <a:lnTo>
                      <a:pt x="92" y="275"/>
                    </a:lnTo>
                    <a:lnTo>
                      <a:pt x="92" y="271"/>
                    </a:lnTo>
                    <a:lnTo>
                      <a:pt x="88" y="271"/>
                    </a:lnTo>
                    <a:lnTo>
                      <a:pt x="92" y="271"/>
                    </a:lnTo>
                    <a:lnTo>
                      <a:pt x="88" y="267"/>
                    </a:lnTo>
                    <a:lnTo>
                      <a:pt x="88" y="271"/>
                    </a:lnTo>
                    <a:lnTo>
                      <a:pt x="84" y="271"/>
                    </a:lnTo>
                    <a:lnTo>
                      <a:pt x="84" y="275"/>
                    </a:lnTo>
                    <a:lnTo>
                      <a:pt x="80" y="275"/>
                    </a:lnTo>
                    <a:lnTo>
                      <a:pt x="80" y="279"/>
                    </a:lnTo>
                    <a:lnTo>
                      <a:pt x="76" y="279"/>
                    </a:lnTo>
                    <a:lnTo>
                      <a:pt x="76" y="275"/>
                    </a:lnTo>
                    <a:lnTo>
                      <a:pt x="72" y="275"/>
                    </a:lnTo>
                    <a:lnTo>
                      <a:pt x="68" y="275"/>
                    </a:lnTo>
                    <a:lnTo>
                      <a:pt x="64" y="275"/>
                    </a:lnTo>
                    <a:lnTo>
                      <a:pt x="64" y="279"/>
                    </a:lnTo>
                    <a:lnTo>
                      <a:pt x="64" y="275"/>
                    </a:lnTo>
                    <a:lnTo>
                      <a:pt x="60" y="275"/>
                    </a:lnTo>
                    <a:lnTo>
                      <a:pt x="60" y="271"/>
                    </a:lnTo>
                    <a:lnTo>
                      <a:pt x="56" y="267"/>
                    </a:lnTo>
                    <a:lnTo>
                      <a:pt x="60" y="267"/>
                    </a:lnTo>
                    <a:lnTo>
                      <a:pt x="60" y="263"/>
                    </a:lnTo>
                    <a:lnTo>
                      <a:pt x="56" y="263"/>
                    </a:lnTo>
                    <a:lnTo>
                      <a:pt x="52" y="263"/>
                    </a:lnTo>
                    <a:lnTo>
                      <a:pt x="52" y="259"/>
                    </a:lnTo>
                    <a:lnTo>
                      <a:pt x="56" y="259"/>
                    </a:lnTo>
                    <a:lnTo>
                      <a:pt x="56" y="255"/>
                    </a:lnTo>
                    <a:lnTo>
                      <a:pt x="52" y="255"/>
                    </a:lnTo>
                    <a:lnTo>
                      <a:pt x="52" y="251"/>
                    </a:lnTo>
                    <a:lnTo>
                      <a:pt x="48" y="251"/>
                    </a:lnTo>
                    <a:lnTo>
                      <a:pt x="52" y="247"/>
                    </a:lnTo>
                    <a:lnTo>
                      <a:pt x="52" y="243"/>
                    </a:lnTo>
                    <a:lnTo>
                      <a:pt x="48" y="239"/>
                    </a:lnTo>
                    <a:lnTo>
                      <a:pt x="48" y="235"/>
                    </a:lnTo>
                    <a:lnTo>
                      <a:pt x="44" y="235"/>
                    </a:lnTo>
                    <a:lnTo>
                      <a:pt x="40" y="235"/>
                    </a:lnTo>
                    <a:lnTo>
                      <a:pt x="44" y="235"/>
                    </a:lnTo>
                    <a:lnTo>
                      <a:pt x="44" y="239"/>
                    </a:lnTo>
                    <a:lnTo>
                      <a:pt x="40" y="239"/>
                    </a:lnTo>
                    <a:lnTo>
                      <a:pt x="36" y="243"/>
                    </a:lnTo>
                    <a:close/>
                  </a:path>
                </a:pathLst>
              </a:custGeom>
              <a:solidFill>
                <a:srgbClr val="97D700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7" name="Freeform 147">
                <a:extLst>
                  <a:ext uri="{FF2B5EF4-FFF2-40B4-BE49-F238E27FC236}">
                    <a16:creationId xmlns:a16="http://schemas.microsoft.com/office/drawing/2014/main" id="{BDF2E541-7E88-42E8-8F7F-DB4FBA5B79BF}"/>
                  </a:ext>
                </a:extLst>
              </p:cNvPr>
              <p:cNvSpPr>
                <a:spLocks noEditPoints="1"/>
              </p:cNvSpPr>
              <p:nvPr>
                <p:custDataLst>
                  <p:tags r:id="rId67"/>
                </p:custDataLst>
              </p:nvPr>
            </p:nvSpPr>
            <p:spPr bwMode="gray">
              <a:xfrm>
                <a:off x="3465266" y="5324014"/>
                <a:ext cx="236994" cy="301284"/>
              </a:xfrm>
              <a:custGeom>
                <a:avLst/>
                <a:gdLst/>
                <a:ahLst/>
                <a:cxnLst>
                  <a:cxn ang="0">
                    <a:pos x="96" y="231"/>
                  </a:cxn>
                  <a:cxn ang="0">
                    <a:pos x="88" y="223"/>
                  </a:cxn>
                  <a:cxn ang="0">
                    <a:pos x="84" y="219"/>
                  </a:cxn>
                  <a:cxn ang="0">
                    <a:pos x="80" y="223"/>
                  </a:cxn>
                  <a:cxn ang="0">
                    <a:pos x="80" y="231"/>
                  </a:cxn>
                  <a:cxn ang="0">
                    <a:pos x="76" y="235"/>
                  </a:cxn>
                  <a:cxn ang="0">
                    <a:pos x="68" y="231"/>
                  </a:cxn>
                  <a:cxn ang="0">
                    <a:pos x="64" y="227"/>
                  </a:cxn>
                  <a:cxn ang="0">
                    <a:pos x="64" y="223"/>
                  </a:cxn>
                  <a:cxn ang="0">
                    <a:pos x="56" y="211"/>
                  </a:cxn>
                  <a:cxn ang="0">
                    <a:pos x="52" y="211"/>
                  </a:cxn>
                  <a:cxn ang="0">
                    <a:pos x="40" y="203"/>
                  </a:cxn>
                  <a:cxn ang="0">
                    <a:pos x="32" y="203"/>
                  </a:cxn>
                  <a:cxn ang="0">
                    <a:pos x="28" y="203"/>
                  </a:cxn>
                  <a:cxn ang="0">
                    <a:pos x="20" y="203"/>
                  </a:cxn>
                  <a:cxn ang="0">
                    <a:pos x="16" y="203"/>
                  </a:cxn>
                  <a:cxn ang="0">
                    <a:pos x="12" y="207"/>
                  </a:cxn>
                  <a:cxn ang="0">
                    <a:pos x="8" y="207"/>
                  </a:cxn>
                  <a:cxn ang="0">
                    <a:pos x="12" y="203"/>
                  </a:cxn>
                  <a:cxn ang="0">
                    <a:pos x="16" y="191"/>
                  </a:cxn>
                  <a:cxn ang="0">
                    <a:pos x="16" y="183"/>
                  </a:cxn>
                  <a:cxn ang="0">
                    <a:pos x="16" y="167"/>
                  </a:cxn>
                  <a:cxn ang="0">
                    <a:pos x="16" y="163"/>
                  </a:cxn>
                  <a:cxn ang="0">
                    <a:pos x="12" y="155"/>
                  </a:cxn>
                  <a:cxn ang="0">
                    <a:pos x="12" y="151"/>
                  </a:cxn>
                  <a:cxn ang="0">
                    <a:pos x="12" y="147"/>
                  </a:cxn>
                  <a:cxn ang="0">
                    <a:pos x="12" y="147"/>
                  </a:cxn>
                  <a:cxn ang="0">
                    <a:pos x="12" y="131"/>
                  </a:cxn>
                  <a:cxn ang="0">
                    <a:pos x="8" y="128"/>
                  </a:cxn>
                  <a:cxn ang="0">
                    <a:pos x="4" y="120"/>
                  </a:cxn>
                  <a:cxn ang="0">
                    <a:pos x="0" y="124"/>
                  </a:cxn>
                  <a:cxn ang="0">
                    <a:pos x="4" y="116"/>
                  </a:cxn>
                  <a:cxn ang="0">
                    <a:pos x="32" y="116"/>
                  </a:cxn>
                  <a:cxn ang="0">
                    <a:pos x="64" y="116"/>
                  </a:cxn>
                  <a:cxn ang="0">
                    <a:pos x="60" y="92"/>
                  </a:cxn>
                  <a:cxn ang="0">
                    <a:pos x="64" y="84"/>
                  </a:cxn>
                  <a:cxn ang="0">
                    <a:pos x="76" y="76"/>
                  </a:cxn>
                  <a:cxn ang="0">
                    <a:pos x="76" y="48"/>
                  </a:cxn>
                  <a:cxn ang="0">
                    <a:pos x="76" y="32"/>
                  </a:cxn>
                  <a:cxn ang="0">
                    <a:pos x="108" y="24"/>
                  </a:cxn>
                  <a:cxn ang="0">
                    <a:pos x="128" y="24"/>
                  </a:cxn>
                  <a:cxn ang="0">
                    <a:pos x="128" y="0"/>
                  </a:cxn>
                  <a:cxn ang="0">
                    <a:pos x="152" y="20"/>
                  </a:cxn>
                  <a:cxn ang="0">
                    <a:pos x="176" y="36"/>
                  </a:cxn>
                  <a:cxn ang="0">
                    <a:pos x="184" y="44"/>
                  </a:cxn>
                  <a:cxn ang="0">
                    <a:pos x="160" y="52"/>
                  </a:cxn>
                  <a:cxn ang="0">
                    <a:pos x="164" y="84"/>
                  </a:cxn>
                  <a:cxn ang="0">
                    <a:pos x="168" y="116"/>
                  </a:cxn>
                  <a:cxn ang="0">
                    <a:pos x="172" y="151"/>
                  </a:cxn>
                  <a:cxn ang="0">
                    <a:pos x="172" y="179"/>
                  </a:cxn>
                  <a:cxn ang="0">
                    <a:pos x="176" y="215"/>
                  </a:cxn>
                  <a:cxn ang="0">
                    <a:pos x="164" y="223"/>
                  </a:cxn>
                  <a:cxn ang="0">
                    <a:pos x="140" y="223"/>
                  </a:cxn>
                  <a:cxn ang="0">
                    <a:pos x="124" y="223"/>
                  </a:cxn>
                  <a:cxn ang="0">
                    <a:pos x="116" y="223"/>
                  </a:cxn>
                  <a:cxn ang="0">
                    <a:pos x="112" y="227"/>
                  </a:cxn>
                  <a:cxn ang="0">
                    <a:pos x="104" y="223"/>
                  </a:cxn>
                  <a:cxn ang="0">
                    <a:pos x="12" y="147"/>
                  </a:cxn>
                  <a:cxn ang="0">
                    <a:pos x="12" y="143"/>
                  </a:cxn>
                  <a:cxn ang="0">
                    <a:pos x="12" y="147"/>
                  </a:cxn>
                </a:cxnLst>
                <a:rect l="0" t="0" r="r" b="b"/>
                <a:pathLst>
                  <a:path w="188" h="239">
                    <a:moveTo>
                      <a:pt x="96" y="223"/>
                    </a:moveTo>
                    <a:lnTo>
                      <a:pt x="96" y="227"/>
                    </a:lnTo>
                    <a:lnTo>
                      <a:pt x="96" y="227"/>
                    </a:lnTo>
                    <a:lnTo>
                      <a:pt x="96" y="227"/>
                    </a:lnTo>
                    <a:lnTo>
                      <a:pt x="96" y="227"/>
                    </a:lnTo>
                    <a:lnTo>
                      <a:pt x="96" y="231"/>
                    </a:lnTo>
                    <a:lnTo>
                      <a:pt x="96" y="231"/>
                    </a:lnTo>
                    <a:lnTo>
                      <a:pt x="92" y="227"/>
                    </a:lnTo>
                    <a:lnTo>
                      <a:pt x="92" y="227"/>
                    </a:lnTo>
                    <a:lnTo>
                      <a:pt x="92" y="227"/>
                    </a:lnTo>
                    <a:lnTo>
                      <a:pt x="92" y="227"/>
                    </a:lnTo>
                    <a:lnTo>
                      <a:pt x="92" y="227"/>
                    </a:lnTo>
                    <a:lnTo>
                      <a:pt x="88" y="223"/>
                    </a:lnTo>
                    <a:lnTo>
                      <a:pt x="88" y="223"/>
                    </a:lnTo>
                    <a:lnTo>
                      <a:pt x="88" y="223"/>
                    </a:lnTo>
                    <a:lnTo>
                      <a:pt x="88" y="223"/>
                    </a:lnTo>
                    <a:lnTo>
                      <a:pt x="88" y="223"/>
                    </a:lnTo>
                    <a:lnTo>
                      <a:pt x="88" y="223"/>
                    </a:lnTo>
                    <a:lnTo>
                      <a:pt x="88" y="219"/>
                    </a:lnTo>
                    <a:lnTo>
                      <a:pt x="88" y="219"/>
                    </a:lnTo>
                    <a:lnTo>
                      <a:pt x="84" y="219"/>
                    </a:lnTo>
                    <a:lnTo>
                      <a:pt x="84" y="223"/>
                    </a:lnTo>
                    <a:lnTo>
                      <a:pt x="84" y="223"/>
                    </a:lnTo>
                    <a:lnTo>
                      <a:pt x="84" y="223"/>
                    </a:lnTo>
                    <a:lnTo>
                      <a:pt x="84" y="223"/>
                    </a:lnTo>
                    <a:lnTo>
                      <a:pt x="84" y="223"/>
                    </a:lnTo>
                    <a:lnTo>
                      <a:pt x="84" y="223"/>
                    </a:lnTo>
                    <a:lnTo>
                      <a:pt x="80" y="223"/>
                    </a:lnTo>
                    <a:lnTo>
                      <a:pt x="80" y="223"/>
                    </a:lnTo>
                    <a:lnTo>
                      <a:pt x="80" y="227"/>
                    </a:lnTo>
                    <a:lnTo>
                      <a:pt x="80" y="227"/>
                    </a:lnTo>
                    <a:lnTo>
                      <a:pt x="80" y="231"/>
                    </a:lnTo>
                    <a:lnTo>
                      <a:pt x="80" y="231"/>
                    </a:lnTo>
                    <a:lnTo>
                      <a:pt x="80" y="231"/>
                    </a:lnTo>
                    <a:lnTo>
                      <a:pt x="80" y="231"/>
                    </a:lnTo>
                    <a:lnTo>
                      <a:pt x="80" y="235"/>
                    </a:lnTo>
                    <a:lnTo>
                      <a:pt x="80" y="235"/>
                    </a:lnTo>
                    <a:lnTo>
                      <a:pt x="80" y="235"/>
                    </a:lnTo>
                    <a:lnTo>
                      <a:pt x="80" y="235"/>
                    </a:lnTo>
                    <a:lnTo>
                      <a:pt x="76" y="239"/>
                    </a:lnTo>
                    <a:lnTo>
                      <a:pt x="76" y="239"/>
                    </a:lnTo>
                    <a:lnTo>
                      <a:pt x="76" y="235"/>
                    </a:lnTo>
                    <a:lnTo>
                      <a:pt x="76" y="235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2" y="235"/>
                    </a:lnTo>
                    <a:lnTo>
                      <a:pt x="72" y="231"/>
                    </a:lnTo>
                    <a:lnTo>
                      <a:pt x="68" y="231"/>
                    </a:lnTo>
                    <a:lnTo>
                      <a:pt x="68" y="231"/>
                    </a:lnTo>
                    <a:lnTo>
                      <a:pt x="68" y="231"/>
                    </a:lnTo>
                    <a:lnTo>
                      <a:pt x="68" y="231"/>
                    </a:lnTo>
                    <a:lnTo>
                      <a:pt x="64" y="231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7"/>
                    </a:lnTo>
                    <a:lnTo>
                      <a:pt x="64" y="223"/>
                    </a:lnTo>
                    <a:lnTo>
                      <a:pt x="60" y="223"/>
                    </a:lnTo>
                    <a:lnTo>
                      <a:pt x="60" y="223"/>
                    </a:lnTo>
                    <a:lnTo>
                      <a:pt x="60" y="223"/>
                    </a:lnTo>
                    <a:lnTo>
                      <a:pt x="60" y="219"/>
                    </a:lnTo>
                    <a:lnTo>
                      <a:pt x="60" y="219"/>
                    </a:lnTo>
                    <a:lnTo>
                      <a:pt x="56" y="215"/>
                    </a:lnTo>
                    <a:lnTo>
                      <a:pt x="56" y="211"/>
                    </a:lnTo>
                    <a:lnTo>
                      <a:pt x="56" y="211"/>
                    </a:lnTo>
                    <a:lnTo>
                      <a:pt x="52" y="211"/>
                    </a:lnTo>
                    <a:lnTo>
                      <a:pt x="52" y="211"/>
                    </a:lnTo>
                    <a:lnTo>
                      <a:pt x="52" y="211"/>
                    </a:lnTo>
                    <a:lnTo>
                      <a:pt x="52" y="211"/>
                    </a:lnTo>
                    <a:lnTo>
                      <a:pt x="52" y="211"/>
                    </a:lnTo>
                    <a:lnTo>
                      <a:pt x="52" y="211"/>
                    </a:lnTo>
                    <a:lnTo>
                      <a:pt x="52" y="211"/>
                    </a:lnTo>
                    <a:lnTo>
                      <a:pt x="48" y="211"/>
                    </a:lnTo>
                    <a:lnTo>
                      <a:pt x="48" y="207"/>
                    </a:lnTo>
                    <a:lnTo>
                      <a:pt x="48" y="207"/>
                    </a:lnTo>
                    <a:lnTo>
                      <a:pt x="44" y="203"/>
                    </a:lnTo>
                    <a:lnTo>
                      <a:pt x="44" y="203"/>
                    </a:lnTo>
                    <a:lnTo>
                      <a:pt x="40" y="203"/>
                    </a:lnTo>
                    <a:lnTo>
                      <a:pt x="40" y="203"/>
                    </a:lnTo>
                    <a:lnTo>
                      <a:pt x="40" y="203"/>
                    </a:lnTo>
                    <a:lnTo>
                      <a:pt x="36" y="203"/>
                    </a:lnTo>
                    <a:lnTo>
                      <a:pt x="36" y="203"/>
                    </a:lnTo>
                    <a:lnTo>
                      <a:pt x="36" y="203"/>
                    </a:lnTo>
                    <a:lnTo>
                      <a:pt x="32" y="203"/>
                    </a:lnTo>
                    <a:lnTo>
                      <a:pt x="32" y="203"/>
                    </a:lnTo>
                    <a:lnTo>
                      <a:pt x="32" y="203"/>
                    </a:lnTo>
                    <a:lnTo>
                      <a:pt x="32" y="203"/>
                    </a:lnTo>
                    <a:lnTo>
                      <a:pt x="32" y="199"/>
                    </a:lnTo>
                    <a:lnTo>
                      <a:pt x="32" y="203"/>
                    </a:lnTo>
                    <a:lnTo>
                      <a:pt x="32" y="203"/>
                    </a:lnTo>
                    <a:lnTo>
                      <a:pt x="32" y="203"/>
                    </a:lnTo>
                    <a:lnTo>
                      <a:pt x="28" y="203"/>
                    </a:lnTo>
                    <a:lnTo>
                      <a:pt x="28" y="203"/>
                    </a:lnTo>
                    <a:lnTo>
                      <a:pt x="24" y="203"/>
                    </a:lnTo>
                    <a:lnTo>
                      <a:pt x="24" y="203"/>
                    </a:lnTo>
                    <a:lnTo>
                      <a:pt x="24" y="203"/>
                    </a:lnTo>
                    <a:lnTo>
                      <a:pt x="24" y="203"/>
                    </a:lnTo>
                    <a:lnTo>
                      <a:pt x="20" y="203"/>
                    </a:lnTo>
                    <a:lnTo>
                      <a:pt x="20" y="203"/>
                    </a:lnTo>
                    <a:lnTo>
                      <a:pt x="20" y="203"/>
                    </a:lnTo>
                    <a:lnTo>
                      <a:pt x="20" y="203"/>
                    </a:lnTo>
                    <a:lnTo>
                      <a:pt x="20" y="203"/>
                    </a:lnTo>
                    <a:lnTo>
                      <a:pt x="16" y="203"/>
                    </a:lnTo>
                    <a:lnTo>
                      <a:pt x="16" y="203"/>
                    </a:lnTo>
                    <a:lnTo>
                      <a:pt x="16" y="203"/>
                    </a:lnTo>
                    <a:lnTo>
                      <a:pt x="16" y="203"/>
                    </a:lnTo>
                    <a:lnTo>
                      <a:pt x="16" y="203"/>
                    </a:lnTo>
                    <a:lnTo>
                      <a:pt x="12" y="203"/>
                    </a:lnTo>
                    <a:lnTo>
                      <a:pt x="12" y="203"/>
                    </a:lnTo>
                    <a:lnTo>
                      <a:pt x="12" y="207"/>
                    </a:lnTo>
                    <a:lnTo>
                      <a:pt x="12" y="207"/>
                    </a:lnTo>
                    <a:lnTo>
                      <a:pt x="12" y="207"/>
                    </a:lnTo>
                    <a:lnTo>
                      <a:pt x="12" y="207"/>
                    </a:lnTo>
                    <a:lnTo>
                      <a:pt x="12" y="211"/>
                    </a:lnTo>
                    <a:lnTo>
                      <a:pt x="8" y="211"/>
                    </a:lnTo>
                    <a:lnTo>
                      <a:pt x="8" y="211"/>
                    </a:lnTo>
                    <a:lnTo>
                      <a:pt x="8" y="211"/>
                    </a:lnTo>
                    <a:lnTo>
                      <a:pt x="8" y="207"/>
                    </a:lnTo>
                    <a:lnTo>
                      <a:pt x="8" y="207"/>
                    </a:lnTo>
                    <a:lnTo>
                      <a:pt x="8" y="207"/>
                    </a:lnTo>
                    <a:lnTo>
                      <a:pt x="8" y="207"/>
                    </a:lnTo>
                    <a:lnTo>
                      <a:pt x="8" y="207"/>
                    </a:lnTo>
                    <a:lnTo>
                      <a:pt x="12" y="203"/>
                    </a:lnTo>
                    <a:lnTo>
                      <a:pt x="12" y="203"/>
                    </a:lnTo>
                    <a:lnTo>
                      <a:pt x="12" y="203"/>
                    </a:lnTo>
                    <a:lnTo>
                      <a:pt x="12" y="203"/>
                    </a:lnTo>
                    <a:lnTo>
                      <a:pt x="12" y="203"/>
                    </a:lnTo>
                    <a:lnTo>
                      <a:pt x="12" y="199"/>
                    </a:lnTo>
                    <a:lnTo>
                      <a:pt x="12" y="199"/>
                    </a:lnTo>
                    <a:lnTo>
                      <a:pt x="12" y="195"/>
                    </a:lnTo>
                    <a:lnTo>
                      <a:pt x="12" y="195"/>
                    </a:lnTo>
                    <a:lnTo>
                      <a:pt x="12" y="195"/>
                    </a:lnTo>
                    <a:lnTo>
                      <a:pt x="12" y="195"/>
                    </a:lnTo>
                    <a:lnTo>
                      <a:pt x="16" y="191"/>
                    </a:lnTo>
                    <a:lnTo>
                      <a:pt x="16" y="191"/>
                    </a:lnTo>
                    <a:lnTo>
                      <a:pt x="16" y="187"/>
                    </a:lnTo>
                    <a:lnTo>
                      <a:pt x="16" y="187"/>
                    </a:lnTo>
                    <a:lnTo>
                      <a:pt x="16" y="187"/>
                    </a:lnTo>
                    <a:lnTo>
                      <a:pt x="16" y="183"/>
                    </a:lnTo>
                    <a:lnTo>
                      <a:pt x="16" y="183"/>
                    </a:lnTo>
                    <a:lnTo>
                      <a:pt x="16" y="183"/>
                    </a:lnTo>
                    <a:lnTo>
                      <a:pt x="16" y="179"/>
                    </a:lnTo>
                    <a:lnTo>
                      <a:pt x="16" y="175"/>
                    </a:lnTo>
                    <a:lnTo>
                      <a:pt x="16" y="175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6" y="171"/>
                    </a:lnTo>
                    <a:lnTo>
                      <a:pt x="16" y="167"/>
                    </a:lnTo>
                    <a:lnTo>
                      <a:pt x="16" y="167"/>
                    </a:lnTo>
                    <a:lnTo>
                      <a:pt x="16" y="167"/>
                    </a:lnTo>
                    <a:lnTo>
                      <a:pt x="16" y="167"/>
                    </a:lnTo>
                    <a:lnTo>
                      <a:pt x="16" y="167"/>
                    </a:lnTo>
                    <a:lnTo>
                      <a:pt x="16" y="167"/>
                    </a:lnTo>
                    <a:lnTo>
                      <a:pt x="16" y="163"/>
                    </a:lnTo>
                    <a:lnTo>
                      <a:pt x="16" y="163"/>
                    </a:lnTo>
                    <a:lnTo>
                      <a:pt x="16" y="159"/>
                    </a:lnTo>
                    <a:lnTo>
                      <a:pt x="16" y="159"/>
                    </a:lnTo>
                    <a:lnTo>
                      <a:pt x="16" y="159"/>
                    </a:lnTo>
                    <a:lnTo>
                      <a:pt x="12" y="159"/>
                    </a:lnTo>
                    <a:lnTo>
                      <a:pt x="12" y="155"/>
                    </a:lnTo>
                    <a:lnTo>
                      <a:pt x="12" y="155"/>
                    </a:lnTo>
                    <a:lnTo>
                      <a:pt x="12" y="155"/>
                    </a:lnTo>
                    <a:lnTo>
                      <a:pt x="12" y="155"/>
                    </a:lnTo>
                    <a:lnTo>
                      <a:pt x="12" y="155"/>
                    </a:lnTo>
                    <a:lnTo>
                      <a:pt x="12" y="155"/>
                    </a:lnTo>
                    <a:lnTo>
                      <a:pt x="12" y="151"/>
                    </a:lnTo>
                    <a:lnTo>
                      <a:pt x="8" y="151"/>
                    </a:lnTo>
                    <a:lnTo>
                      <a:pt x="8" y="151"/>
                    </a:lnTo>
                    <a:lnTo>
                      <a:pt x="12" y="151"/>
                    </a:lnTo>
                    <a:lnTo>
                      <a:pt x="12" y="151"/>
                    </a:lnTo>
                    <a:lnTo>
                      <a:pt x="12" y="151"/>
                    </a:lnTo>
                    <a:lnTo>
                      <a:pt x="12" y="151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51"/>
                    </a:lnTo>
                    <a:lnTo>
                      <a:pt x="12" y="151"/>
                    </a:lnTo>
                    <a:lnTo>
                      <a:pt x="12" y="151"/>
                    </a:lnTo>
                    <a:lnTo>
                      <a:pt x="12" y="151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3"/>
                    </a:lnTo>
                    <a:lnTo>
                      <a:pt x="12" y="139"/>
                    </a:lnTo>
                    <a:lnTo>
                      <a:pt x="12" y="139"/>
                    </a:lnTo>
                    <a:lnTo>
                      <a:pt x="16" y="135"/>
                    </a:lnTo>
                    <a:lnTo>
                      <a:pt x="12" y="135"/>
                    </a:lnTo>
                    <a:lnTo>
                      <a:pt x="12" y="131"/>
                    </a:lnTo>
                    <a:lnTo>
                      <a:pt x="12" y="131"/>
                    </a:lnTo>
                    <a:lnTo>
                      <a:pt x="12" y="128"/>
                    </a:lnTo>
                    <a:lnTo>
                      <a:pt x="12" y="128"/>
                    </a:lnTo>
                    <a:lnTo>
                      <a:pt x="12" y="128"/>
                    </a:lnTo>
                    <a:lnTo>
                      <a:pt x="8" y="128"/>
                    </a:lnTo>
                    <a:lnTo>
                      <a:pt x="8" y="124"/>
                    </a:lnTo>
                    <a:lnTo>
                      <a:pt x="8" y="128"/>
                    </a:lnTo>
                    <a:lnTo>
                      <a:pt x="8" y="128"/>
                    </a:lnTo>
                    <a:lnTo>
                      <a:pt x="8" y="128"/>
                    </a:lnTo>
                    <a:lnTo>
                      <a:pt x="8" y="128"/>
                    </a:lnTo>
                    <a:lnTo>
                      <a:pt x="8" y="128"/>
                    </a:lnTo>
                    <a:lnTo>
                      <a:pt x="8" y="128"/>
                    </a:lnTo>
                    <a:lnTo>
                      <a:pt x="4" y="120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4" y="120"/>
                    </a:lnTo>
                    <a:lnTo>
                      <a:pt x="0" y="120"/>
                    </a:lnTo>
                    <a:lnTo>
                      <a:pt x="4" y="120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8" y="116"/>
                    </a:lnTo>
                    <a:lnTo>
                      <a:pt x="16" y="116"/>
                    </a:lnTo>
                    <a:lnTo>
                      <a:pt x="16" y="116"/>
                    </a:lnTo>
                    <a:lnTo>
                      <a:pt x="20" y="116"/>
                    </a:lnTo>
                    <a:lnTo>
                      <a:pt x="20" y="116"/>
                    </a:lnTo>
                    <a:lnTo>
                      <a:pt x="28" y="116"/>
                    </a:lnTo>
                    <a:lnTo>
                      <a:pt x="32" y="116"/>
                    </a:lnTo>
                    <a:lnTo>
                      <a:pt x="36" y="116"/>
                    </a:lnTo>
                    <a:lnTo>
                      <a:pt x="40" y="116"/>
                    </a:lnTo>
                    <a:lnTo>
                      <a:pt x="44" y="116"/>
                    </a:lnTo>
                    <a:lnTo>
                      <a:pt x="44" y="116"/>
                    </a:lnTo>
                    <a:lnTo>
                      <a:pt x="48" y="116"/>
                    </a:lnTo>
                    <a:lnTo>
                      <a:pt x="56" y="116"/>
                    </a:lnTo>
                    <a:lnTo>
                      <a:pt x="64" y="116"/>
                    </a:lnTo>
                    <a:lnTo>
                      <a:pt x="64" y="112"/>
                    </a:lnTo>
                    <a:lnTo>
                      <a:pt x="64" y="104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88"/>
                    </a:lnTo>
                    <a:lnTo>
                      <a:pt x="60" y="88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4" y="84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72" y="76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76" y="76"/>
                    </a:lnTo>
                    <a:lnTo>
                      <a:pt x="76" y="68"/>
                    </a:lnTo>
                    <a:lnTo>
                      <a:pt x="76" y="64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32"/>
                    </a:lnTo>
                    <a:lnTo>
                      <a:pt x="76" y="32"/>
                    </a:lnTo>
                    <a:lnTo>
                      <a:pt x="76" y="32"/>
                    </a:lnTo>
                    <a:lnTo>
                      <a:pt x="76" y="24"/>
                    </a:lnTo>
                    <a:lnTo>
                      <a:pt x="84" y="24"/>
                    </a:lnTo>
                    <a:lnTo>
                      <a:pt x="88" y="24"/>
                    </a:lnTo>
                    <a:lnTo>
                      <a:pt x="96" y="24"/>
                    </a:lnTo>
                    <a:lnTo>
                      <a:pt x="100" y="24"/>
                    </a:lnTo>
                    <a:lnTo>
                      <a:pt x="108" y="24"/>
                    </a:lnTo>
                    <a:lnTo>
                      <a:pt x="108" y="24"/>
                    </a:lnTo>
                    <a:lnTo>
                      <a:pt x="108" y="24"/>
                    </a:lnTo>
                    <a:lnTo>
                      <a:pt x="108" y="24"/>
                    </a:lnTo>
                    <a:lnTo>
                      <a:pt x="112" y="24"/>
                    </a:lnTo>
                    <a:lnTo>
                      <a:pt x="112" y="24"/>
                    </a:lnTo>
                    <a:lnTo>
                      <a:pt x="116" y="24"/>
                    </a:lnTo>
                    <a:lnTo>
                      <a:pt x="116" y="24"/>
                    </a:lnTo>
                    <a:lnTo>
                      <a:pt x="128" y="24"/>
                    </a:lnTo>
                    <a:lnTo>
                      <a:pt x="128" y="24"/>
                    </a:lnTo>
                    <a:lnTo>
                      <a:pt x="128" y="24"/>
                    </a:lnTo>
                    <a:lnTo>
                      <a:pt x="128" y="16"/>
                    </a:lnTo>
                    <a:lnTo>
                      <a:pt x="128" y="8"/>
                    </a:lnTo>
                    <a:lnTo>
                      <a:pt x="128" y="8"/>
                    </a:lnTo>
                    <a:lnTo>
                      <a:pt x="128" y="0"/>
                    </a:lnTo>
                    <a:lnTo>
                      <a:pt x="128" y="0"/>
                    </a:lnTo>
                    <a:lnTo>
                      <a:pt x="136" y="4"/>
                    </a:lnTo>
                    <a:lnTo>
                      <a:pt x="136" y="8"/>
                    </a:lnTo>
                    <a:lnTo>
                      <a:pt x="144" y="12"/>
                    </a:lnTo>
                    <a:lnTo>
                      <a:pt x="144" y="12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6" y="20"/>
                    </a:lnTo>
                    <a:lnTo>
                      <a:pt x="160" y="24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72" y="32"/>
                    </a:lnTo>
                    <a:lnTo>
                      <a:pt x="172" y="32"/>
                    </a:lnTo>
                    <a:lnTo>
                      <a:pt x="176" y="36"/>
                    </a:lnTo>
                    <a:lnTo>
                      <a:pt x="180" y="40"/>
                    </a:lnTo>
                    <a:lnTo>
                      <a:pt x="184" y="44"/>
                    </a:lnTo>
                    <a:lnTo>
                      <a:pt x="184" y="44"/>
                    </a:lnTo>
                    <a:lnTo>
                      <a:pt x="188" y="44"/>
                    </a:lnTo>
                    <a:lnTo>
                      <a:pt x="188" y="44"/>
                    </a:lnTo>
                    <a:lnTo>
                      <a:pt x="188" y="44"/>
                    </a:lnTo>
                    <a:lnTo>
                      <a:pt x="184" y="44"/>
                    </a:lnTo>
                    <a:lnTo>
                      <a:pt x="172" y="44"/>
                    </a:lnTo>
                    <a:lnTo>
                      <a:pt x="168" y="44"/>
                    </a:lnTo>
                    <a:lnTo>
                      <a:pt x="164" y="44"/>
                    </a:lnTo>
                    <a:lnTo>
                      <a:pt x="164" y="44"/>
                    </a:lnTo>
                    <a:lnTo>
                      <a:pt x="160" y="44"/>
                    </a:lnTo>
                    <a:lnTo>
                      <a:pt x="160" y="44"/>
                    </a:lnTo>
                    <a:lnTo>
                      <a:pt x="160" y="52"/>
                    </a:lnTo>
                    <a:lnTo>
                      <a:pt x="160" y="52"/>
                    </a:lnTo>
                    <a:lnTo>
                      <a:pt x="160" y="56"/>
                    </a:lnTo>
                    <a:lnTo>
                      <a:pt x="160" y="60"/>
                    </a:lnTo>
                    <a:lnTo>
                      <a:pt x="164" y="68"/>
                    </a:lnTo>
                    <a:lnTo>
                      <a:pt x="164" y="76"/>
                    </a:lnTo>
                    <a:lnTo>
                      <a:pt x="164" y="84"/>
                    </a:lnTo>
                    <a:lnTo>
                      <a:pt x="164" y="84"/>
                    </a:lnTo>
                    <a:lnTo>
                      <a:pt x="164" y="84"/>
                    </a:lnTo>
                    <a:lnTo>
                      <a:pt x="164" y="88"/>
                    </a:lnTo>
                    <a:lnTo>
                      <a:pt x="164" y="100"/>
                    </a:lnTo>
                    <a:lnTo>
                      <a:pt x="164" y="104"/>
                    </a:lnTo>
                    <a:lnTo>
                      <a:pt x="168" y="108"/>
                    </a:lnTo>
                    <a:lnTo>
                      <a:pt x="168" y="112"/>
                    </a:lnTo>
                    <a:lnTo>
                      <a:pt x="168" y="116"/>
                    </a:lnTo>
                    <a:lnTo>
                      <a:pt x="168" y="120"/>
                    </a:lnTo>
                    <a:lnTo>
                      <a:pt x="168" y="124"/>
                    </a:lnTo>
                    <a:lnTo>
                      <a:pt x="168" y="128"/>
                    </a:lnTo>
                    <a:lnTo>
                      <a:pt x="168" y="135"/>
                    </a:lnTo>
                    <a:lnTo>
                      <a:pt x="168" y="143"/>
                    </a:lnTo>
                    <a:lnTo>
                      <a:pt x="168" y="143"/>
                    </a:lnTo>
                    <a:lnTo>
                      <a:pt x="172" y="151"/>
                    </a:lnTo>
                    <a:lnTo>
                      <a:pt x="172" y="155"/>
                    </a:lnTo>
                    <a:lnTo>
                      <a:pt x="172" y="155"/>
                    </a:lnTo>
                    <a:lnTo>
                      <a:pt x="172" y="163"/>
                    </a:lnTo>
                    <a:lnTo>
                      <a:pt x="172" y="163"/>
                    </a:lnTo>
                    <a:lnTo>
                      <a:pt x="172" y="171"/>
                    </a:lnTo>
                    <a:lnTo>
                      <a:pt x="172" y="175"/>
                    </a:lnTo>
                    <a:lnTo>
                      <a:pt x="172" y="179"/>
                    </a:lnTo>
                    <a:lnTo>
                      <a:pt x="172" y="187"/>
                    </a:lnTo>
                    <a:lnTo>
                      <a:pt x="176" y="199"/>
                    </a:lnTo>
                    <a:lnTo>
                      <a:pt x="176" y="203"/>
                    </a:lnTo>
                    <a:lnTo>
                      <a:pt x="180" y="207"/>
                    </a:lnTo>
                    <a:lnTo>
                      <a:pt x="180" y="211"/>
                    </a:lnTo>
                    <a:lnTo>
                      <a:pt x="180" y="211"/>
                    </a:lnTo>
                    <a:lnTo>
                      <a:pt x="176" y="215"/>
                    </a:lnTo>
                    <a:lnTo>
                      <a:pt x="176" y="223"/>
                    </a:lnTo>
                    <a:lnTo>
                      <a:pt x="176" y="223"/>
                    </a:lnTo>
                    <a:lnTo>
                      <a:pt x="176" y="223"/>
                    </a:lnTo>
                    <a:lnTo>
                      <a:pt x="176" y="223"/>
                    </a:lnTo>
                    <a:lnTo>
                      <a:pt x="168" y="223"/>
                    </a:lnTo>
                    <a:lnTo>
                      <a:pt x="164" y="223"/>
                    </a:lnTo>
                    <a:lnTo>
                      <a:pt x="164" y="223"/>
                    </a:lnTo>
                    <a:lnTo>
                      <a:pt x="164" y="223"/>
                    </a:lnTo>
                    <a:lnTo>
                      <a:pt x="160" y="223"/>
                    </a:lnTo>
                    <a:lnTo>
                      <a:pt x="152" y="223"/>
                    </a:lnTo>
                    <a:lnTo>
                      <a:pt x="148" y="223"/>
                    </a:lnTo>
                    <a:lnTo>
                      <a:pt x="148" y="223"/>
                    </a:lnTo>
                    <a:lnTo>
                      <a:pt x="144" y="223"/>
                    </a:lnTo>
                    <a:lnTo>
                      <a:pt x="140" y="223"/>
                    </a:lnTo>
                    <a:lnTo>
                      <a:pt x="136" y="223"/>
                    </a:lnTo>
                    <a:lnTo>
                      <a:pt x="132" y="223"/>
                    </a:lnTo>
                    <a:lnTo>
                      <a:pt x="132" y="223"/>
                    </a:lnTo>
                    <a:lnTo>
                      <a:pt x="128" y="223"/>
                    </a:lnTo>
                    <a:lnTo>
                      <a:pt x="124" y="223"/>
                    </a:lnTo>
                    <a:lnTo>
                      <a:pt x="124" y="223"/>
                    </a:lnTo>
                    <a:lnTo>
                      <a:pt x="124" y="223"/>
                    </a:lnTo>
                    <a:lnTo>
                      <a:pt x="120" y="223"/>
                    </a:lnTo>
                    <a:lnTo>
                      <a:pt x="120" y="223"/>
                    </a:lnTo>
                    <a:lnTo>
                      <a:pt x="120" y="223"/>
                    </a:lnTo>
                    <a:lnTo>
                      <a:pt x="120" y="223"/>
                    </a:lnTo>
                    <a:lnTo>
                      <a:pt x="120" y="219"/>
                    </a:lnTo>
                    <a:lnTo>
                      <a:pt x="120" y="219"/>
                    </a:lnTo>
                    <a:lnTo>
                      <a:pt x="116" y="223"/>
                    </a:lnTo>
                    <a:lnTo>
                      <a:pt x="116" y="223"/>
                    </a:lnTo>
                    <a:lnTo>
                      <a:pt x="116" y="223"/>
                    </a:lnTo>
                    <a:lnTo>
                      <a:pt x="112" y="223"/>
                    </a:lnTo>
                    <a:lnTo>
                      <a:pt x="112" y="223"/>
                    </a:lnTo>
                    <a:lnTo>
                      <a:pt x="112" y="227"/>
                    </a:lnTo>
                    <a:lnTo>
                      <a:pt x="112" y="227"/>
                    </a:lnTo>
                    <a:lnTo>
                      <a:pt x="112" y="227"/>
                    </a:lnTo>
                    <a:lnTo>
                      <a:pt x="108" y="227"/>
                    </a:lnTo>
                    <a:lnTo>
                      <a:pt x="108" y="227"/>
                    </a:lnTo>
                    <a:lnTo>
                      <a:pt x="108" y="227"/>
                    </a:lnTo>
                    <a:lnTo>
                      <a:pt x="108" y="227"/>
                    </a:lnTo>
                    <a:lnTo>
                      <a:pt x="104" y="223"/>
                    </a:lnTo>
                    <a:lnTo>
                      <a:pt x="104" y="223"/>
                    </a:lnTo>
                    <a:lnTo>
                      <a:pt x="104" y="223"/>
                    </a:lnTo>
                    <a:lnTo>
                      <a:pt x="100" y="223"/>
                    </a:lnTo>
                    <a:lnTo>
                      <a:pt x="100" y="223"/>
                    </a:lnTo>
                    <a:lnTo>
                      <a:pt x="100" y="223"/>
                    </a:lnTo>
                    <a:lnTo>
                      <a:pt x="100" y="223"/>
                    </a:lnTo>
                    <a:lnTo>
                      <a:pt x="96" y="223"/>
                    </a:lnTo>
                    <a:lnTo>
                      <a:pt x="96" y="223"/>
                    </a:lnTo>
                    <a:close/>
                    <a:moveTo>
                      <a:pt x="12" y="147"/>
                    </a:move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3"/>
                    </a:lnTo>
                    <a:lnTo>
                      <a:pt x="12" y="143"/>
                    </a:lnTo>
                    <a:lnTo>
                      <a:pt x="12" y="143"/>
                    </a:lnTo>
                    <a:lnTo>
                      <a:pt x="12" y="143"/>
                    </a:lnTo>
                    <a:lnTo>
                      <a:pt x="12" y="143"/>
                    </a:lnTo>
                    <a:lnTo>
                      <a:pt x="12" y="143"/>
                    </a:lnTo>
                    <a:lnTo>
                      <a:pt x="12" y="143"/>
                    </a:lnTo>
                    <a:lnTo>
                      <a:pt x="12" y="143"/>
                    </a:lnTo>
                    <a:lnTo>
                      <a:pt x="12" y="143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7"/>
                    </a:lnTo>
                    <a:lnTo>
                      <a:pt x="12" y="147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8" name="Freeform 148">
                <a:extLst>
                  <a:ext uri="{FF2B5EF4-FFF2-40B4-BE49-F238E27FC236}">
                    <a16:creationId xmlns:a16="http://schemas.microsoft.com/office/drawing/2014/main" id="{C299F9E7-5A5D-440E-8F40-5996BC72EB14}"/>
                  </a:ext>
                </a:extLst>
              </p:cNvPr>
              <p:cNvSpPr>
                <a:spLocks/>
              </p:cNvSpPr>
              <p:nvPr>
                <p:custDataLst>
                  <p:tags r:id="rId68"/>
                </p:custDataLst>
              </p:nvPr>
            </p:nvSpPr>
            <p:spPr bwMode="gray">
              <a:xfrm>
                <a:off x="3540902" y="5107190"/>
                <a:ext cx="231951" cy="206739"/>
              </a:xfrm>
              <a:custGeom>
                <a:avLst/>
                <a:gdLst/>
                <a:ahLst/>
                <a:cxnLst>
                  <a:cxn ang="0">
                    <a:pos x="136" y="16"/>
                  </a:cxn>
                  <a:cxn ang="0">
                    <a:pos x="144" y="16"/>
                  </a:cxn>
                  <a:cxn ang="0">
                    <a:pos x="152" y="16"/>
                  </a:cxn>
                  <a:cxn ang="0">
                    <a:pos x="156" y="16"/>
                  </a:cxn>
                  <a:cxn ang="0">
                    <a:pos x="156" y="16"/>
                  </a:cxn>
                  <a:cxn ang="0">
                    <a:pos x="160" y="16"/>
                  </a:cxn>
                  <a:cxn ang="0">
                    <a:pos x="168" y="20"/>
                  </a:cxn>
                  <a:cxn ang="0">
                    <a:pos x="172" y="28"/>
                  </a:cxn>
                  <a:cxn ang="0">
                    <a:pos x="176" y="40"/>
                  </a:cxn>
                  <a:cxn ang="0">
                    <a:pos x="176" y="48"/>
                  </a:cxn>
                  <a:cxn ang="0">
                    <a:pos x="176" y="60"/>
                  </a:cxn>
                  <a:cxn ang="0">
                    <a:pos x="184" y="68"/>
                  </a:cxn>
                  <a:cxn ang="0">
                    <a:pos x="180" y="76"/>
                  </a:cxn>
                  <a:cxn ang="0">
                    <a:pos x="180" y="80"/>
                  </a:cxn>
                  <a:cxn ang="0">
                    <a:pos x="172" y="76"/>
                  </a:cxn>
                  <a:cxn ang="0">
                    <a:pos x="164" y="76"/>
                  </a:cxn>
                  <a:cxn ang="0">
                    <a:pos x="156" y="80"/>
                  </a:cxn>
                  <a:cxn ang="0">
                    <a:pos x="152" y="84"/>
                  </a:cxn>
                  <a:cxn ang="0">
                    <a:pos x="144" y="84"/>
                  </a:cxn>
                  <a:cxn ang="0">
                    <a:pos x="140" y="92"/>
                  </a:cxn>
                  <a:cxn ang="0">
                    <a:pos x="144" y="100"/>
                  </a:cxn>
                  <a:cxn ang="0">
                    <a:pos x="140" y="100"/>
                  </a:cxn>
                  <a:cxn ang="0">
                    <a:pos x="136" y="104"/>
                  </a:cxn>
                  <a:cxn ang="0">
                    <a:pos x="128" y="108"/>
                  </a:cxn>
                  <a:cxn ang="0">
                    <a:pos x="124" y="116"/>
                  </a:cxn>
                  <a:cxn ang="0">
                    <a:pos x="120" y="120"/>
                  </a:cxn>
                  <a:cxn ang="0">
                    <a:pos x="108" y="124"/>
                  </a:cxn>
                  <a:cxn ang="0">
                    <a:pos x="104" y="124"/>
                  </a:cxn>
                  <a:cxn ang="0">
                    <a:pos x="100" y="128"/>
                  </a:cxn>
                  <a:cxn ang="0">
                    <a:pos x="92" y="128"/>
                  </a:cxn>
                  <a:cxn ang="0">
                    <a:pos x="84" y="132"/>
                  </a:cxn>
                  <a:cxn ang="0">
                    <a:pos x="80" y="132"/>
                  </a:cxn>
                  <a:cxn ang="0">
                    <a:pos x="72" y="140"/>
                  </a:cxn>
                  <a:cxn ang="0">
                    <a:pos x="68" y="164"/>
                  </a:cxn>
                  <a:cxn ang="0">
                    <a:pos x="48" y="164"/>
                  </a:cxn>
                  <a:cxn ang="0">
                    <a:pos x="0" y="164"/>
                  </a:cxn>
                  <a:cxn ang="0">
                    <a:pos x="4" y="160"/>
                  </a:cxn>
                  <a:cxn ang="0">
                    <a:pos x="20" y="156"/>
                  </a:cxn>
                  <a:cxn ang="0">
                    <a:pos x="32" y="144"/>
                  </a:cxn>
                  <a:cxn ang="0">
                    <a:pos x="40" y="140"/>
                  </a:cxn>
                  <a:cxn ang="0">
                    <a:pos x="44" y="132"/>
                  </a:cxn>
                  <a:cxn ang="0">
                    <a:pos x="52" y="124"/>
                  </a:cxn>
                  <a:cxn ang="0">
                    <a:pos x="56" y="112"/>
                  </a:cxn>
                  <a:cxn ang="0">
                    <a:pos x="52" y="104"/>
                  </a:cxn>
                  <a:cxn ang="0">
                    <a:pos x="52" y="92"/>
                  </a:cxn>
                  <a:cxn ang="0">
                    <a:pos x="52" y="84"/>
                  </a:cxn>
                  <a:cxn ang="0">
                    <a:pos x="60" y="68"/>
                  </a:cxn>
                  <a:cxn ang="0">
                    <a:pos x="64" y="64"/>
                  </a:cxn>
                  <a:cxn ang="0">
                    <a:pos x="72" y="56"/>
                  </a:cxn>
                  <a:cxn ang="0">
                    <a:pos x="76" y="52"/>
                  </a:cxn>
                  <a:cxn ang="0">
                    <a:pos x="88" y="44"/>
                  </a:cxn>
                  <a:cxn ang="0">
                    <a:pos x="96" y="40"/>
                  </a:cxn>
                  <a:cxn ang="0">
                    <a:pos x="104" y="24"/>
                  </a:cxn>
                  <a:cxn ang="0">
                    <a:pos x="108" y="12"/>
                  </a:cxn>
                  <a:cxn ang="0">
                    <a:pos x="116" y="4"/>
                  </a:cxn>
                  <a:cxn ang="0">
                    <a:pos x="120" y="4"/>
                  </a:cxn>
                  <a:cxn ang="0">
                    <a:pos x="120" y="8"/>
                  </a:cxn>
                </a:cxnLst>
                <a:rect l="0" t="0" r="r" b="b"/>
                <a:pathLst>
                  <a:path w="184" h="164">
                    <a:moveTo>
                      <a:pt x="132" y="16"/>
                    </a:moveTo>
                    <a:lnTo>
                      <a:pt x="132" y="16"/>
                    </a:lnTo>
                    <a:lnTo>
                      <a:pt x="132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36" y="16"/>
                    </a:lnTo>
                    <a:lnTo>
                      <a:pt x="140" y="16"/>
                    </a:lnTo>
                    <a:lnTo>
                      <a:pt x="140" y="16"/>
                    </a:lnTo>
                    <a:lnTo>
                      <a:pt x="140" y="16"/>
                    </a:lnTo>
                    <a:lnTo>
                      <a:pt x="140" y="16"/>
                    </a:lnTo>
                    <a:lnTo>
                      <a:pt x="140" y="16"/>
                    </a:lnTo>
                    <a:lnTo>
                      <a:pt x="144" y="16"/>
                    </a:lnTo>
                    <a:lnTo>
                      <a:pt x="144" y="16"/>
                    </a:lnTo>
                    <a:lnTo>
                      <a:pt x="144" y="16"/>
                    </a:lnTo>
                    <a:lnTo>
                      <a:pt x="144" y="16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48" y="16"/>
                    </a:lnTo>
                    <a:lnTo>
                      <a:pt x="152" y="16"/>
                    </a:lnTo>
                    <a:lnTo>
                      <a:pt x="152" y="16"/>
                    </a:lnTo>
                    <a:lnTo>
                      <a:pt x="156" y="12"/>
                    </a:lnTo>
                    <a:lnTo>
                      <a:pt x="156" y="12"/>
                    </a:lnTo>
                    <a:lnTo>
                      <a:pt x="156" y="12"/>
                    </a:lnTo>
                    <a:lnTo>
                      <a:pt x="156" y="12"/>
                    </a:lnTo>
                    <a:lnTo>
                      <a:pt x="156" y="12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56" y="16"/>
                    </a:lnTo>
                    <a:lnTo>
                      <a:pt x="160" y="16"/>
                    </a:lnTo>
                    <a:lnTo>
                      <a:pt x="160" y="16"/>
                    </a:lnTo>
                    <a:lnTo>
                      <a:pt x="160" y="16"/>
                    </a:lnTo>
                    <a:lnTo>
                      <a:pt x="160" y="20"/>
                    </a:lnTo>
                    <a:lnTo>
                      <a:pt x="160" y="20"/>
                    </a:lnTo>
                    <a:lnTo>
                      <a:pt x="164" y="16"/>
                    </a:lnTo>
                    <a:lnTo>
                      <a:pt x="164" y="16"/>
                    </a:lnTo>
                    <a:lnTo>
                      <a:pt x="164" y="20"/>
                    </a:lnTo>
                    <a:lnTo>
                      <a:pt x="168" y="20"/>
                    </a:lnTo>
                    <a:lnTo>
                      <a:pt x="168" y="20"/>
                    </a:lnTo>
                    <a:lnTo>
                      <a:pt x="168" y="20"/>
                    </a:lnTo>
                    <a:lnTo>
                      <a:pt x="168" y="20"/>
                    </a:lnTo>
                    <a:lnTo>
                      <a:pt x="168" y="20"/>
                    </a:lnTo>
                    <a:lnTo>
                      <a:pt x="172" y="24"/>
                    </a:lnTo>
                    <a:lnTo>
                      <a:pt x="172" y="24"/>
                    </a:lnTo>
                    <a:lnTo>
                      <a:pt x="172" y="24"/>
                    </a:lnTo>
                    <a:lnTo>
                      <a:pt x="172" y="28"/>
                    </a:lnTo>
                    <a:lnTo>
                      <a:pt x="172" y="28"/>
                    </a:lnTo>
                    <a:lnTo>
                      <a:pt x="172" y="28"/>
                    </a:lnTo>
                    <a:lnTo>
                      <a:pt x="172" y="32"/>
                    </a:lnTo>
                    <a:lnTo>
                      <a:pt x="176" y="32"/>
                    </a:lnTo>
                    <a:lnTo>
                      <a:pt x="172" y="32"/>
                    </a:lnTo>
                    <a:lnTo>
                      <a:pt x="172" y="32"/>
                    </a:lnTo>
                    <a:lnTo>
                      <a:pt x="172" y="32"/>
                    </a:lnTo>
                    <a:lnTo>
                      <a:pt x="172" y="36"/>
                    </a:lnTo>
                    <a:lnTo>
                      <a:pt x="176" y="40"/>
                    </a:lnTo>
                    <a:lnTo>
                      <a:pt x="176" y="40"/>
                    </a:lnTo>
                    <a:lnTo>
                      <a:pt x="176" y="40"/>
                    </a:lnTo>
                    <a:lnTo>
                      <a:pt x="176" y="44"/>
                    </a:lnTo>
                    <a:lnTo>
                      <a:pt x="172" y="44"/>
                    </a:lnTo>
                    <a:lnTo>
                      <a:pt x="176" y="48"/>
                    </a:lnTo>
                    <a:lnTo>
                      <a:pt x="176" y="48"/>
                    </a:lnTo>
                    <a:lnTo>
                      <a:pt x="176" y="48"/>
                    </a:lnTo>
                    <a:lnTo>
                      <a:pt x="176" y="48"/>
                    </a:lnTo>
                    <a:lnTo>
                      <a:pt x="176" y="48"/>
                    </a:lnTo>
                    <a:lnTo>
                      <a:pt x="176" y="52"/>
                    </a:lnTo>
                    <a:lnTo>
                      <a:pt x="176" y="52"/>
                    </a:lnTo>
                    <a:lnTo>
                      <a:pt x="176" y="52"/>
                    </a:lnTo>
                    <a:lnTo>
                      <a:pt x="176" y="56"/>
                    </a:lnTo>
                    <a:lnTo>
                      <a:pt x="176" y="56"/>
                    </a:lnTo>
                    <a:lnTo>
                      <a:pt x="176" y="56"/>
                    </a:lnTo>
                    <a:lnTo>
                      <a:pt x="176" y="56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76" y="60"/>
                    </a:lnTo>
                    <a:lnTo>
                      <a:pt x="180" y="64"/>
                    </a:lnTo>
                    <a:lnTo>
                      <a:pt x="180" y="68"/>
                    </a:lnTo>
                    <a:lnTo>
                      <a:pt x="184" y="68"/>
                    </a:lnTo>
                    <a:lnTo>
                      <a:pt x="184" y="72"/>
                    </a:lnTo>
                    <a:lnTo>
                      <a:pt x="184" y="72"/>
                    </a:lnTo>
                    <a:lnTo>
                      <a:pt x="184" y="72"/>
                    </a:lnTo>
                    <a:lnTo>
                      <a:pt x="184" y="72"/>
                    </a:lnTo>
                    <a:lnTo>
                      <a:pt x="180" y="72"/>
                    </a:lnTo>
                    <a:lnTo>
                      <a:pt x="180" y="72"/>
                    </a:lnTo>
                    <a:lnTo>
                      <a:pt x="180" y="72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80" y="76"/>
                    </a:lnTo>
                    <a:lnTo>
                      <a:pt x="184" y="76"/>
                    </a:lnTo>
                    <a:lnTo>
                      <a:pt x="184" y="76"/>
                    </a:lnTo>
                    <a:lnTo>
                      <a:pt x="180" y="80"/>
                    </a:lnTo>
                    <a:lnTo>
                      <a:pt x="180" y="80"/>
                    </a:lnTo>
                    <a:lnTo>
                      <a:pt x="180" y="80"/>
                    </a:lnTo>
                    <a:lnTo>
                      <a:pt x="180" y="80"/>
                    </a:lnTo>
                    <a:lnTo>
                      <a:pt x="180" y="76"/>
                    </a:lnTo>
                    <a:lnTo>
                      <a:pt x="176" y="76"/>
                    </a:lnTo>
                    <a:lnTo>
                      <a:pt x="176" y="76"/>
                    </a:lnTo>
                    <a:lnTo>
                      <a:pt x="176" y="76"/>
                    </a:lnTo>
                    <a:lnTo>
                      <a:pt x="172" y="76"/>
                    </a:lnTo>
                    <a:lnTo>
                      <a:pt x="172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8" y="76"/>
                    </a:lnTo>
                    <a:lnTo>
                      <a:pt x="164" y="76"/>
                    </a:lnTo>
                    <a:lnTo>
                      <a:pt x="164" y="76"/>
                    </a:lnTo>
                    <a:lnTo>
                      <a:pt x="164" y="76"/>
                    </a:lnTo>
                    <a:lnTo>
                      <a:pt x="164" y="76"/>
                    </a:lnTo>
                    <a:lnTo>
                      <a:pt x="164" y="76"/>
                    </a:lnTo>
                    <a:lnTo>
                      <a:pt x="156" y="80"/>
                    </a:lnTo>
                    <a:lnTo>
                      <a:pt x="156" y="80"/>
                    </a:lnTo>
                    <a:lnTo>
                      <a:pt x="156" y="80"/>
                    </a:lnTo>
                    <a:lnTo>
                      <a:pt x="156" y="80"/>
                    </a:lnTo>
                    <a:lnTo>
                      <a:pt x="156" y="80"/>
                    </a:lnTo>
                    <a:lnTo>
                      <a:pt x="156" y="80"/>
                    </a:lnTo>
                    <a:lnTo>
                      <a:pt x="156" y="80"/>
                    </a:lnTo>
                    <a:lnTo>
                      <a:pt x="156" y="84"/>
                    </a:lnTo>
                    <a:lnTo>
                      <a:pt x="156" y="84"/>
                    </a:lnTo>
                    <a:lnTo>
                      <a:pt x="156" y="84"/>
                    </a:lnTo>
                    <a:lnTo>
                      <a:pt x="152" y="84"/>
                    </a:lnTo>
                    <a:lnTo>
                      <a:pt x="152" y="84"/>
                    </a:lnTo>
                    <a:lnTo>
                      <a:pt x="152" y="84"/>
                    </a:lnTo>
                    <a:lnTo>
                      <a:pt x="152" y="84"/>
                    </a:lnTo>
                    <a:lnTo>
                      <a:pt x="148" y="84"/>
                    </a:lnTo>
                    <a:lnTo>
                      <a:pt x="148" y="84"/>
                    </a:lnTo>
                    <a:lnTo>
                      <a:pt x="148" y="88"/>
                    </a:lnTo>
                    <a:lnTo>
                      <a:pt x="148" y="88"/>
                    </a:lnTo>
                    <a:lnTo>
                      <a:pt x="148" y="88"/>
                    </a:lnTo>
                    <a:lnTo>
                      <a:pt x="144" y="88"/>
                    </a:lnTo>
                    <a:lnTo>
                      <a:pt x="144" y="84"/>
                    </a:lnTo>
                    <a:lnTo>
                      <a:pt x="144" y="84"/>
                    </a:lnTo>
                    <a:lnTo>
                      <a:pt x="144" y="84"/>
                    </a:lnTo>
                    <a:lnTo>
                      <a:pt x="144" y="84"/>
                    </a:lnTo>
                    <a:lnTo>
                      <a:pt x="144" y="84"/>
                    </a:lnTo>
                    <a:lnTo>
                      <a:pt x="144" y="84"/>
                    </a:lnTo>
                    <a:lnTo>
                      <a:pt x="140" y="88"/>
                    </a:lnTo>
                    <a:lnTo>
                      <a:pt x="140" y="88"/>
                    </a:lnTo>
                    <a:lnTo>
                      <a:pt x="140" y="92"/>
                    </a:lnTo>
                    <a:lnTo>
                      <a:pt x="140" y="92"/>
                    </a:lnTo>
                    <a:lnTo>
                      <a:pt x="144" y="92"/>
                    </a:lnTo>
                    <a:lnTo>
                      <a:pt x="140" y="96"/>
                    </a:lnTo>
                    <a:lnTo>
                      <a:pt x="140" y="96"/>
                    </a:lnTo>
                    <a:lnTo>
                      <a:pt x="144" y="96"/>
                    </a:lnTo>
                    <a:lnTo>
                      <a:pt x="144" y="96"/>
                    </a:lnTo>
                    <a:lnTo>
                      <a:pt x="144" y="96"/>
                    </a:lnTo>
                    <a:lnTo>
                      <a:pt x="144" y="96"/>
                    </a:lnTo>
                    <a:lnTo>
                      <a:pt x="144" y="100"/>
                    </a:lnTo>
                    <a:lnTo>
                      <a:pt x="144" y="100"/>
                    </a:lnTo>
                    <a:lnTo>
                      <a:pt x="144" y="100"/>
                    </a:lnTo>
                    <a:lnTo>
                      <a:pt x="144" y="100"/>
                    </a:lnTo>
                    <a:lnTo>
                      <a:pt x="144" y="100"/>
                    </a:lnTo>
                    <a:lnTo>
                      <a:pt x="144" y="100"/>
                    </a:lnTo>
                    <a:lnTo>
                      <a:pt x="144" y="100"/>
                    </a:lnTo>
                    <a:lnTo>
                      <a:pt x="140" y="100"/>
                    </a:lnTo>
                    <a:lnTo>
                      <a:pt x="140" y="100"/>
                    </a:lnTo>
                    <a:lnTo>
                      <a:pt x="140" y="100"/>
                    </a:lnTo>
                    <a:lnTo>
                      <a:pt x="140" y="100"/>
                    </a:lnTo>
                    <a:lnTo>
                      <a:pt x="140" y="100"/>
                    </a:lnTo>
                    <a:lnTo>
                      <a:pt x="140" y="100"/>
                    </a:lnTo>
                    <a:lnTo>
                      <a:pt x="136" y="104"/>
                    </a:lnTo>
                    <a:lnTo>
                      <a:pt x="136" y="104"/>
                    </a:lnTo>
                    <a:lnTo>
                      <a:pt x="136" y="104"/>
                    </a:lnTo>
                    <a:lnTo>
                      <a:pt x="136" y="104"/>
                    </a:lnTo>
                    <a:lnTo>
                      <a:pt x="136" y="104"/>
                    </a:lnTo>
                    <a:lnTo>
                      <a:pt x="136" y="104"/>
                    </a:lnTo>
                    <a:lnTo>
                      <a:pt x="132" y="108"/>
                    </a:lnTo>
                    <a:lnTo>
                      <a:pt x="132" y="108"/>
                    </a:lnTo>
                    <a:lnTo>
                      <a:pt x="132" y="108"/>
                    </a:lnTo>
                    <a:lnTo>
                      <a:pt x="132" y="108"/>
                    </a:lnTo>
                    <a:lnTo>
                      <a:pt x="132" y="108"/>
                    </a:lnTo>
                    <a:lnTo>
                      <a:pt x="128" y="108"/>
                    </a:lnTo>
                    <a:lnTo>
                      <a:pt x="124" y="108"/>
                    </a:lnTo>
                    <a:lnTo>
                      <a:pt x="124" y="108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24" y="112"/>
                    </a:lnTo>
                    <a:lnTo>
                      <a:pt x="124" y="116"/>
                    </a:lnTo>
                    <a:lnTo>
                      <a:pt x="124" y="116"/>
                    </a:lnTo>
                    <a:lnTo>
                      <a:pt x="120" y="116"/>
                    </a:lnTo>
                    <a:lnTo>
                      <a:pt x="120" y="116"/>
                    </a:lnTo>
                    <a:lnTo>
                      <a:pt x="120" y="116"/>
                    </a:lnTo>
                    <a:lnTo>
                      <a:pt x="120" y="120"/>
                    </a:lnTo>
                    <a:lnTo>
                      <a:pt x="120" y="120"/>
                    </a:lnTo>
                    <a:lnTo>
                      <a:pt x="120" y="120"/>
                    </a:lnTo>
                    <a:lnTo>
                      <a:pt x="120" y="120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6" y="120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12" y="120"/>
                    </a:lnTo>
                    <a:lnTo>
                      <a:pt x="112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8" y="124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4" y="124"/>
                    </a:lnTo>
                    <a:lnTo>
                      <a:pt x="100" y="124"/>
                    </a:lnTo>
                    <a:lnTo>
                      <a:pt x="100" y="124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100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6" y="128"/>
                    </a:lnTo>
                    <a:lnTo>
                      <a:pt x="92" y="128"/>
                    </a:lnTo>
                    <a:lnTo>
                      <a:pt x="92" y="128"/>
                    </a:lnTo>
                    <a:lnTo>
                      <a:pt x="92" y="128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8" y="128"/>
                    </a:lnTo>
                    <a:lnTo>
                      <a:pt x="88" y="132"/>
                    </a:lnTo>
                    <a:lnTo>
                      <a:pt x="88" y="132"/>
                    </a:lnTo>
                    <a:lnTo>
                      <a:pt x="88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4" y="132"/>
                    </a:lnTo>
                    <a:lnTo>
                      <a:pt x="80" y="132"/>
                    </a:lnTo>
                    <a:lnTo>
                      <a:pt x="80" y="136"/>
                    </a:lnTo>
                    <a:lnTo>
                      <a:pt x="76" y="136"/>
                    </a:lnTo>
                    <a:lnTo>
                      <a:pt x="76" y="140"/>
                    </a:lnTo>
                    <a:lnTo>
                      <a:pt x="76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0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72" y="144"/>
                    </a:lnTo>
                    <a:lnTo>
                      <a:pt x="68" y="144"/>
                    </a:lnTo>
                    <a:lnTo>
                      <a:pt x="68" y="144"/>
                    </a:lnTo>
                    <a:lnTo>
                      <a:pt x="68" y="144"/>
                    </a:lnTo>
                    <a:lnTo>
                      <a:pt x="68" y="160"/>
                    </a:lnTo>
                    <a:lnTo>
                      <a:pt x="68" y="164"/>
                    </a:lnTo>
                    <a:lnTo>
                      <a:pt x="60" y="164"/>
                    </a:lnTo>
                    <a:lnTo>
                      <a:pt x="60" y="164"/>
                    </a:lnTo>
                    <a:lnTo>
                      <a:pt x="52" y="164"/>
                    </a:lnTo>
                    <a:lnTo>
                      <a:pt x="52" y="164"/>
                    </a:lnTo>
                    <a:lnTo>
                      <a:pt x="48" y="164"/>
                    </a:lnTo>
                    <a:lnTo>
                      <a:pt x="48" y="164"/>
                    </a:lnTo>
                    <a:lnTo>
                      <a:pt x="48" y="164"/>
                    </a:lnTo>
                    <a:lnTo>
                      <a:pt x="48" y="164"/>
                    </a:lnTo>
                    <a:lnTo>
                      <a:pt x="48" y="164"/>
                    </a:lnTo>
                    <a:lnTo>
                      <a:pt x="44" y="164"/>
                    </a:lnTo>
                    <a:lnTo>
                      <a:pt x="4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0" y="164"/>
                    </a:lnTo>
                    <a:lnTo>
                      <a:pt x="4" y="164"/>
                    </a:lnTo>
                    <a:lnTo>
                      <a:pt x="4" y="164"/>
                    </a:lnTo>
                    <a:lnTo>
                      <a:pt x="4" y="160"/>
                    </a:lnTo>
                    <a:lnTo>
                      <a:pt x="4" y="160"/>
                    </a:lnTo>
                    <a:lnTo>
                      <a:pt x="4" y="160"/>
                    </a:lnTo>
                    <a:lnTo>
                      <a:pt x="4" y="160"/>
                    </a:lnTo>
                    <a:lnTo>
                      <a:pt x="4" y="160"/>
                    </a:lnTo>
                    <a:lnTo>
                      <a:pt x="4" y="160"/>
                    </a:lnTo>
                    <a:lnTo>
                      <a:pt x="8" y="160"/>
                    </a:lnTo>
                    <a:lnTo>
                      <a:pt x="8" y="160"/>
                    </a:lnTo>
                    <a:lnTo>
                      <a:pt x="8" y="160"/>
                    </a:lnTo>
                    <a:lnTo>
                      <a:pt x="12" y="156"/>
                    </a:lnTo>
                    <a:lnTo>
                      <a:pt x="16" y="156"/>
                    </a:lnTo>
                    <a:lnTo>
                      <a:pt x="20" y="156"/>
                    </a:lnTo>
                    <a:lnTo>
                      <a:pt x="20" y="156"/>
                    </a:lnTo>
                    <a:lnTo>
                      <a:pt x="24" y="152"/>
                    </a:lnTo>
                    <a:lnTo>
                      <a:pt x="24" y="152"/>
                    </a:lnTo>
                    <a:lnTo>
                      <a:pt x="24" y="152"/>
                    </a:lnTo>
                    <a:lnTo>
                      <a:pt x="28" y="152"/>
                    </a:lnTo>
                    <a:lnTo>
                      <a:pt x="28" y="148"/>
                    </a:lnTo>
                    <a:lnTo>
                      <a:pt x="28" y="148"/>
                    </a:lnTo>
                    <a:lnTo>
                      <a:pt x="32" y="144"/>
                    </a:lnTo>
                    <a:lnTo>
                      <a:pt x="32" y="144"/>
                    </a:lnTo>
                    <a:lnTo>
                      <a:pt x="3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36" y="140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40" y="136"/>
                    </a:lnTo>
                    <a:lnTo>
                      <a:pt x="40" y="136"/>
                    </a:lnTo>
                    <a:lnTo>
                      <a:pt x="44" y="136"/>
                    </a:lnTo>
                    <a:lnTo>
                      <a:pt x="44" y="136"/>
                    </a:lnTo>
                    <a:lnTo>
                      <a:pt x="44" y="132"/>
                    </a:lnTo>
                    <a:lnTo>
                      <a:pt x="44" y="132"/>
                    </a:lnTo>
                    <a:lnTo>
                      <a:pt x="44" y="132"/>
                    </a:lnTo>
                    <a:lnTo>
                      <a:pt x="44" y="132"/>
                    </a:lnTo>
                    <a:lnTo>
                      <a:pt x="48" y="132"/>
                    </a:lnTo>
                    <a:lnTo>
                      <a:pt x="48" y="128"/>
                    </a:lnTo>
                    <a:lnTo>
                      <a:pt x="48" y="128"/>
                    </a:lnTo>
                    <a:lnTo>
                      <a:pt x="48" y="128"/>
                    </a:lnTo>
                    <a:lnTo>
                      <a:pt x="48" y="128"/>
                    </a:lnTo>
                    <a:lnTo>
                      <a:pt x="52" y="124"/>
                    </a:lnTo>
                    <a:lnTo>
                      <a:pt x="52" y="124"/>
                    </a:lnTo>
                    <a:lnTo>
                      <a:pt x="52" y="124"/>
                    </a:lnTo>
                    <a:lnTo>
                      <a:pt x="52" y="120"/>
                    </a:lnTo>
                    <a:lnTo>
                      <a:pt x="52" y="120"/>
                    </a:lnTo>
                    <a:lnTo>
                      <a:pt x="52" y="120"/>
                    </a:lnTo>
                    <a:lnTo>
                      <a:pt x="52" y="116"/>
                    </a:lnTo>
                    <a:lnTo>
                      <a:pt x="52" y="116"/>
                    </a:lnTo>
                    <a:lnTo>
                      <a:pt x="56" y="112"/>
                    </a:lnTo>
                    <a:lnTo>
                      <a:pt x="56" y="112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4"/>
                    </a:lnTo>
                    <a:lnTo>
                      <a:pt x="52" y="100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6"/>
                    </a:lnTo>
                    <a:lnTo>
                      <a:pt x="52" y="92"/>
                    </a:lnTo>
                    <a:lnTo>
                      <a:pt x="52" y="92"/>
                    </a:lnTo>
                    <a:lnTo>
                      <a:pt x="52" y="92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8"/>
                    </a:lnTo>
                    <a:lnTo>
                      <a:pt x="52" y="84"/>
                    </a:lnTo>
                    <a:lnTo>
                      <a:pt x="52" y="84"/>
                    </a:lnTo>
                    <a:lnTo>
                      <a:pt x="52" y="84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60" y="72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0" y="68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4"/>
                    </a:lnTo>
                    <a:lnTo>
                      <a:pt x="64" y="60"/>
                    </a:lnTo>
                    <a:lnTo>
                      <a:pt x="68" y="60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68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6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2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0" y="52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8" y="48"/>
                    </a:lnTo>
                    <a:lnTo>
                      <a:pt x="88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2" y="44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96" y="40"/>
                    </a:lnTo>
                    <a:lnTo>
                      <a:pt x="100" y="36"/>
                    </a:lnTo>
                    <a:lnTo>
                      <a:pt x="100" y="36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32"/>
                    </a:lnTo>
                    <a:lnTo>
                      <a:pt x="100" y="28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4" y="20"/>
                    </a:lnTo>
                    <a:lnTo>
                      <a:pt x="108" y="16"/>
                    </a:lnTo>
                    <a:lnTo>
                      <a:pt x="108" y="12"/>
                    </a:lnTo>
                    <a:lnTo>
                      <a:pt x="108" y="12"/>
                    </a:lnTo>
                    <a:lnTo>
                      <a:pt x="108" y="8"/>
                    </a:lnTo>
                    <a:lnTo>
                      <a:pt x="108" y="8"/>
                    </a:lnTo>
                    <a:lnTo>
                      <a:pt x="108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2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6" y="4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16" y="0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4"/>
                    </a:lnTo>
                    <a:lnTo>
                      <a:pt x="120" y="8"/>
                    </a:lnTo>
                    <a:lnTo>
                      <a:pt x="120" y="8"/>
                    </a:lnTo>
                    <a:lnTo>
                      <a:pt x="124" y="12"/>
                    </a:lnTo>
                    <a:lnTo>
                      <a:pt x="124" y="12"/>
                    </a:lnTo>
                    <a:lnTo>
                      <a:pt x="128" y="16"/>
                    </a:lnTo>
                    <a:lnTo>
                      <a:pt x="128" y="16"/>
                    </a:lnTo>
                    <a:lnTo>
                      <a:pt x="128" y="16"/>
                    </a:lnTo>
                    <a:lnTo>
                      <a:pt x="132" y="16"/>
                    </a:lnTo>
                    <a:lnTo>
                      <a:pt x="132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79" name="Freeform 149">
                <a:extLst>
                  <a:ext uri="{FF2B5EF4-FFF2-40B4-BE49-F238E27FC236}">
                    <a16:creationId xmlns:a16="http://schemas.microsoft.com/office/drawing/2014/main" id="{8E68E468-E5A0-40BC-84F2-4CE741633BDC}"/>
                  </a:ext>
                </a:extLst>
              </p:cNvPr>
              <p:cNvSpPr>
                <a:spLocks noEditPoints="1"/>
              </p:cNvSpPr>
              <p:nvPr>
                <p:custDataLst>
                  <p:tags r:id="rId69"/>
                </p:custDataLst>
              </p:nvPr>
            </p:nvSpPr>
            <p:spPr bwMode="gray">
              <a:xfrm>
                <a:off x="4370380" y="6208958"/>
                <a:ext cx="201697" cy="387005"/>
              </a:xfrm>
              <a:custGeom>
                <a:avLst/>
                <a:gdLst/>
                <a:ahLst/>
                <a:cxnLst>
                  <a:cxn ang="0">
                    <a:pos x="24" y="292"/>
                  </a:cxn>
                  <a:cxn ang="0">
                    <a:pos x="24" y="272"/>
                  </a:cxn>
                  <a:cxn ang="0">
                    <a:pos x="24" y="256"/>
                  </a:cxn>
                  <a:cxn ang="0">
                    <a:pos x="20" y="240"/>
                  </a:cxn>
                  <a:cxn ang="0">
                    <a:pos x="24" y="212"/>
                  </a:cxn>
                  <a:cxn ang="0">
                    <a:pos x="36" y="188"/>
                  </a:cxn>
                  <a:cxn ang="0">
                    <a:pos x="40" y="168"/>
                  </a:cxn>
                  <a:cxn ang="0">
                    <a:pos x="40" y="156"/>
                  </a:cxn>
                  <a:cxn ang="0">
                    <a:pos x="44" y="144"/>
                  </a:cxn>
                  <a:cxn ang="0">
                    <a:pos x="40" y="128"/>
                  </a:cxn>
                  <a:cxn ang="0">
                    <a:pos x="36" y="112"/>
                  </a:cxn>
                  <a:cxn ang="0">
                    <a:pos x="24" y="104"/>
                  </a:cxn>
                  <a:cxn ang="0">
                    <a:pos x="8" y="100"/>
                  </a:cxn>
                  <a:cxn ang="0">
                    <a:pos x="0" y="84"/>
                  </a:cxn>
                  <a:cxn ang="0">
                    <a:pos x="12" y="76"/>
                  </a:cxn>
                  <a:cxn ang="0">
                    <a:pos x="28" y="72"/>
                  </a:cxn>
                  <a:cxn ang="0">
                    <a:pos x="48" y="68"/>
                  </a:cxn>
                  <a:cxn ang="0">
                    <a:pos x="64" y="72"/>
                  </a:cxn>
                  <a:cxn ang="0">
                    <a:pos x="64" y="92"/>
                  </a:cxn>
                  <a:cxn ang="0">
                    <a:pos x="64" y="108"/>
                  </a:cxn>
                  <a:cxn ang="0">
                    <a:pos x="72" y="124"/>
                  </a:cxn>
                  <a:cxn ang="0">
                    <a:pos x="72" y="112"/>
                  </a:cxn>
                  <a:cxn ang="0">
                    <a:pos x="84" y="104"/>
                  </a:cxn>
                  <a:cxn ang="0">
                    <a:pos x="84" y="80"/>
                  </a:cxn>
                  <a:cxn ang="0">
                    <a:pos x="72" y="56"/>
                  </a:cxn>
                  <a:cxn ang="0">
                    <a:pos x="64" y="40"/>
                  </a:cxn>
                  <a:cxn ang="0">
                    <a:pos x="64" y="28"/>
                  </a:cxn>
                  <a:cxn ang="0">
                    <a:pos x="76" y="20"/>
                  </a:cxn>
                  <a:cxn ang="0">
                    <a:pos x="96" y="20"/>
                  </a:cxn>
                  <a:cxn ang="0">
                    <a:pos x="116" y="20"/>
                  </a:cxn>
                  <a:cxn ang="0">
                    <a:pos x="120" y="12"/>
                  </a:cxn>
                  <a:cxn ang="0">
                    <a:pos x="136" y="12"/>
                  </a:cxn>
                  <a:cxn ang="0">
                    <a:pos x="148" y="4"/>
                  </a:cxn>
                  <a:cxn ang="0">
                    <a:pos x="156" y="12"/>
                  </a:cxn>
                  <a:cxn ang="0">
                    <a:pos x="156" y="24"/>
                  </a:cxn>
                  <a:cxn ang="0">
                    <a:pos x="152" y="44"/>
                  </a:cxn>
                  <a:cxn ang="0">
                    <a:pos x="156" y="60"/>
                  </a:cxn>
                  <a:cxn ang="0">
                    <a:pos x="156" y="72"/>
                  </a:cxn>
                  <a:cxn ang="0">
                    <a:pos x="156" y="84"/>
                  </a:cxn>
                  <a:cxn ang="0">
                    <a:pos x="152" y="92"/>
                  </a:cxn>
                  <a:cxn ang="0">
                    <a:pos x="144" y="108"/>
                  </a:cxn>
                  <a:cxn ang="0">
                    <a:pos x="132" y="120"/>
                  </a:cxn>
                  <a:cxn ang="0">
                    <a:pos x="116" y="128"/>
                  </a:cxn>
                  <a:cxn ang="0">
                    <a:pos x="100" y="140"/>
                  </a:cxn>
                  <a:cxn ang="0">
                    <a:pos x="92" y="148"/>
                  </a:cxn>
                  <a:cxn ang="0">
                    <a:pos x="88" y="156"/>
                  </a:cxn>
                  <a:cxn ang="0">
                    <a:pos x="76" y="168"/>
                  </a:cxn>
                  <a:cxn ang="0">
                    <a:pos x="68" y="172"/>
                  </a:cxn>
                  <a:cxn ang="0">
                    <a:pos x="72" y="188"/>
                  </a:cxn>
                  <a:cxn ang="0">
                    <a:pos x="76" y="204"/>
                  </a:cxn>
                  <a:cxn ang="0">
                    <a:pos x="76" y="224"/>
                  </a:cxn>
                  <a:cxn ang="0">
                    <a:pos x="80" y="224"/>
                  </a:cxn>
                  <a:cxn ang="0">
                    <a:pos x="76" y="244"/>
                  </a:cxn>
                  <a:cxn ang="0">
                    <a:pos x="80" y="252"/>
                  </a:cxn>
                  <a:cxn ang="0">
                    <a:pos x="72" y="264"/>
                  </a:cxn>
                  <a:cxn ang="0">
                    <a:pos x="56" y="272"/>
                  </a:cxn>
                  <a:cxn ang="0">
                    <a:pos x="40" y="280"/>
                  </a:cxn>
                  <a:cxn ang="0">
                    <a:pos x="36" y="296"/>
                  </a:cxn>
                  <a:cxn ang="0">
                    <a:pos x="40" y="307"/>
                  </a:cxn>
                  <a:cxn ang="0">
                    <a:pos x="76" y="212"/>
                  </a:cxn>
                </a:cxnLst>
                <a:rect l="0" t="0" r="r" b="b"/>
                <a:pathLst>
                  <a:path w="160" h="307">
                    <a:moveTo>
                      <a:pt x="28" y="307"/>
                    </a:moveTo>
                    <a:lnTo>
                      <a:pt x="28" y="299"/>
                    </a:lnTo>
                    <a:lnTo>
                      <a:pt x="28" y="296"/>
                    </a:lnTo>
                    <a:lnTo>
                      <a:pt x="28" y="292"/>
                    </a:lnTo>
                    <a:lnTo>
                      <a:pt x="24" y="292"/>
                    </a:lnTo>
                    <a:lnTo>
                      <a:pt x="24" y="288"/>
                    </a:lnTo>
                    <a:lnTo>
                      <a:pt x="24" y="284"/>
                    </a:lnTo>
                    <a:lnTo>
                      <a:pt x="24" y="280"/>
                    </a:lnTo>
                    <a:lnTo>
                      <a:pt x="28" y="272"/>
                    </a:lnTo>
                    <a:lnTo>
                      <a:pt x="24" y="272"/>
                    </a:lnTo>
                    <a:lnTo>
                      <a:pt x="24" y="268"/>
                    </a:lnTo>
                    <a:lnTo>
                      <a:pt x="24" y="264"/>
                    </a:lnTo>
                    <a:lnTo>
                      <a:pt x="28" y="260"/>
                    </a:lnTo>
                    <a:lnTo>
                      <a:pt x="24" y="260"/>
                    </a:lnTo>
                    <a:lnTo>
                      <a:pt x="24" y="256"/>
                    </a:lnTo>
                    <a:lnTo>
                      <a:pt x="24" y="252"/>
                    </a:lnTo>
                    <a:lnTo>
                      <a:pt x="24" y="248"/>
                    </a:lnTo>
                    <a:lnTo>
                      <a:pt x="20" y="248"/>
                    </a:lnTo>
                    <a:lnTo>
                      <a:pt x="20" y="244"/>
                    </a:lnTo>
                    <a:lnTo>
                      <a:pt x="20" y="240"/>
                    </a:lnTo>
                    <a:lnTo>
                      <a:pt x="20" y="236"/>
                    </a:lnTo>
                    <a:lnTo>
                      <a:pt x="16" y="224"/>
                    </a:lnTo>
                    <a:lnTo>
                      <a:pt x="16" y="220"/>
                    </a:lnTo>
                    <a:lnTo>
                      <a:pt x="20" y="216"/>
                    </a:lnTo>
                    <a:lnTo>
                      <a:pt x="24" y="212"/>
                    </a:lnTo>
                    <a:lnTo>
                      <a:pt x="32" y="200"/>
                    </a:lnTo>
                    <a:lnTo>
                      <a:pt x="32" y="196"/>
                    </a:lnTo>
                    <a:lnTo>
                      <a:pt x="32" y="192"/>
                    </a:lnTo>
                    <a:lnTo>
                      <a:pt x="32" y="188"/>
                    </a:lnTo>
                    <a:lnTo>
                      <a:pt x="36" y="188"/>
                    </a:lnTo>
                    <a:lnTo>
                      <a:pt x="36" y="184"/>
                    </a:lnTo>
                    <a:lnTo>
                      <a:pt x="40" y="180"/>
                    </a:lnTo>
                    <a:lnTo>
                      <a:pt x="40" y="176"/>
                    </a:lnTo>
                    <a:lnTo>
                      <a:pt x="40" y="172"/>
                    </a:lnTo>
                    <a:lnTo>
                      <a:pt x="40" y="168"/>
                    </a:lnTo>
                    <a:lnTo>
                      <a:pt x="36" y="168"/>
                    </a:lnTo>
                    <a:lnTo>
                      <a:pt x="36" y="164"/>
                    </a:lnTo>
                    <a:lnTo>
                      <a:pt x="40" y="164"/>
                    </a:lnTo>
                    <a:lnTo>
                      <a:pt x="40" y="160"/>
                    </a:lnTo>
                    <a:lnTo>
                      <a:pt x="40" y="156"/>
                    </a:lnTo>
                    <a:lnTo>
                      <a:pt x="36" y="156"/>
                    </a:lnTo>
                    <a:lnTo>
                      <a:pt x="36" y="152"/>
                    </a:lnTo>
                    <a:lnTo>
                      <a:pt x="40" y="152"/>
                    </a:lnTo>
                    <a:lnTo>
                      <a:pt x="40" y="148"/>
                    </a:lnTo>
                    <a:lnTo>
                      <a:pt x="44" y="144"/>
                    </a:lnTo>
                    <a:lnTo>
                      <a:pt x="40" y="144"/>
                    </a:lnTo>
                    <a:lnTo>
                      <a:pt x="40" y="140"/>
                    </a:lnTo>
                    <a:lnTo>
                      <a:pt x="40" y="136"/>
                    </a:lnTo>
                    <a:lnTo>
                      <a:pt x="40" y="132"/>
                    </a:lnTo>
                    <a:lnTo>
                      <a:pt x="40" y="128"/>
                    </a:lnTo>
                    <a:lnTo>
                      <a:pt x="40" y="124"/>
                    </a:lnTo>
                    <a:lnTo>
                      <a:pt x="40" y="120"/>
                    </a:lnTo>
                    <a:lnTo>
                      <a:pt x="40" y="116"/>
                    </a:lnTo>
                    <a:lnTo>
                      <a:pt x="36" y="116"/>
                    </a:lnTo>
                    <a:lnTo>
                      <a:pt x="36" y="112"/>
                    </a:lnTo>
                    <a:lnTo>
                      <a:pt x="32" y="112"/>
                    </a:lnTo>
                    <a:lnTo>
                      <a:pt x="32" y="108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0" y="104"/>
                    </a:lnTo>
                    <a:lnTo>
                      <a:pt x="16" y="104"/>
                    </a:lnTo>
                    <a:lnTo>
                      <a:pt x="16" y="100"/>
                    </a:lnTo>
                    <a:lnTo>
                      <a:pt x="12" y="100"/>
                    </a:lnTo>
                    <a:lnTo>
                      <a:pt x="8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0" y="84"/>
                    </a:lnTo>
                    <a:lnTo>
                      <a:pt x="0" y="80"/>
                    </a:lnTo>
                    <a:lnTo>
                      <a:pt x="4" y="80"/>
                    </a:lnTo>
                    <a:lnTo>
                      <a:pt x="8" y="80"/>
                    </a:lnTo>
                    <a:lnTo>
                      <a:pt x="8" y="76"/>
                    </a:lnTo>
                    <a:lnTo>
                      <a:pt x="12" y="76"/>
                    </a:lnTo>
                    <a:lnTo>
                      <a:pt x="16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4" y="72"/>
                    </a:lnTo>
                    <a:lnTo>
                      <a:pt x="28" y="72"/>
                    </a:lnTo>
                    <a:lnTo>
                      <a:pt x="32" y="68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8" y="68"/>
                    </a:lnTo>
                    <a:lnTo>
                      <a:pt x="48" y="72"/>
                    </a:lnTo>
                    <a:lnTo>
                      <a:pt x="52" y="72"/>
                    </a:lnTo>
                    <a:lnTo>
                      <a:pt x="56" y="72"/>
                    </a:lnTo>
                    <a:lnTo>
                      <a:pt x="60" y="72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80"/>
                    </a:lnTo>
                    <a:lnTo>
                      <a:pt x="64" y="84"/>
                    </a:lnTo>
                    <a:lnTo>
                      <a:pt x="64" y="88"/>
                    </a:lnTo>
                    <a:lnTo>
                      <a:pt x="64" y="92"/>
                    </a:lnTo>
                    <a:lnTo>
                      <a:pt x="64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4" y="104"/>
                    </a:lnTo>
                    <a:lnTo>
                      <a:pt x="64" y="108"/>
                    </a:lnTo>
                    <a:lnTo>
                      <a:pt x="68" y="108"/>
                    </a:lnTo>
                    <a:lnTo>
                      <a:pt x="68" y="112"/>
                    </a:lnTo>
                    <a:lnTo>
                      <a:pt x="72" y="116"/>
                    </a:lnTo>
                    <a:lnTo>
                      <a:pt x="72" y="120"/>
                    </a:lnTo>
                    <a:lnTo>
                      <a:pt x="72" y="124"/>
                    </a:lnTo>
                    <a:lnTo>
                      <a:pt x="76" y="124"/>
                    </a:lnTo>
                    <a:lnTo>
                      <a:pt x="76" y="120"/>
                    </a:lnTo>
                    <a:lnTo>
                      <a:pt x="76" y="116"/>
                    </a:lnTo>
                    <a:lnTo>
                      <a:pt x="76" y="112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76" y="104"/>
                    </a:lnTo>
                    <a:lnTo>
                      <a:pt x="80" y="104"/>
                    </a:lnTo>
                    <a:lnTo>
                      <a:pt x="84" y="104"/>
                    </a:lnTo>
                    <a:lnTo>
                      <a:pt x="84" y="100"/>
                    </a:lnTo>
                    <a:lnTo>
                      <a:pt x="84" y="92"/>
                    </a:lnTo>
                    <a:lnTo>
                      <a:pt x="84" y="88"/>
                    </a:lnTo>
                    <a:lnTo>
                      <a:pt x="84" y="84"/>
                    </a:lnTo>
                    <a:lnTo>
                      <a:pt x="84" y="80"/>
                    </a:lnTo>
                    <a:lnTo>
                      <a:pt x="84" y="76"/>
                    </a:lnTo>
                    <a:lnTo>
                      <a:pt x="80" y="68"/>
                    </a:lnTo>
                    <a:lnTo>
                      <a:pt x="76" y="60"/>
                    </a:lnTo>
                    <a:lnTo>
                      <a:pt x="72" y="60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4" y="52"/>
                    </a:lnTo>
                    <a:lnTo>
                      <a:pt x="64" y="48"/>
                    </a:lnTo>
                    <a:lnTo>
                      <a:pt x="64" y="44"/>
                    </a:lnTo>
                    <a:lnTo>
                      <a:pt x="64" y="40"/>
                    </a:lnTo>
                    <a:lnTo>
                      <a:pt x="64" y="36"/>
                    </a:lnTo>
                    <a:lnTo>
                      <a:pt x="64" y="32"/>
                    </a:lnTo>
                    <a:lnTo>
                      <a:pt x="60" y="32"/>
                    </a:lnTo>
                    <a:lnTo>
                      <a:pt x="60" y="28"/>
                    </a:lnTo>
                    <a:lnTo>
                      <a:pt x="64" y="28"/>
                    </a:lnTo>
                    <a:lnTo>
                      <a:pt x="64" y="24"/>
                    </a:lnTo>
                    <a:lnTo>
                      <a:pt x="64" y="20"/>
                    </a:lnTo>
                    <a:lnTo>
                      <a:pt x="68" y="20"/>
                    </a:lnTo>
                    <a:lnTo>
                      <a:pt x="72" y="20"/>
                    </a:lnTo>
                    <a:lnTo>
                      <a:pt x="76" y="20"/>
                    </a:lnTo>
                    <a:lnTo>
                      <a:pt x="80" y="20"/>
                    </a:lnTo>
                    <a:lnTo>
                      <a:pt x="84" y="16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6" y="20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8" y="20"/>
                    </a:lnTo>
                    <a:lnTo>
                      <a:pt x="112" y="20"/>
                    </a:lnTo>
                    <a:lnTo>
                      <a:pt x="116" y="20"/>
                    </a:lnTo>
                    <a:lnTo>
                      <a:pt x="116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16" y="12"/>
                    </a:lnTo>
                    <a:lnTo>
                      <a:pt x="120" y="12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6" y="12"/>
                    </a:lnTo>
                    <a:lnTo>
                      <a:pt x="136" y="8"/>
                    </a:lnTo>
                    <a:lnTo>
                      <a:pt x="140" y="8"/>
                    </a:lnTo>
                    <a:lnTo>
                      <a:pt x="144" y="8"/>
                    </a:lnTo>
                    <a:lnTo>
                      <a:pt x="144" y="4"/>
                    </a:lnTo>
                    <a:lnTo>
                      <a:pt x="148" y="4"/>
                    </a:lnTo>
                    <a:lnTo>
                      <a:pt x="152" y="0"/>
                    </a:lnTo>
                    <a:lnTo>
                      <a:pt x="156" y="0"/>
                    </a:lnTo>
                    <a:lnTo>
                      <a:pt x="156" y="4"/>
                    </a:lnTo>
                    <a:lnTo>
                      <a:pt x="156" y="8"/>
                    </a:lnTo>
                    <a:lnTo>
                      <a:pt x="156" y="12"/>
                    </a:lnTo>
                    <a:lnTo>
                      <a:pt x="152" y="12"/>
                    </a:lnTo>
                    <a:lnTo>
                      <a:pt x="152" y="16"/>
                    </a:lnTo>
                    <a:lnTo>
                      <a:pt x="156" y="16"/>
                    </a:lnTo>
                    <a:lnTo>
                      <a:pt x="152" y="20"/>
                    </a:lnTo>
                    <a:lnTo>
                      <a:pt x="156" y="24"/>
                    </a:lnTo>
                    <a:lnTo>
                      <a:pt x="156" y="32"/>
                    </a:lnTo>
                    <a:lnTo>
                      <a:pt x="156" y="36"/>
                    </a:lnTo>
                    <a:lnTo>
                      <a:pt x="156" y="40"/>
                    </a:lnTo>
                    <a:lnTo>
                      <a:pt x="156" y="44"/>
                    </a:lnTo>
                    <a:lnTo>
                      <a:pt x="152" y="44"/>
                    </a:lnTo>
                    <a:lnTo>
                      <a:pt x="156" y="44"/>
                    </a:lnTo>
                    <a:lnTo>
                      <a:pt x="156" y="48"/>
                    </a:lnTo>
                    <a:lnTo>
                      <a:pt x="156" y="52"/>
                    </a:lnTo>
                    <a:lnTo>
                      <a:pt x="156" y="56"/>
                    </a:lnTo>
                    <a:lnTo>
                      <a:pt x="156" y="60"/>
                    </a:lnTo>
                    <a:lnTo>
                      <a:pt x="156" y="64"/>
                    </a:lnTo>
                    <a:lnTo>
                      <a:pt x="156" y="68"/>
                    </a:lnTo>
                    <a:lnTo>
                      <a:pt x="160" y="68"/>
                    </a:lnTo>
                    <a:lnTo>
                      <a:pt x="160" y="72"/>
                    </a:lnTo>
                    <a:lnTo>
                      <a:pt x="156" y="72"/>
                    </a:lnTo>
                    <a:lnTo>
                      <a:pt x="160" y="72"/>
                    </a:lnTo>
                    <a:lnTo>
                      <a:pt x="160" y="76"/>
                    </a:lnTo>
                    <a:lnTo>
                      <a:pt x="160" y="80"/>
                    </a:lnTo>
                    <a:lnTo>
                      <a:pt x="160" y="84"/>
                    </a:lnTo>
                    <a:lnTo>
                      <a:pt x="156" y="84"/>
                    </a:lnTo>
                    <a:lnTo>
                      <a:pt x="156" y="88"/>
                    </a:lnTo>
                    <a:lnTo>
                      <a:pt x="156" y="84"/>
                    </a:lnTo>
                    <a:lnTo>
                      <a:pt x="156" y="88"/>
                    </a:lnTo>
                    <a:lnTo>
                      <a:pt x="156" y="92"/>
                    </a:lnTo>
                    <a:lnTo>
                      <a:pt x="152" y="92"/>
                    </a:lnTo>
                    <a:lnTo>
                      <a:pt x="152" y="96"/>
                    </a:lnTo>
                    <a:lnTo>
                      <a:pt x="148" y="100"/>
                    </a:lnTo>
                    <a:lnTo>
                      <a:pt x="148" y="104"/>
                    </a:lnTo>
                    <a:lnTo>
                      <a:pt x="144" y="104"/>
                    </a:lnTo>
                    <a:lnTo>
                      <a:pt x="144" y="108"/>
                    </a:lnTo>
                    <a:lnTo>
                      <a:pt x="144" y="112"/>
                    </a:lnTo>
                    <a:lnTo>
                      <a:pt x="140" y="112"/>
                    </a:lnTo>
                    <a:lnTo>
                      <a:pt x="136" y="116"/>
                    </a:lnTo>
                    <a:lnTo>
                      <a:pt x="132" y="116"/>
                    </a:lnTo>
                    <a:lnTo>
                      <a:pt x="132" y="120"/>
                    </a:lnTo>
                    <a:lnTo>
                      <a:pt x="128" y="120"/>
                    </a:lnTo>
                    <a:lnTo>
                      <a:pt x="124" y="124"/>
                    </a:lnTo>
                    <a:lnTo>
                      <a:pt x="120" y="124"/>
                    </a:lnTo>
                    <a:lnTo>
                      <a:pt x="116" y="124"/>
                    </a:lnTo>
                    <a:lnTo>
                      <a:pt x="116" y="128"/>
                    </a:lnTo>
                    <a:lnTo>
                      <a:pt x="112" y="128"/>
                    </a:lnTo>
                    <a:lnTo>
                      <a:pt x="108" y="132"/>
                    </a:lnTo>
                    <a:lnTo>
                      <a:pt x="104" y="132"/>
                    </a:lnTo>
                    <a:lnTo>
                      <a:pt x="104" y="136"/>
                    </a:lnTo>
                    <a:lnTo>
                      <a:pt x="100" y="140"/>
                    </a:lnTo>
                    <a:lnTo>
                      <a:pt x="100" y="136"/>
                    </a:lnTo>
                    <a:lnTo>
                      <a:pt x="100" y="140"/>
                    </a:lnTo>
                    <a:lnTo>
                      <a:pt x="100" y="144"/>
                    </a:lnTo>
                    <a:lnTo>
                      <a:pt x="96" y="148"/>
                    </a:lnTo>
                    <a:lnTo>
                      <a:pt x="92" y="148"/>
                    </a:lnTo>
                    <a:lnTo>
                      <a:pt x="92" y="152"/>
                    </a:lnTo>
                    <a:lnTo>
                      <a:pt x="92" y="156"/>
                    </a:lnTo>
                    <a:lnTo>
                      <a:pt x="88" y="156"/>
                    </a:lnTo>
                    <a:lnTo>
                      <a:pt x="88" y="152"/>
                    </a:lnTo>
                    <a:lnTo>
                      <a:pt x="88" y="156"/>
                    </a:lnTo>
                    <a:lnTo>
                      <a:pt x="84" y="156"/>
                    </a:lnTo>
                    <a:lnTo>
                      <a:pt x="84" y="160"/>
                    </a:lnTo>
                    <a:lnTo>
                      <a:pt x="80" y="160"/>
                    </a:lnTo>
                    <a:lnTo>
                      <a:pt x="80" y="164"/>
                    </a:lnTo>
                    <a:lnTo>
                      <a:pt x="76" y="168"/>
                    </a:lnTo>
                    <a:lnTo>
                      <a:pt x="72" y="172"/>
                    </a:lnTo>
                    <a:lnTo>
                      <a:pt x="68" y="172"/>
                    </a:lnTo>
                    <a:lnTo>
                      <a:pt x="64" y="168"/>
                    </a:lnTo>
                    <a:lnTo>
                      <a:pt x="64" y="172"/>
                    </a:lnTo>
                    <a:lnTo>
                      <a:pt x="68" y="172"/>
                    </a:lnTo>
                    <a:lnTo>
                      <a:pt x="68" y="176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8" y="188"/>
                    </a:lnTo>
                    <a:lnTo>
                      <a:pt x="72" y="188"/>
                    </a:lnTo>
                    <a:lnTo>
                      <a:pt x="72" y="192"/>
                    </a:lnTo>
                    <a:lnTo>
                      <a:pt x="72" y="196"/>
                    </a:lnTo>
                    <a:lnTo>
                      <a:pt x="72" y="200"/>
                    </a:lnTo>
                    <a:lnTo>
                      <a:pt x="72" y="204"/>
                    </a:lnTo>
                    <a:lnTo>
                      <a:pt x="76" y="204"/>
                    </a:lnTo>
                    <a:lnTo>
                      <a:pt x="76" y="208"/>
                    </a:lnTo>
                    <a:lnTo>
                      <a:pt x="76" y="212"/>
                    </a:lnTo>
                    <a:lnTo>
                      <a:pt x="76" y="216"/>
                    </a:lnTo>
                    <a:lnTo>
                      <a:pt x="76" y="220"/>
                    </a:lnTo>
                    <a:lnTo>
                      <a:pt x="76" y="224"/>
                    </a:lnTo>
                    <a:lnTo>
                      <a:pt x="76" y="220"/>
                    </a:lnTo>
                    <a:lnTo>
                      <a:pt x="76" y="216"/>
                    </a:lnTo>
                    <a:lnTo>
                      <a:pt x="80" y="216"/>
                    </a:lnTo>
                    <a:lnTo>
                      <a:pt x="80" y="220"/>
                    </a:lnTo>
                    <a:lnTo>
                      <a:pt x="80" y="224"/>
                    </a:lnTo>
                    <a:lnTo>
                      <a:pt x="80" y="228"/>
                    </a:lnTo>
                    <a:lnTo>
                      <a:pt x="80" y="232"/>
                    </a:lnTo>
                    <a:lnTo>
                      <a:pt x="80" y="236"/>
                    </a:lnTo>
                    <a:lnTo>
                      <a:pt x="80" y="240"/>
                    </a:lnTo>
                    <a:lnTo>
                      <a:pt x="76" y="244"/>
                    </a:lnTo>
                    <a:lnTo>
                      <a:pt x="76" y="248"/>
                    </a:lnTo>
                    <a:lnTo>
                      <a:pt x="76" y="252"/>
                    </a:lnTo>
                    <a:lnTo>
                      <a:pt x="76" y="248"/>
                    </a:lnTo>
                    <a:lnTo>
                      <a:pt x="80" y="248"/>
                    </a:lnTo>
                    <a:lnTo>
                      <a:pt x="80" y="252"/>
                    </a:lnTo>
                    <a:lnTo>
                      <a:pt x="80" y="256"/>
                    </a:lnTo>
                    <a:lnTo>
                      <a:pt x="76" y="256"/>
                    </a:lnTo>
                    <a:lnTo>
                      <a:pt x="76" y="260"/>
                    </a:lnTo>
                    <a:lnTo>
                      <a:pt x="76" y="264"/>
                    </a:lnTo>
                    <a:lnTo>
                      <a:pt x="72" y="264"/>
                    </a:lnTo>
                    <a:lnTo>
                      <a:pt x="68" y="268"/>
                    </a:lnTo>
                    <a:lnTo>
                      <a:pt x="64" y="268"/>
                    </a:lnTo>
                    <a:lnTo>
                      <a:pt x="60" y="268"/>
                    </a:lnTo>
                    <a:lnTo>
                      <a:pt x="60" y="272"/>
                    </a:lnTo>
                    <a:lnTo>
                      <a:pt x="56" y="272"/>
                    </a:lnTo>
                    <a:lnTo>
                      <a:pt x="52" y="272"/>
                    </a:lnTo>
                    <a:lnTo>
                      <a:pt x="48" y="276"/>
                    </a:lnTo>
                    <a:lnTo>
                      <a:pt x="44" y="276"/>
                    </a:lnTo>
                    <a:lnTo>
                      <a:pt x="44" y="280"/>
                    </a:lnTo>
                    <a:lnTo>
                      <a:pt x="40" y="280"/>
                    </a:lnTo>
                    <a:lnTo>
                      <a:pt x="40" y="284"/>
                    </a:lnTo>
                    <a:lnTo>
                      <a:pt x="36" y="284"/>
                    </a:lnTo>
                    <a:lnTo>
                      <a:pt x="36" y="288"/>
                    </a:lnTo>
                    <a:lnTo>
                      <a:pt x="36" y="292"/>
                    </a:lnTo>
                    <a:lnTo>
                      <a:pt x="36" y="296"/>
                    </a:lnTo>
                    <a:lnTo>
                      <a:pt x="40" y="296"/>
                    </a:lnTo>
                    <a:lnTo>
                      <a:pt x="40" y="292"/>
                    </a:lnTo>
                    <a:lnTo>
                      <a:pt x="40" y="296"/>
                    </a:lnTo>
                    <a:lnTo>
                      <a:pt x="40" y="303"/>
                    </a:lnTo>
                    <a:lnTo>
                      <a:pt x="40" y="307"/>
                    </a:lnTo>
                    <a:lnTo>
                      <a:pt x="36" y="307"/>
                    </a:lnTo>
                    <a:lnTo>
                      <a:pt x="32" y="307"/>
                    </a:lnTo>
                    <a:lnTo>
                      <a:pt x="28" y="307"/>
                    </a:lnTo>
                    <a:close/>
                    <a:moveTo>
                      <a:pt x="80" y="212"/>
                    </a:moveTo>
                    <a:lnTo>
                      <a:pt x="76" y="212"/>
                    </a:lnTo>
                    <a:lnTo>
                      <a:pt x="76" y="208"/>
                    </a:lnTo>
                    <a:lnTo>
                      <a:pt x="80" y="204"/>
                    </a:lnTo>
                    <a:lnTo>
                      <a:pt x="80" y="208"/>
                    </a:lnTo>
                    <a:lnTo>
                      <a:pt x="80" y="212"/>
                    </a:lnTo>
                    <a:close/>
                  </a:path>
                </a:pathLst>
              </a:custGeom>
              <a:solidFill>
                <a:srgbClr val="97D700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0" name="Freeform 150">
                <a:extLst>
                  <a:ext uri="{FF2B5EF4-FFF2-40B4-BE49-F238E27FC236}">
                    <a16:creationId xmlns:a16="http://schemas.microsoft.com/office/drawing/2014/main" id="{3182195B-8755-469B-917C-BF759EF7D813}"/>
                  </a:ext>
                </a:extLst>
              </p:cNvPr>
              <p:cNvSpPr>
                <a:spLocks/>
              </p:cNvSpPr>
              <p:nvPr>
                <p:custDataLst>
                  <p:tags r:id="rId70"/>
                </p:custDataLst>
              </p:nvPr>
            </p:nvSpPr>
            <p:spPr bwMode="gray">
              <a:xfrm>
                <a:off x="4013629" y="6360231"/>
                <a:ext cx="262206" cy="286157"/>
              </a:xfrm>
              <a:custGeom>
                <a:avLst/>
                <a:gdLst/>
                <a:ahLst/>
                <a:cxnLst>
                  <a:cxn ang="0">
                    <a:pos x="128" y="132"/>
                  </a:cxn>
                  <a:cxn ang="0">
                    <a:pos x="128" y="148"/>
                  </a:cxn>
                  <a:cxn ang="0">
                    <a:pos x="128" y="164"/>
                  </a:cxn>
                  <a:cxn ang="0">
                    <a:pos x="128" y="195"/>
                  </a:cxn>
                  <a:cxn ang="0">
                    <a:pos x="128" y="215"/>
                  </a:cxn>
                  <a:cxn ang="0">
                    <a:pos x="116" y="223"/>
                  </a:cxn>
                  <a:cxn ang="0">
                    <a:pos x="104" y="227"/>
                  </a:cxn>
                  <a:cxn ang="0">
                    <a:pos x="92" y="223"/>
                  </a:cxn>
                  <a:cxn ang="0">
                    <a:pos x="88" y="211"/>
                  </a:cxn>
                  <a:cxn ang="0">
                    <a:pos x="80" y="211"/>
                  </a:cxn>
                  <a:cxn ang="0">
                    <a:pos x="72" y="219"/>
                  </a:cxn>
                  <a:cxn ang="0">
                    <a:pos x="64" y="207"/>
                  </a:cxn>
                  <a:cxn ang="0">
                    <a:pos x="60" y="203"/>
                  </a:cxn>
                  <a:cxn ang="0">
                    <a:pos x="56" y="187"/>
                  </a:cxn>
                  <a:cxn ang="0">
                    <a:pos x="52" y="176"/>
                  </a:cxn>
                  <a:cxn ang="0">
                    <a:pos x="48" y="164"/>
                  </a:cxn>
                  <a:cxn ang="0">
                    <a:pos x="48" y="148"/>
                  </a:cxn>
                  <a:cxn ang="0">
                    <a:pos x="44" y="136"/>
                  </a:cxn>
                  <a:cxn ang="0">
                    <a:pos x="44" y="120"/>
                  </a:cxn>
                  <a:cxn ang="0">
                    <a:pos x="44" y="104"/>
                  </a:cxn>
                  <a:cxn ang="0">
                    <a:pos x="36" y="92"/>
                  </a:cxn>
                  <a:cxn ang="0">
                    <a:pos x="32" y="80"/>
                  </a:cxn>
                  <a:cxn ang="0">
                    <a:pos x="24" y="68"/>
                  </a:cxn>
                  <a:cxn ang="0">
                    <a:pos x="20" y="56"/>
                  </a:cxn>
                  <a:cxn ang="0">
                    <a:pos x="16" y="44"/>
                  </a:cxn>
                  <a:cxn ang="0">
                    <a:pos x="8" y="32"/>
                  </a:cxn>
                  <a:cxn ang="0">
                    <a:pos x="4" y="20"/>
                  </a:cxn>
                  <a:cxn ang="0">
                    <a:pos x="4" y="8"/>
                  </a:cxn>
                  <a:cxn ang="0">
                    <a:pos x="16" y="4"/>
                  </a:cxn>
                  <a:cxn ang="0">
                    <a:pos x="32" y="4"/>
                  </a:cxn>
                  <a:cxn ang="0">
                    <a:pos x="44" y="8"/>
                  </a:cxn>
                  <a:cxn ang="0">
                    <a:pos x="68" y="8"/>
                  </a:cxn>
                  <a:cxn ang="0">
                    <a:pos x="96" y="8"/>
                  </a:cxn>
                  <a:cxn ang="0">
                    <a:pos x="108" y="16"/>
                  </a:cxn>
                  <a:cxn ang="0">
                    <a:pos x="124" y="16"/>
                  </a:cxn>
                  <a:cxn ang="0">
                    <a:pos x="136" y="20"/>
                  </a:cxn>
                  <a:cxn ang="0">
                    <a:pos x="148" y="20"/>
                  </a:cxn>
                  <a:cxn ang="0">
                    <a:pos x="172" y="12"/>
                  </a:cxn>
                  <a:cxn ang="0">
                    <a:pos x="188" y="8"/>
                  </a:cxn>
                  <a:cxn ang="0">
                    <a:pos x="204" y="8"/>
                  </a:cxn>
                  <a:cxn ang="0">
                    <a:pos x="200" y="16"/>
                  </a:cxn>
                  <a:cxn ang="0">
                    <a:pos x="192" y="20"/>
                  </a:cxn>
                  <a:cxn ang="0">
                    <a:pos x="184" y="28"/>
                  </a:cxn>
                  <a:cxn ang="0">
                    <a:pos x="176" y="20"/>
                  </a:cxn>
                  <a:cxn ang="0">
                    <a:pos x="156" y="24"/>
                  </a:cxn>
                  <a:cxn ang="0">
                    <a:pos x="144" y="32"/>
                  </a:cxn>
                  <a:cxn ang="0">
                    <a:pos x="144" y="72"/>
                  </a:cxn>
                  <a:cxn ang="0">
                    <a:pos x="144" y="92"/>
                  </a:cxn>
                  <a:cxn ang="0">
                    <a:pos x="132" y="96"/>
                  </a:cxn>
                  <a:cxn ang="0">
                    <a:pos x="128" y="108"/>
                  </a:cxn>
                </a:cxnLst>
                <a:rect l="0" t="0" r="r" b="b"/>
                <a:pathLst>
                  <a:path w="208" h="227">
                    <a:moveTo>
                      <a:pt x="128" y="120"/>
                    </a:moveTo>
                    <a:lnTo>
                      <a:pt x="128" y="124"/>
                    </a:lnTo>
                    <a:lnTo>
                      <a:pt x="128" y="128"/>
                    </a:lnTo>
                    <a:lnTo>
                      <a:pt x="128" y="132"/>
                    </a:lnTo>
                    <a:lnTo>
                      <a:pt x="128" y="136"/>
                    </a:lnTo>
                    <a:lnTo>
                      <a:pt x="128" y="140"/>
                    </a:lnTo>
                    <a:lnTo>
                      <a:pt x="128" y="144"/>
                    </a:lnTo>
                    <a:lnTo>
                      <a:pt x="128" y="148"/>
                    </a:lnTo>
                    <a:lnTo>
                      <a:pt x="128" y="152"/>
                    </a:lnTo>
                    <a:lnTo>
                      <a:pt x="128" y="156"/>
                    </a:lnTo>
                    <a:lnTo>
                      <a:pt x="128" y="160"/>
                    </a:lnTo>
                    <a:lnTo>
                      <a:pt x="128" y="164"/>
                    </a:lnTo>
                    <a:lnTo>
                      <a:pt x="128" y="168"/>
                    </a:lnTo>
                    <a:lnTo>
                      <a:pt x="128" y="179"/>
                    </a:lnTo>
                    <a:lnTo>
                      <a:pt x="128" y="191"/>
                    </a:lnTo>
                    <a:lnTo>
                      <a:pt x="128" y="195"/>
                    </a:lnTo>
                    <a:lnTo>
                      <a:pt x="128" y="199"/>
                    </a:lnTo>
                    <a:lnTo>
                      <a:pt x="128" y="207"/>
                    </a:lnTo>
                    <a:lnTo>
                      <a:pt x="128" y="211"/>
                    </a:lnTo>
                    <a:lnTo>
                      <a:pt x="128" y="215"/>
                    </a:lnTo>
                    <a:lnTo>
                      <a:pt x="124" y="219"/>
                    </a:lnTo>
                    <a:lnTo>
                      <a:pt x="120" y="219"/>
                    </a:lnTo>
                    <a:lnTo>
                      <a:pt x="120" y="223"/>
                    </a:lnTo>
                    <a:lnTo>
                      <a:pt x="116" y="223"/>
                    </a:lnTo>
                    <a:lnTo>
                      <a:pt x="116" y="227"/>
                    </a:lnTo>
                    <a:lnTo>
                      <a:pt x="112" y="227"/>
                    </a:lnTo>
                    <a:lnTo>
                      <a:pt x="108" y="223"/>
                    </a:lnTo>
                    <a:lnTo>
                      <a:pt x="104" y="227"/>
                    </a:lnTo>
                    <a:lnTo>
                      <a:pt x="100" y="227"/>
                    </a:lnTo>
                    <a:lnTo>
                      <a:pt x="96" y="227"/>
                    </a:lnTo>
                    <a:lnTo>
                      <a:pt x="96" y="223"/>
                    </a:lnTo>
                    <a:lnTo>
                      <a:pt x="92" y="223"/>
                    </a:lnTo>
                    <a:lnTo>
                      <a:pt x="88" y="223"/>
                    </a:lnTo>
                    <a:lnTo>
                      <a:pt x="88" y="219"/>
                    </a:lnTo>
                    <a:lnTo>
                      <a:pt x="88" y="215"/>
                    </a:lnTo>
                    <a:lnTo>
                      <a:pt x="88" y="211"/>
                    </a:lnTo>
                    <a:lnTo>
                      <a:pt x="88" y="215"/>
                    </a:lnTo>
                    <a:lnTo>
                      <a:pt x="84" y="215"/>
                    </a:lnTo>
                    <a:lnTo>
                      <a:pt x="84" y="211"/>
                    </a:lnTo>
                    <a:lnTo>
                      <a:pt x="80" y="211"/>
                    </a:lnTo>
                    <a:lnTo>
                      <a:pt x="80" y="215"/>
                    </a:lnTo>
                    <a:lnTo>
                      <a:pt x="80" y="219"/>
                    </a:lnTo>
                    <a:lnTo>
                      <a:pt x="76" y="219"/>
                    </a:lnTo>
                    <a:lnTo>
                      <a:pt x="72" y="219"/>
                    </a:lnTo>
                    <a:lnTo>
                      <a:pt x="68" y="215"/>
                    </a:lnTo>
                    <a:lnTo>
                      <a:pt x="68" y="211"/>
                    </a:lnTo>
                    <a:lnTo>
                      <a:pt x="64" y="211"/>
                    </a:lnTo>
                    <a:lnTo>
                      <a:pt x="64" y="207"/>
                    </a:lnTo>
                    <a:lnTo>
                      <a:pt x="60" y="207"/>
                    </a:lnTo>
                    <a:lnTo>
                      <a:pt x="64" y="207"/>
                    </a:lnTo>
                    <a:lnTo>
                      <a:pt x="60" y="207"/>
                    </a:lnTo>
                    <a:lnTo>
                      <a:pt x="60" y="203"/>
                    </a:lnTo>
                    <a:lnTo>
                      <a:pt x="56" y="199"/>
                    </a:lnTo>
                    <a:lnTo>
                      <a:pt x="56" y="195"/>
                    </a:lnTo>
                    <a:lnTo>
                      <a:pt x="56" y="191"/>
                    </a:lnTo>
                    <a:lnTo>
                      <a:pt x="56" y="187"/>
                    </a:lnTo>
                    <a:lnTo>
                      <a:pt x="52" y="183"/>
                    </a:lnTo>
                    <a:lnTo>
                      <a:pt x="56" y="183"/>
                    </a:lnTo>
                    <a:lnTo>
                      <a:pt x="52" y="179"/>
                    </a:lnTo>
                    <a:lnTo>
                      <a:pt x="52" y="176"/>
                    </a:lnTo>
                    <a:lnTo>
                      <a:pt x="52" y="172"/>
                    </a:lnTo>
                    <a:lnTo>
                      <a:pt x="52" y="168"/>
                    </a:lnTo>
                    <a:lnTo>
                      <a:pt x="48" y="168"/>
                    </a:lnTo>
                    <a:lnTo>
                      <a:pt x="48" y="164"/>
                    </a:lnTo>
                    <a:lnTo>
                      <a:pt x="48" y="160"/>
                    </a:lnTo>
                    <a:lnTo>
                      <a:pt x="48" y="156"/>
                    </a:lnTo>
                    <a:lnTo>
                      <a:pt x="48" y="152"/>
                    </a:lnTo>
                    <a:lnTo>
                      <a:pt x="48" y="148"/>
                    </a:lnTo>
                    <a:lnTo>
                      <a:pt x="48" y="144"/>
                    </a:lnTo>
                    <a:lnTo>
                      <a:pt x="44" y="144"/>
                    </a:lnTo>
                    <a:lnTo>
                      <a:pt x="44" y="140"/>
                    </a:lnTo>
                    <a:lnTo>
                      <a:pt x="44" y="136"/>
                    </a:lnTo>
                    <a:lnTo>
                      <a:pt x="44" y="132"/>
                    </a:lnTo>
                    <a:lnTo>
                      <a:pt x="44" y="128"/>
                    </a:lnTo>
                    <a:lnTo>
                      <a:pt x="44" y="124"/>
                    </a:lnTo>
                    <a:lnTo>
                      <a:pt x="44" y="120"/>
                    </a:lnTo>
                    <a:lnTo>
                      <a:pt x="44" y="116"/>
                    </a:lnTo>
                    <a:lnTo>
                      <a:pt x="44" y="112"/>
                    </a:lnTo>
                    <a:lnTo>
                      <a:pt x="44" y="108"/>
                    </a:lnTo>
                    <a:lnTo>
                      <a:pt x="44" y="104"/>
                    </a:lnTo>
                    <a:lnTo>
                      <a:pt x="44" y="100"/>
                    </a:lnTo>
                    <a:lnTo>
                      <a:pt x="40" y="96"/>
                    </a:lnTo>
                    <a:lnTo>
                      <a:pt x="40" y="92"/>
                    </a:lnTo>
                    <a:lnTo>
                      <a:pt x="36" y="92"/>
                    </a:lnTo>
                    <a:lnTo>
                      <a:pt x="36" y="88"/>
                    </a:lnTo>
                    <a:lnTo>
                      <a:pt x="36" y="84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28" y="72"/>
                    </a:lnTo>
                    <a:lnTo>
                      <a:pt x="28" y="68"/>
                    </a:lnTo>
                    <a:lnTo>
                      <a:pt x="24" y="68"/>
                    </a:lnTo>
                    <a:lnTo>
                      <a:pt x="24" y="64"/>
                    </a:lnTo>
                    <a:lnTo>
                      <a:pt x="24" y="60"/>
                    </a:lnTo>
                    <a:lnTo>
                      <a:pt x="24" y="56"/>
                    </a:lnTo>
                    <a:lnTo>
                      <a:pt x="20" y="56"/>
                    </a:lnTo>
                    <a:lnTo>
                      <a:pt x="20" y="52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2" y="36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8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60" y="8"/>
                    </a:lnTo>
                    <a:lnTo>
                      <a:pt x="68" y="8"/>
                    </a:lnTo>
                    <a:lnTo>
                      <a:pt x="76" y="8"/>
                    </a:lnTo>
                    <a:lnTo>
                      <a:pt x="88" y="8"/>
                    </a:lnTo>
                    <a:lnTo>
                      <a:pt x="92" y="8"/>
                    </a:lnTo>
                    <a:lnTo>
                      <a:pt x="96" y="8"/>
                    </a:lnTo>
                    <a:lnTo>
                      <a:pt x="100" y="8"/>
                    </a:lnTo>
                    <a:lnTo>
                      <a:pt x="104" y="8"/>
                    </a:lnTo>
                    <a:lnTo>
                      <a:pt x="108" y="12"/>
                    </a:lnTo>
                    <a:lnTo>
                      <a:pt x="108" y="16"/>
                    </a:lnTo>
                    <a:lnTo>
                      <a:pt x="112" y="16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6"/>
                    </a:lnTo>
                    <a:lnTo>
                      <a:pt x="132" y="16"/>
                    </a:lnTo>
                    <a:lnTo>
                      <a:pt x="136" y="16"/>
                    </a:lnTo>
                    <a:lnTo>
                      <a:pt x="136" y="20"/>
                    </a:lnTo>
                    <a:lnTo>
                      <a:pt x="140" y="20"/>
                    </a:lnTo>
                    <a:lnTo>
                      <a:pt x="144" y="16"/>
                    </a:lnTo>
                    <a:lnTo>
                      <a:pt x="148" y="16"/>
                    </a:lnTo>
                    <a:lnTo>
                      <a:pt x="148" y="20"/>
                    </a:lnTo>
                    <a:lnTo>
                      <a:pt x="156" y="16"/>
                    </a:lnTo>
                    <a:lnTo>
                      <a:pt x="164" y="16"/>
                    </a:lnTo>
                    <a:lnTo>
                      <a:pt x="168" y="16"/>
                    </a:lnTo>
                    <a:lnTo>
                      <a:pt x="172" y="12"/>
                    </a:lnTo>
                    <a:lnTo>
                      <a:pt x="176" y="12"/>
                    </a:lnTo>
                    <a:lnTo>
                      <a:pt x="180" y="12"/>
                    </a:lnTo>
                    <a:lnTo>
                      <a:pt x="184" y="12"/>
                    </a:lnTo>
                    <a:lnTo>
                      <a:pt x="188" y="8"/>
                    </a:lnTo>
                    <a:lnTo>
                      <a:pt x="192" y="8"/>
                    </a:lnTo>
                    <a:lnTo>
                      <a:pt x="196" y="8"/>
                    </a:lnTo>
                    <a:lnTo>
                      <a:pt x="200" y="8"/>
                    </a:lnTo>
                    <a:lnTo>
                      <a:pt x="204" y="8"/>
                    </a:lnTo>
                    <a:lnTo>
                      <a:pt x="204" y="12"/>
                    </a:lnTo>
                    <a:lnTo>
                      <a:pt x="208" y="16"/>
                    </a:lnTo>
                    <a:lnTo>
                      <a:pt x="204" y="16"/>
                    </a:lnTo>
                    <a:lnTo>
                      <a:pt x="200" y="16"/>
                    </a:lnTo>
                    <a:lnTo>
                      <a:pt x="196" y="20"/>
                    </a:lnTo>
                    <a:lnTo>
                      <a:pt x="196" y="16"/>
                    </a:lnTo>
                    <a:lnTo>
                      <a:pt x="192" y="16"/>
                    </a:lnTo>
                    <a:lnTo>
                      <a:pt x="192" y="20"/>
                    </a:lnTo>
                    <a:lnTo>
                      <a:pt x="188" y="20"/>
                    </a:lnTo>
                    <a:lnTo>
                      <a:pt x="188" y="24"/>
                    </a:lnTo>
                    <a:lnTo>
                      <a:pt x="184" y="24"/>
                    </a:lnTo>
                    <a:lnTo>
                      <a:pt x="184" y="28"/>
                    </a:lnTo>
                    <a:lnTo>
                      <a:pt x="180" y="28"/>
                    </a:lnTo>
                    <a:lnTo>
                      <a:pt x="180" y="24"/>
                    </a:lnTo>
                    <a:lnTo>
                      <a:pt x="180" y="20"/>
                    </a:lnTo>
                    <a:lnTo>
                      <a:pt x="176" y="20"/>
                    </a:lnTo>
                    <a:lnTo>
                      <a:pt x="168" y="20"/>
                    </a:lnTo>
                    <a:lnTo>
                      <a:pt x="164" y="20"/>
                    </a:lnTo>
                    <a:lnTo>
                      <a:pt x="160" y="20"/>
                    </a:lnTo>
                    <a:lnTo>
                      <a:pt x="156" y="24"/>
                    </a:lnTo>
                    <a:lnTo>
                      <a:pt x="148" y="24"/>
                    </a:lnTo>
                    <a:lnTo>
                      <a:pt x="144" y="24"/>
                    </a:lnTo>
                    <a:lnTo>
                      <a:pt x="144" y="28"/>
                    </a:lnTo>
                    <a:lnTo>
                      <a:pt x="144" y="32"/>
                    </a:lnTo>
                    <a:lnTo>
                      <a:pt x="144" y="40"/>
                    </a:lnTo>
                    <a:lnTo>
                      <a:pt x="144" y="56"/>
                    </a:lnTo>
                    <a:lnTo>
                      <a:pt x="144" y="60"/>
                    </a:lnTo>
                    <a:lnTo>
                      <a:pt x="144" y="72"/>
                    </a:lnTo>
                    <a:lnTo>
                      <a:pt x="144" y="76"/>
                    </a:lnTo>
                    <a:lnTo>
                      <a:pt x="144" y="80"/>
                    </a:lnTo>
                    <a:lnTo>
                      <a:pt x="144" y="88"/>
                    </a:lnTo>
                    <a:lnTo>
                      <a:pt x="144" y="92"/>
                    </a:lnTo>
                    <a:lnTo>
                      <a:pt x="144" y="96"/>
                    </a:lnTo>
                    <a:lnTo>
                      <a:pt x="140" y="96"/>
                    </a:lnTo>
                    <a:lnTo>
                      <a:pt x="136" y="96"/>
                    </a:lnTo>
                    <a:lnTo>
                      <a:pt x="132" y="96"/>
                    </a:lnTo>
                    <a:lnTo>
                      <a:pt x="128" y="96"/>
                    </a:lnTo>
                    <a:lnTo>
                      <a:pt x="128" y="100"/>
                    </a:lnTo>
                    <a:lnTo>
                      <a:pt x="128" y="104"/>
                    </a:lnTo>
                    <a:lnTo>
                      <a:pt x="128" y="108"/>
                    </a:lnTo>
                    <a:lnTo>
                      <a:pt x="128" y="112"/>
                    </a:lnTo>
                    <a:lnTo>
                      <a:pt x="128" y="116"/>
                    </a:lnTo>
                    <a:lnTo>
                      <a:pt x="128" y="12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1" name="Freeform 151">
                <a:extLst>
                  <a:ext uri="{FF2B5EF4-FFF2-40B4-BE49-F238E27FC236}">
                    <a16:creationId xmlns:a16="http://schemas.microsoft.com/office/drawing/2014/main" id="{9DC6BF91-60B7-4B2E-8F3C-2726E715F2B8}"/>
                  </a:ext>
                </a:extLst>
              </p:cNvPr>
              <p:cNvSpPr>
                <a:spLocks/>
              </p:cNvSpPr>
              <p:nvPr>
                <p:custDataLst>
                  <p:tags r:id="rId71"/>
                </p:custDataLst>
              </p:nvPr>
            </p:nvSpPr>
            <p:spPr bwMode="gray">
              <a:xfrm>
                <a:off x="3798066" y="5414778"/>
                <a:ext cx="301284" cy="281114"/>
              </a:xfrm>
              <a:custGeom>
                <a:avLst/>
                <a:gdLst/>
                <a:ahLst/>
                <a:cxnLst>
                  <a:cxn ang="0">
                    <a:pos x="91" y="187"/>
                  </a:cxn>
                  <a:cxn ang="0">
                    <a:pos x="87" y="183"/>
                  </a:cxn>
                  <a:cxn ang="0">
                    <a:pos x="75" y="183"/>
                  </a:cxn>
                  <a:cxn ang="0">
                    <a:pos x="64" y="183"/>
                  </a:cxn>
                  <a:cxn ang="0">
                    <a:pos x="56" y="199"/>
                  </a:cxn>
                  <a:cxn ang="0">
                    <a:pos x="52" y="215"/>
                  </a:cxn>
                  <a:cxn ang="0">
                    <a:pos x="52" y="223"/>
                  </a:cxn>
                  <a:cxn ang="0">
                    <a:pos x="48" y="219"/>
                  </a:cxn>
                  <a:cxn ang="0">
                    <a:pos x="40" y="211"/>
                  </a:cxn>
                  <a:cxn ang="0">
                    <a:pos x="32" y="211"/>
                  </a:cxn>
                  <a:cxn ang="0">
                    <a:pos x="32" y="215"/>
                  </a:cxn>
                  <a:cxn ang="0">
                    <a:pos x="28" y="203"/>
                  </a:cxn>
                  <a:cxn ang="0">
                    <a:pos x="16" y="199"/>
                  </a:cxn>
                  <a:cxn ang="0">
                    <a:pos x="12" y="191"/>
                  </a:cxn>
                  <a:cxn ang="0">
                    <a:pos x="16" y="191"/>
                  </a:cxn>
                  <a:cxn ang="0">
                    <a:pos x="8" y="187"/>
                  </a:cxn>
                  <a:cxn ang="0">
                    <a:pos x="4" y="175"/>
                  </a:cxn>
                  <a:cxn ang="0">
                    <a:pos x="0" y="167"/>
                  </a:cxn>
                  <a:cxn ang="0">
                    <a:pos x="0" y="159"/>
                  </a:cxn>
                  <a:cxn ang="0">
                    <a:pos x="4" y="163"/>
                  </a:cxn>
                  <a:cxn ang="0">
                    <a:pos x="12" y="159"/>
                  </a:cxn>
                  <a:cxn ang="0">
                    <a:pos x="40" y="155"/>
                  </a:cxn>
                  <a:cxn ang="0">
                    <a:pos x="52" y="151"/>
                  </a:cxn>
                  <a:cxn ang="0">
                    <a:pos x="56" y="147"/>
                  </a:cxn>
                  <a:cxn ang="0">
                    <a:pos x="60" y="135"/>
                  </a:cxn>
                  <a:cxn ang="0">
                    <a:pos x="60" y="119"/>
                  </a:cxn>
                  <a:cxn ang="0">
                    <a:pos x="60" y="83"/>
                  </a:cxn>
                  <a:cxn ang="0">
                    <a:pos x="79" y="79"/>
                  </a:cxn>
                  <a:cxn ang="0">
                    <a:pos x="95" y="63"/>
                  </a:cxn>
                  <a:cxn ang="0">
                    <a:pos x="127" y="40"/>
                  </a:cxn>
                  <a:cxn ang="0">
                    <a:pos x="155" y="16"/>
                  </a:cxn>
                  <a:cxn ang="0">
                    <a:pos x="179" y="0"/>
                  </a:cxn>
                  <a:cxn ang="0">
                    <a:pos x="195" y="4"/>
                  </a:cxn>
                  <a:cxn ang="0">
                    <a:pos x="203" y="8"/>
                  </a:cxn>
                  <a:cxn ang="0">
                    <a:pos x="219" y="12"/>
                  </a:cxn>
                  <a:cxn ang="0">
                    <a:pos x="227" y="28"/>
                  </a:cxn>
                  <a:cxn ang="0">
                    <a:pos x="231" y="48"/>
                  </a:cxn>
                  <a:cxn ang="0">
                    <a:pos x="231" y="52"/>
                  </a:cxn>
                  <a:cxn ang="0">
                    <a:pos x="235" y="63"/>
                  </a:cxn>
                  <a:cxn ang="0">
                    <a:pos x="231" y="91"/>
                  </a:cxn>
                  <a:cxn ang="0">
                    <a:pos x="231" y="127"/>
                  </a:cxn>
                  <a:cxn ang="0">
                    <a:pos x="215" y="147"/>
                  </a:cxn>
                  <a:cxn ang="0">
                    <a:pos x="203" y="163"/>
                  </a:cxn>
                  <a:cxn ang="0">
                    <a:pos x="203" y="171"/>
                  </a:cxn>
                  <a:cxn ang="0">
                    <a:pos x="199" y="171"/>
                  </a:cxn>
                  <a:cxn ang="0">
                    <a:pos x="195" y="187"/>
                  </a:cxn>
                  <a:cxn ang="0">
                    <a:pos x="187" y="191"/>
                  </a:cxn>
                  <a:cxn ang="0">
                    <a:pos x="187" y="195"/>
                  </a:cxn>
                  <a:cxn ang="0">
                    <a:pos x="175" y="195"/>
                  </a:cxn>
                  <a:cxn ang="0">
                    <a:pos x="167" y="191"/>
                  </a:cxn>
                  <a:cxn ang="0">
                    <a:pos x="163" y="191"/>
                  </a:cxn>
                  <a:cxn ang="0">
                    <a:pos x="159" y="191"/>
                  </a:cxn>
                  <a:cxn ang="0">
                    <a:pos x="155" y="191"/>
                  </a:cxn>
                  <a:cxn ang="0">
                    <a:pos x="147" y="195"/>
                  </a:cxn>
                  <a:cxn ang="0">
                    <a:pos x="143" y="203"/>
                  </a:cxn>
                  <a:cxn ang="0">
                    <a:pos x="131" y="199"/>
                  </a:cxn>
                  <a:cxn ang="0">
                    <a:pos x="123" y="195"/>
                  </a:cxn>
                  <a:cxn ang="0">
                    <a:pos x="119" y="195"/>
                  </a:cxn>
                  <a:cxn ang="0">
                    <a:pos x="107" y="195"/>
                  </a:cxn>
                </a:cxnLst>
                <a:rect l="0" t="0" r="r" b="b"/>
                <a:pathLst>
                  <a:path w="239" h="223">
                    <a:moveTo>
                      <a:pt x="103" y="199"/>
                    </a:moveTo>
                    <a:lnTo>
                      <a:pt x="99" y="199"/>
                    </a:lnTo>
                    <a:lnTo>
                      <a:pt x="99" y="195"/>
                    </a:lnTo>
                    <a:lnTo>
                      <a:pt x="99" y="195"/>
                    </a:lnTo>
                    <a:lnTo>
                      <a:pt x="95" y="191"/>
                    </a:lnTo>
                    <a:lnTo>
                      <a:pt x="95" y="191"/>
                    </a:lnTo>
                    <a:lnTo>
                      <a:pt x="91" y="187"/>
                    </a:lnTo>
                    <a:lnTo>
                      <a:pt x="91" y="187"/>
                    </a:lnTo>
                    <a:lnTo>
                      <a:pt x="91" y="187"/>
                    </a:lnTo>
                    <a:lnTo>
                      <a:pt x="91" y="187"/>
                    </a:lnTo>
                    <a:lnTo>
                      <a:pt x="91" y="187"/>
                    </a:lnTo>
                    <a:lnTo>
                      <a:pt x="87" y="187"/>
                    </a:lnTo>
                    <a:lnTo>
                      <a:pt x="87" y="183"/>
                    </a:lnTo>
                    <a:lnTo>
                      <a:pt x="87" y="183"/>
                    </a:lnTo>
                    <a:lnTo>
                      <a:pt x="83" y="183"/>
                    </a:lnTo>
                    <a:lnTo>
                      <a:pt x="83" y="183"/>
                    </a:lnTo>
                    <a:lnTo>
                      <a:pt x="79" y="183"/>
                    </a:lnTo>
                    <a:lnTo>
                      <a:pt x="79" y="183"/>
                    </a:lnTo>
                    <a:lnTo>
                      <a:pt x="79" y="183"/>
                    </a:lnTo>
                    <a:lnTo>
                      <a:pt x="75" y="183"/>
                    </a:lnTo>
                    <a:lnTo>
                      <a:pt x="75" y="183"/>
                    </a:lnTo>
                    <a:lnTo>
                      <a:pt x="75" y="183"/>
                    </a:lnTo>
                    <a:lnTo>
                      <a:pt x="75" y="183"/>
                    </a:lnTo>
                    <a:lnTo>
                      <a:pt x="71" y="183"/>
                    </a:lnTo>
                    <a:lnTo>
                      <a:pt x="71" y="183"/>
                    </a:lnTo>
                    <a:lnTo>
                      <a:pt x="71" y="183"/>
                    </a:lnTo>
                    <a:lnTo>
                      <a:pt x="68" y="183"/>
                    </a:lnTo>
                    <a:lnTo>
                      <a:pt x="64" y="183"/>
                    </a:lnTo>
                    <a:lnTo>
                      <a:pt x="60" y="187"/>
                    </a:lnTo>
                    <a:lnTo>
                      <a:pt x="60" y="187"/>
                    </a:lnTo>
                    <a:lnTo>
                      <a:pt x="60" y="191"/>
                    </a:lnTo>
                    <a:lnTo>
                      <a:pt x="60" y="191"/>
                    </a:lnTo>
                    <a:lnTo>
                      <a:pt x="60" y="195"/>
                    </a:lnTo>
                    <a:lnTo>
                      <a:pt x="60" y="199"/>
                    </a:lnTo>
                    <a:lnTo>
                      <a:pt x="56" y="199"/>
                    </a:lnTo>
                    <a:lnTo>
                      <a:pt x="56" y="203"/>
                    </a:lnTo>
                    <a:lnTo>
                      <a:pt x="56" y="203"/>
                    </a:lnTo>
                    <a:lnTo>
                      <a:pt x="52" y="207"/>
                    </a:lnTo>
                    <a:lnTo>
                      <a:pt x="52" y="207"/>
                    </a:lnTo>
                    <a:lnTo>
                      <a:pt x="52" y="211"/>
                    </a:lnTo>
                    <a:lnTo>
                      <a:pt x="52" y="211"/>
                    </a:lnTo>
                    <a:lnTo>
                      <a:pt x="52" y="215"/>
                    </a:lnTo>
                    <a:lnTo>
                      <a:pt x="52" y="215"/>
                    </a:lnTo>
                    <a:lnTo>
                      <a:pt x="52" y="215"/>
                    </a:lnTo>
                    <a:lnTo>
                      <a:pt x="52" y="219"/>
                    </a:lnTo>
                    <a:lnTo>
                      <a:pt x="52" y="219"/>
                    </a:lnTo>
                    <a:lnTo>
                      <a:pt x="52" y="219"/>
                    </a:lnTo>
                    <a:lnTo>
                      <a:pt x="52" y="219"/>
                    </a:lnTo>
                    <a:lnTo>
                      <a:pt x="52" y="223"/>
                    </a:lnTo>
                    <a:lnTo>
                      <a:pt x="52" y="223"/>
                    </a:lnTo>
                    <a:lnTo>
                      <a:pt x="48" y="219"/>
                    </a:lnTo>
                    <a:lnTo>
                      <a:pt x="48" y="219"/>
                    </a:lnTo>
                    <a:lnTo>
                      <a:pt x="48" y="219"/>
                    </a:lnTo>
                    <a:lnTo>
                      <a:pt x="48" y="219"/>
                    </a:lnTo>
                    <a:lnTo>
                      <a:pt x="48" y="219"/>
                    </a:lnTo>
                    <a:lnTo>
                      <a:pt x="48" y="219"/>
                    </a:lnTo>
                    <a:lnTo>
                      <a:pt x="48" y="219"/>
                    </a:lnTo>
                    <a:lnTo>
                      <a:pt x="44" y="219"/>
                    </a:lnTo>
                    <a:lnTo>
                      <a:pt x="44" y="215"/>
                    </a:lnTo>
                    <a:lnTo>
                      <a:pt x="44" y="215"/>
                    </a:lnTo>
                    <a:lnTo>
                      <a:pt x="44" y="215"/>
                    </a:lnTo>
                    <a:lnTo>
                      <a:pt x="40" y="211"/>
                    </a:lnTo>
                    <a:lnTo>
                      <a:pt x="40" y="211"/>
                    </a:lnTo>
                    <a:lnTo>
                      <a:pt x="40" y="207"/>
                    </a:lnTo>
                    <a:lnTo>
                      <a:pt x="40" y="211"/>
                    </a:lnTo>
                    <a:lnTo>
                      <a:pt x="36" y="211"/>
                    </a:lnTo>
                    <a:lnTo>
                      <a:pt x="36" y="211"/>
                    </a:lnTo>
                    <a:lnTo>
                      <a:pt x="36" y="211"/>
                    </a:lnTo>
                    <a:lnTo>
                      <a:pt x="36" y="211"/>
                    </a:lnTo>
                    <a:lnTo>
                      <a:pt x="32" y="211"/>
                    </a:lnTo>
                    <a:lnTo>
                      <a:pt x="32" y="211"/>
                    </a:lnTo>
                    <a:lnTo>
                      <a:pt x="32" y="215"/>
                    </a:lnTo>
                    <a:lnTo>
                      <a:pt x="32" y="215"/>
                    </a:lnTo>
                    <a:lnTo>
                      <a:pt x="32" y="219"/>
                    </a:lnTo>
                    <a:lnTo>
                      <a:pt x="32" y="219"/>
                    </a:lnTo>
                    <a:lnTo>
                      <a:pt x="32" y="219"/>
                    </a:lnTo>
                    <a:lnTo>
                      <a:pt x="32" y="215"/>
                    </a:lnTo>
                    <a:lnTo>
                      <a:pt x="28" y="211"/>
                    </a:lnTo>
                    <a:lnTo>
                      <a:pt x="28" y="211"/>
                    </a:lnTo>
                    <a:lnTo>
                      <a:pt x="28" y="207"/>
                    </a:lnTo>
                    <a:lnTo>
                      <a:pt x="28" y="207"/>
                    </a:lnTo>
                    <a:lnTo>
                      <a:pt x="32" y="207"/>
                    </a:lnTo>
                    <a:lnTo>
                      <a:pt x="28" y="207"/>
                    </a:lnTo>
                    <a:lnTo>
                      <a:pt x="28" y="203"/>
                    </a:lnTo>
                    <a:lnTo>
                      <a:pt x="28" y="203"/>
                    </a:lnTo>
                    <a:lnTo>
                      <a:pt x="28" y="203"/>
                    </a:lnTo>
                    <a:lnTo>
                      <a:pt x="28" y="203"/>
                    </a:lnTo>
                    <a:lnTo>
                      <a:pt x="24" y="203"/>
                    </a:lnTo>
                    <a:lnTo>
                      <a:pt x="24" y="207"/>
                    </a:lnTo>
                    <a:lnTo>
                      <a:pt x="20" y="203"/>
                    </a:lnTo>
                    <a:lnTo>
                      <a:pt x="16" y="199"/>
                    </a:lnTo>
                    <a:lnTo>
                      <a:pt x="12" y="199"/>
                    </a:lnTo>
                    <a:lnTo>
                      <a:pt x="12" y="199"/>
                    </a:lnTo>
                    <a:lnTo>
                      <a:pt x="12" y="195"/>
                    </a:lnTo>
                    <a:lnTo>
                      <a:pt x="12" y="195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16" y="191"/>
                    </a:lnTo>
                    <a:lnTo>
                      <a:pt x="16" y="191"/>
                    </a:lnTo>
                    <a:lnTo>
                      <a:pt x="16" y="191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12" y="191"/>
                    </a:lnTo>
                    <a:lnTo>
                      <a:pt x="12" y="187"/>
                    </a:lnTo>
                    <a:lnTo>
                      <a:pt x="12" y="187"/>
                    </a:lnTo>
                    <a:lnTo>
                      <a:pt x="12" y="187"/>
                    </a:lnTo>
                    <a:lnTo>
                      <a:pt x="8" y="187"/>
                    </a:lnTo>
                    <a:lnTo>
                      <a:pt x="4" y="187"/>
                    </a:lnTo>
                    <a:lnTo>
                      <a:pt x="4" y="183"/>
                    </a:lnTo>
                    <a:lnTo>
                      <a:pt x="4" y="183"/>
                    </a:lnTo>
                    <a:lnTo>
                      <a:pt x="4" y="179"/>
                    </a:lnTo>
                    <a:lnTo>
                      <a:pt x="0" y="175"/>
                    </a:lnTo>
                    <a:lnTo>
                      <a:pt x="0" y="175"/>
                    </a:lnTo>
                    <a:lnTo>
                      <a:pt x="4" y="175"/>
                    </a:lnTo>
                    <a:lnTo>
                      <a:pt x="0" y="175"/>
                    </a:lnTo>
                    <a:lnTo>
                      <a:pt x="0" y="171"/>
                    </a:lnTo>
                    <a:lnTo>
                      <a:pt x="0" y="171"/>
                    </a:lnTo>
                    <a:lnTo>
                      <a:pt x="0" y="171"/>
                    </a:lnTo>
                    <a:lnTo>
                      <a:pt x="0" y="171"/>
                    </a:lnTo>
                    <a:lnTo>
                      <a:pt x="0" y="171"/>
                    </a:lnTo>
                    <a:lnTo>
                      <a:pt x="0" y="167"/>
                    </a:lnTo>
                    <a:lnTo>
                      <a:pt x="0" y="167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63"/>
                    </a:lnTo>
                    <a:lnTo>
                      <a:pt x="0" y="159"/>
                    </a:lnTo>
                    <a:lnTo>
                      <a:pt x="0" y="159"/>
                    </a:lnTo>
                    <a:lnTo>
                      <a:pt x="0" y="163"/>
                    </a:lnTo>
                    <a:lnTo>
                      <a:pt x="4" y="163"/>
                    </a:lnTo>
                    <a:lnTo>
                      <a:pt x="4" y="159"/>
                    </a:lnTo>
                    <a:lnTo>
                      <a:pt x="4" y="159"/>
                    </a:lnTo>
                    <a:lnTo>
                      <a:pt x="4" y="163"/>
                    </a:lnTo>
                    <a:lnTo>
                      <a:pt x="4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8" y="163"/>
                    </a:lnTo>
                    <a:lnTo>
                      <a:pt x="12" y="159"/>
                    </a:lnTo>
                    <a:lnTo>
                      <a:pt x="12" y="159"/>
                    </a:lnTo>
                    <a:lnTo>
                      <a:pt x="12" y="159"/>
                    </a:lnTo>
                    <a:lnTo>
                      <a:pt x="12" y="159"/>
                    </a:lnTo>
                    <a:lnTo>
                      <a:pt x="16" y="155"/>
                    </a:lnTo>
                    <a:lnTo>
                      <a:pt x="24" y="155"/>
                    </a:lnTo>
                    <a:lnTo>
                      <a:pt x="24" y="155"/>
                    </a:lnTo>
                    <a:lnTo>
                      <a:pt x="36" y="155"/>
                    </a:lnTo>
                    <a:lnTo>
                      <a:pt x="36" y="155"/>
                    </a:lnTo>
                    <a:lnTo>
                      <a:pt x="40" y="155"/>
                    </a:lnTo>
                    <a:lnTo>
                      <a:pt x="40" y="155"/>
                    </a:lnTo>
                    <a:lnTo>
                      <a:pt x="40" y="151"/>
                    </a:lnTo>
                    <a:lnTo>
                      <a:pt x="44" y="151"/>
                    </a:lnTo>
                    <a:lnTo>
                      <a:pt x="48" y="155"/>
                    </a:lnTo>
                    <a:lnTo>
                      <a:pt x="48" y="155"/>
                    </a:lnTo>
                    <a:lnTo>
                      <a:pt x="48" y="155"/>
                    </a:lnTo>
                    <a:lnTo>
                      <a:pt x="48" y="151"/>
                    </a:lnTo>
                    <a:lnTo>
                      <a:pt x="52" y="151"/>
                    </a:lnTo>
                    <a:lnTo>
                      <a:pt x="52" y="147"/>
                    </a:lnTo>
                    <a:lnTo>
                      <a:pt x="52" y="147"/>
                    </a:lnTo>
                    <a:lnTo>
                      <a:pt x="52" y="147"/>
                    </a:lnTo>
                    <a:lnTo>
                      <a:pt x="56" y="147"/>
                    </a:lnTo>
                    <a:lnTo>
                      <a:pt x="56" y="147"/>
                    </a:lnTo>
                    <a:lnTo>
                      <a:pt x="56" y="147"/>
                    </a:lnTo>
                    <a:lnTo>
                      <a:pt x="56" y="147"/>
                    </a:lnTo>
                    <a:lnTo>
                      <a:pt x="56" y="147"/>
                    </a:lnTo>
                    <a:lnTo>
                      <a:pt x="56" y="143"/>
                    </a:lnTo>
                    <a:lnTo>
                      <a:pt x="56" y="139"/>
                    </a:lnTo>
                    <a:lnTo>
                      <a:pt x="56" y="135"/>
                    </a:lnTo>
                    <a:lnTo>
                      <a:pt x="60" y="135"/>
                    </a:lnTo>
                    <a:lnTo>
                      <a:pt x="60" y="135"/>
                    </a:lnTo>
                    <a:lnTo>
                      <a:pt x="60" y="135"/>
                    </a:lnTo>
                    <a:lnTo>
                      <a:pt x="60" y="135"/>
                    </a:lnTo>
                    <a:lnTo>
                      <a:pt x="60" y="135"/>
                    </a:lnTo>
                    <a:lnTo>
                      <a:pt x="60" y="127"/>
                    </a:lnTo>
                    <a:lnTo>
                      <a:pt x="60" y="127"/>
                    </a:lnTo>
                    <a:lnTo>
                      <a:pt x="60" y="123"/>
                    </a:lnTo>
                    <a:lnTo>
                      <a:pt x="60" y="123"/>
                    </a:lnTo>
                    <a:lnTo>
                      <a:pt x="60" y="119"/>
                    </a:lnTo>
                    <a:lnTo>
                      <a:pt x="60" y="115"/>
                    </a:lnTo>
                    <a:lnTo>
                      <a:pt x="60" y="111"/>
                    </a:lnTo>
                    <a:lnTo>
                      <a:pt x="60" y="103"/>
                    </a:lnTo>
                    <a:lnTo>
                      <a:pt x="60" y="91"/>
                    </a:lnTo>
                    <a:lnTo>
                      <a:pt x="60" y="91"/>
                    </a:lnTo>
                    <a:lnTo>
                      <a:pt x="60" y="87"/>
                    </a:lnTo>
                    <a:lnTo>
                      <a:pt x="60" y="83"/>
                    </a:lnTo>
                    <a:lnTo>
                      <a:pt x="60" y="83"/>
                    </a:lnTo>
                    <a:lnTo>
                      <a:pt x="64" y="83"/>
                    </a:lnTo>
                    <a:lnTo>
                      <a:pt x="64" y="83"/>
                    </a:lnTo>
                    <a:lnTo>
                      <a:pt x="71" y="79"/>
                    </a:lnTo>
                    <a:lnTo>
                      <a:pt x="75" y="79"/>
                    </a:lnTo>
                    <a:lnTo>
                      <a:pt x="79" y="79"/>
                    </a:lnTo>
                    <a:lnTo>
                      <a:pt x="79" y="79"/>
                    </a:lnTo>
                    <a:lnTo>
                      <a:pt x="83" y="79"/>
                    </a:lnTo>
                    <a:lnTo>
                      <a:pt x="83" y="79"/>
                    </a:lnTo>
                    <a:lnTo>
                      <a:pt x="87" y="75"/>
                    </a:lnTo>
                    <a:lnTo>
                      <a:pt x="87" y="75"/>
                    </a:lnTo>
                    <a:lnTo>
                      <a:pt x="91" y="71"/>
                    </a:lnTo>
                    <a:lnTo>
                      <a:pt x="95" y="67"/>
                    </a:lnTo>
                    <a:lnTo>
                      <a:pt x="95" y="63"/>
                    </a:lnTo>
                    <a:lnTo>
                      <a:pt x="99" y="59"/>
                    </a:lnTo>
                    <a:lnTo>
                      <a:pt x="107" y="52"/>
                    </a:lnTo>
                    <a:lnTo>
                      <a:pt x="111" y="48"/>
                    </a:lnTo>
                    <a:lnTo>
                      <a:pt x="111" y="48"/>
                    </a:lnTo>
                    <a:lnTo>
                      <a:pt x="115" y="48"/>
                    </a:lnTo>
                    <a:lnTo>
                      <a:pt x="119" y="44"/>
                    </a:lnTo>
                    <a:lnTo>
                      <a:pt x="127" y="40"/>
                    </a:lnTo>
                    <a:lnTo>
                      <a:pt x="127" y="36"/>
                    </a:lnTo>
                    <a:lnTo>
                      <a:pt x="131" y="32"/>
                    </a:lnTo>
                    <a:lnTo>
                      <a:pt x="139" y="28"/>
                    </a:lnTo>
                    <a:lnTo>
                      <a:pt x="143" y="24"/>
                    </a:lnTo>
                    <a:lnTo>
                      <a:pt x="147" y="20"/>
                    </a:lnTo>
                    <a:lnTo>
                      <a:pt x="151" y="20"/>
                    </a:lnTo>
                    <a:lnTo>
                      <a:pt x="155" y="16"/>
                    </a:lnTo>
                    <a:lnTo>
                      <a:pt x="159" y="16"/>
                    </a:lnTo>
                    <a:lnTo>
                      <a:pt x="159" y="12"/>
                    </a:lnTo>
                    <a:lnTo>
                      <a:pt x="163" y="12"/>
                    </a:lnTo>
                    <a:lnTo>
                      <a:pt x="171" y="4"/>
                    </a:lnTo>
                    <a:lnTo>
                      <a:pt x="175" y="4"/>
                    </a:lnTo>
                    <a:lnTo>
                      <a:pt x="175" y="0"/>
                    </a:lnTo>
                    <a:lnTo>
                      <a:pt x="179" y="0"/>
                    </a:lnTo>
                    <a:lnTo>
                      <a:pt x="183" y="4"/>
                    </a:lnTo>
                    <a:lnTo>
                      <a:pt x="183" y="4"/>
                    </a:lnTo>
                    <a:lnTo>
                      <a:pt x="183" y="4"/>
                    </a:lnTo>
                    <a:lnTo>
                      <a:pt x="183" y="4"/>
                    </a:lnTo>
                    <a:lnTo>
                      <a:pt x="187" y="4"/>
                    </a:lnTo>
                    <a:lnTo>
                      <a:pt x="191" y="4"/>
                    </a:lnTo>
                    <a:lnTo>
                      <a:pt x="195" y="4"/>
                    </a:lnTo>
                    <a:lnTo>
                      <a:pt x="199" y="8"/>
                    </a:lnTo>
                    <a:lnTo>
                      <a:pt x="199" y="8"/>
                    </a:lnTo>
                    <a:lnTo>
                      <a:pt x="199" y="8"/>
                    </a:lnTo>
                    <a:lnTo>
                      <a:pt x="199" y="8"/>
                    </a:lnTo>
                    <a:lnTo>
                      <a:pt x="199" y="8"/>
                    </a:lnTo>
                    <a:lnTo>
                      <a:pt x="199" y="8"/>
                    </a:lnTo>
                    <a:lnTo>
                      <a:pt x="203" y="8"/>
                    </a:lnTo>
                    <a:lnTo>
                      <a:pt x="203" y="8"/>
                    </a:lnTo>
                    <a:lnTo>
                      <a:pt x="207" y="12"/>
                    </a:lnTo>
                    <a:lnTo>
                      <a:pt x="211" y="20"/>
                    </a:lnTo>
                    <a:lnTo>
                      <a:pt x="211" y="16"/>
                    </a:lnTo>
                    <a:lnTo>
                      <a:pt x="215" y="16"/>
                    </a:lnTo>
                    <a:lnTo>
                      <a:pt x="215" y="16"/>
                    </a:lnTo>
                    <a:lnTo>
                      <a:pt x="219" y="12"/>
                    </a:lnTo>
                    <a:lnTo>
                      <a:pt x="219" y="12"/>
                    </a:lnTo>
                    <a:lnTo>
                      <a:pt x="223" y="12"/>
                    </a:lnTo>
                    <a:lnTo>
                      <a:pt x="223" y="12"/>
                    </a:lnTo>
                    <a:lnTo>
                      <a:pt x="223" y="12"/>
                    </a:lnTo>
                    <a:lnTo>
                      <a:pt x="223" y="16"/>
                    </a:lnTo>
                    <a:lnTo>
                      <a:pt x="227" y="28"/>
                    </a:lnTo>
                    <a:lnTo>
                      <a:pt x="227" y="28"/>
                    </a:lnTo>
                    <a:lnTo>
                      <a:pt x="227" y="32"/>
                    </a:lnTo>
                    <a:lnTo>
                      <a:pt x="227" y="36"/>
                    </a:lnTo>
                    <a:lnTo>
                      <a:pt x="227" y="36"/>
                    </a:lnTo>
                    <a:lnTo>
                      <a:pt x="227" y="40"/>
                    </a:lnTo>
                    <a:lnTo>
                      <a:pt x="227" y="40"/>
                    </a:lnTo>
                    <a:lnTo>
                      <a:pt x="227" y="40"/>
                    </a:lnTo>
                    <a:lnTo>
                      <a:pt x="231" y="48"/>
                    </a:lnTo>
                    <a:lnTo>
                      <a:pt x="231" y="48"/>
                    </a:lnTo>
                    <a:lnTo>
                      <a:pt x="231" y="48"/>
                    </a:lnTo>
                    <a:lnTo>
                      <a:pt x="231" y="52"/>
                    </a:lnTo>
                    <a:lnTo>
                      <a:pt x="231" y="52"/>
                    </a:lnTo>
                    <a:lnTo>
                      <a:pt x="231" y="52"/>
                    </a:lnTo>
                    <a:lnTo>
                      <a:pt x="231" y="52"/>
                    </a:lnTo>
                    <a:lnTo>
                      <a:pt x="231" y="52"/>
                    </a:lnTo>
                    <a:lnTo>
                      <a:pt x="231" y="52"/>
                    </a:lnTo>
                    <a:lnTo>
                      <a:pt x="231" y="52"/>
                    </a:lnTo>
                    <a:lnTo>
                      <a:pt x="231" y="56"/>
                    </a:lnTo>
                    <a:lnTo>
                      <a:pt x="231" y="56"/>
                    </a:lnTo>
                    <a:lnTo>
                      <a:pt x="239" y="59"/>
                    </a:lnTo>
                    <a:lnTo>
                      <a:pt x="239" y="59"/>
                    </a:lnTo>
                    <a:lnTo>
                      <a:pt x="235" y="63"/>
                    </a:lnTo>
                    <a:lnTo>
                      <a:pt x="235" y="67"/>
                    </a:lnTo>
                    <a:lnTo>
                      <a:pt x="235" y="67"/>
                    </a:lnTo>
                    <a:lnTo>
                      <a:pt x="235" y="71"/>
                    </a:lnTo>
                    <a:lnTo>
                      <a:pt x="235" y="75"/>
                    </a:lnTo>
                    <a:lnTo>
                      <a:pt x="231" y="87"/>
                    </a:lnTo>
                    <a:lnTo>
                      <a:pt x="231" y="87"/>
                    </a:lnTo>
                    <a:lnTo>
                      <a:pt x="231" y="91"/>
                    </a:lnTo>
                    <a:lnTo>
                      <a:pt x="231" y="99"/>
                    </a:lnTo>
                    <a:lnTo>
                      <a:pt x="231" y="99"/>
                    </a:lnTo>
                    <a:lnTo>
                      <a:pt x="231" y="103"/>
                    </a:lnTo>
                    <a:lnTo>
                      <a:pt x="231" y="115"/>
                    </a:lnTo>
                    <a:lnTo>
                      <a:pt x="231" y="123"/>
                    </a:lnTo>
                    <a:lnTo>
                      <a:pt x="231" y="127"/>
                    </a:lnTo>
                    <a:lnTo>
                      <a:pt x="231" y="127"/>
                    </a:lnTo>
                    <a:lnTo>
                      <a:pt x="231" y="127"/>
                    </a:lnTo>
                    <a:lnTo>
                      <a:pt x="227" y="127"/>
                    </a:lnTo>
                    <a:lnTo>
                      <a:pt x="227" y="131"/>
                    </a:lnTo>
                    <a:lnTo>
                      <a:pt x="223" y="131"/>
                    </a:lnTo>
                    <a:lnTo>
                      <a:pt x="223" y="135"/>
                    </a:lnTo>
                    <a:lnTo>
                      <a:pt x="215" y="143"/>
                    </a:lnTo>
                    <a:lnTo>
                      <a:pt x="215" y="147"/>
                    </a:lnTo>
                    <a:lnTo>
                      <a:pt x="211" y="151"/>
                    </a:lnTo>
                    <a:lnTo>
                      <a:pt x="211" y="151"/>
                    </a:lnTo>
                    <a:lnTo>
                      <a:pt x="207" y="155"/>
                    </a:lnTo>
                    <a:lnTo>
                      <a:pt x="207" y="155"/>
                    </a:lnTo>
                    <a:lnTo>
                      <a:pt x="207" y="159"/>
                    </a:lnTo>
                    <a:lnTo>
                      <a:pt x="203" y="163"/>
                    </a:lnTo>
                    <a:lnTo>
                      <a:pt x="203" y="163"/>
                    </a:lnTo>
                    <a:lnTo>
                      <a:pt x="203" y="163"/>
                    </a:lnTo>
                    <a:lnTo>
                      <a:pt x="203" y="167"/>
                    </a:lnTo>
                    <a:lnTo>
                      <a:pt x="203" y="167"/>
                    </a:lnTo>
                    <a:lnTo>
                      <a:pt x="203" y="167"/>
                    </a:lnTo>
                    <a:lnTo>
                      <a:pt x="203" y="167"/>
                    </a:lnTo>
                    <a:lnTo>
                      <a:pt x="203" y="167"/>
                    </a:lnTo>
                    <a:lnTo>
                      <a:pt x="203" y="171"/>
                    </a:lnTo>
                    <a:lnTo>
                      <a:pt x="203" y="171"/>
                    </a:lnTo>
                    <a:lnTo>
                      <a:pt x="203" y="171"/>
                    </a:lnTo>
                    <a:lnTo>
                      <a:pt x="199" y="171"/>
                    </a:lnTo>
                    <a:lnTo>
                      <a:pt x="199" y="171"/>
                    </a:lnTo>
                    <a:lnTo>
                      <a:pt x="199" y="171"/>
                    </a:lnTo>
                    <a:lnTo>
                      <a:pt x="199" y="171"/>
                    </a:lnTo>
                    <a:lnTo>
                      <a:pt x="199" y="171"/>
                    </a:lnTo>
                    <a:lnTo>
                      <a:pt x="199" y="171"/>
                    </a:lnTo>
                    <a:lnTo>
                      <a:pt x="199" y="179"/>
                    </a:lnTo>
                    <a:lnTo>
                      <a:pt x="203" y="183"/>
                    </a:lnTo>
                    <a:lnTo>
                      <a:pt x="203" y="183"/>
                    </a:lnTo>
                    <a:lnTo>
                      <a:pt x="199" y="183"/>
                    </a:lnTo>
                    <a:lnTo>
                      <a:pt x="195" y="187"/>
                    </a:lnTo>
                    <a:lnTo>
                      <a:pt x="195" y="187"/>
                    </a:lnTo>
                    <a:lnTo>
                      <a:pt x="195" y="187"/>
                    </a:lnTo>
                    <a:lnTo>
                      <a:pt x="195" y="187"/>
                    </a:lnTo>
                    <a:lnTo>
                      <a:pt x="195" y="187"/>
                    </a:lnTo>
                    <a:lnTo>
                      <a:pt x="191" y="187"/>
                    </a:lnTo>
                    <a:lnTo>
                      <a:pt x="191" y="187"/>
                    </a:lnTo>
                    <a:lnTo>
                      <a:pt x="191" y="187"/>
                    </a:lnTo>
                    <a:lnTo>
                      <a:pt x="187" y="191"/>
                    </a:lnTo>
                    <a:lnTo>
                      <a:pt x="187" y="191"/>
                    </a:lnTo>
                    <a:lnTo>
                      <a:pt x="187" y="191"/>
                    </a:lnTo>
                    <a:lnTo>
                      <a:pt x="187" y="191"/>
                    </a:lnTo>
                    <a:lnTo>
                      <a:pt x="187" y="191"/>
                    </a:lnTo>
                    <a:lnTo>
                      <a:pt x="187" y="195"/>
                    </a:lnTo>
                    <a:lnTo>
                      <a:pt x="187" y="195"/>
                    </a:lnTo>
                    <a:lnTo>
                      <a:pt x="187" y="195"/>
                    </a:lnTo>
                    <a:lnTo>
                      <a:pt x="183" y="195"/>
                    </a:lnTo>
                    <a:lnTo>
                      <a:pt x="183" y="195"/>
                    </a:lnTo>
                    <a:lnTo>
                      <a:pt x="183" y="195"/>
                    </a:lnTo>
                    <a:lnTo>
                      <a:pt x="183" y="195"/>
                    </a:lnTo>
                    <a:lnTo>
                      <a:pt x="179" y="195"/>
                    </a:lnTo>
                    <a:lnTo>
                      <a:pt x="179" y="195"/>
                    </a:lnTo>
                    <a:lnTo>
                      <a:pt x="175" y="195"/>
                    </a:lnTo>
                    <a:lnTo>
                      <a:pt x="175" y="191"/>
                    </a:lnTo>
                    <a:lnTo>
                      <a:pt x="171" y="191"/>
                    </a:lnTo>
                    <a:lnTo>
                      <a:pt x="171" y="191"/>
                    </a:lnTo>
                    <a:lnTo>
                      <a:pt x="171" y="191"/>
                    </a:lnTo>
                    <a:lnTo>
                      <a:pt x="167" y="191"/>
                    </a:lnTo>
                    <a:lnTo>
                      <a:pt x="167" y="191"/>
                    </a:lnTo>
                    <a:lnTo>
                      <a:pt x="167" y="191"/>
                    </a:lnTo>
                    <a:lnTo>
                      <a:pt x="167" y="191"/>
                    </a:lnTo>
                    <a:lnTo>
                      <a:pt x="167" y="191"/>
                    </a:lnTo>
                    <a:lnTo>
                      <a:pt x="167" y="191"/>
                    </a:lnTo>
                    <a:lnTo>
                      <a:pt x="163" y="191"/>
                    </a:lnTo>
                    <a:lnTo>
                      <a:pt x="163" y="191"/>
                    </a:lnTo>
                    <a:lnTo>
                      <a:pt x="163" y="191"/>
                    </a:lnTo>
                    <a:lnTo>
                      <a:pt x="163" y="191"/>
                    </a:lnTo>
                    <a:lnTo>
                      <a:pt x="163" y="191"/>
                    </a:lnTo>
                    <a:lnTo>
                      <a:pt x="163" y="191"/>
                    </a:lnTo>
                    <a:lnTo>
                      <a:pt x="163" y="191"/>
                    </a:lnTo>
                    <a:lnTo>
                      <a:pt x="163" y="191"/>
                    </a:lnTo>
                    <a:lnTo>
                      <a:pt x="159" y="191"/>
                    </a:lnTo>
                    <a:lnTo>
                      <a:pt x="159" y="191"/>
                    </a:lnTo>
                    <a:lnTo>
                      <a:pt x="159" y="191"/>
                    </a:lnTo>
                    <a:lnTo>
                      <a:pt x="159" y="191"/>
                    </a:lnTo>
                    <a:lnTo>
                      <a:pt x="159" y="191"/>
                    </a:lnTo>
                    <a:lnTo>
                      <a:pt x="159" y="191"/>
                    </a:lnTo>
                    <a:lnTo>
                      <a:pt x="155" y="191"/>
                    </a:lnTo>
                    <a:lnTo>
                      <a:pt x="155" y="191"/>
                    </a:lnTo>
                    <a:lnTo>
                      <a:pt x="155" y="191"/>
                    </a:lnTo>
                    <a:lnTo>
                      <a:pt x="155" y="191"/>
                    </a:lnTo>
                    <a:lnTo>
                      <a:pt x="155" y="191"/>
                    </a:lnTo>
                    <a:lnTo>
                      <a:pt x="155" y="191"/>
                    </a:lnTo>
                    <a:lnTo>
                      <a:pt x="151" y="191"/>
                    </a:lnTo>
                    <a:lnTo>
                      <a:pt x="151" y="191"/>
                    </a:lnTo>
                    <a:lnTo>
                      <a:pt x="151" y="191"/>
                    </a:lnTo>
                    <a:lnTo>
                      <a:pt x="151" y="191"/>
                    </a:lnTo>
                    <a:lnTo>
                      <a:pt x="147" y="195"/>
                    </a:lnTo>
                    <a:lnTo>
                      <a:pt x="147" y="195"/>
                    </a:lnTo>
                    <a:lnTo>
                      <a:pt x="147" y="195"/>
                    </a:lnTo>
                    <a:lnTo>
                      <a:pt x="147" y="195"/>
                    </a:lnTo>
                    <a:lnTo>
                      <a:pt x="143" y="195"/>
                    </a:lnTo>
                    <a:lnTo>
                      <a:pt x="143" y="199"/>
                    </a:lnTo>
                    <a:lnTo>
                      <a:pt x="143" y="203"/>
                    </a:lnTo>
                    <a:lnTo>
                      <a:pt x="143" y="203"/>
                    </a:lnTo>
                    <a:lnTo>
                      <a:pt x="139" y="203"/>
                    </a:lnTo>
                    <a:lnTo>
                      <a:pt x="135" y="199"/>
                    </a:lnTo>
                    <a:lnTo>
                      <a:pt x="135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31" y="199"/>
                    </a:lnTo>
                    <a:lnTo>
                      <a:pt x="127" y="199"/>
                    </a:lnTo>
                    <a:lnTo>
                      <a:pt x="127" y="199"/>
                    </a:lnTo>
                    <a:lnTo>
                      <a:pt x="127" y="199"/>
                    </a:lnTo>
                    <a:lnTo>
                      <a:pt x="127" y="199"/>
                    </a:lnTo>
                    <a:lnTo>
                      <a:pt x="127" y="199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23" y="195"/>
                    </a:lnTo>
                    <a:lnTo>
                      <a:pt x="119" y="195"/>
                    </a:lnTo>
                    <a:lnTo>
                      <a:pt x="119" y="195"/>
                    </a:lnTo>
                    <a:lnTo>
                      <a:pt x="119" y="195"/>
                    </a:lnTo>
                    <a:lnTo>
                      <a:pt x="119" y="191"/>
                    </a:lnTo>
                    <a:lnTo>
                      <a:pt x="119" y="191"/>
                    </a:lnTo>
                    <a:lnTo>
                      <a:pt x="119" y="191"/>
                    </a:lnTo>
                    <a:lnTo>
                      <a:pt x="115" y="191"/>
                    </a:lnTo>
                    <a:lnTo>
                      <a:pt x="107" y="195"/>
                    </a:lnTo>
                    <a:lnTo>
                      <a:pt x="107" y="195"/>
                    </a:lnTo>
                    <a:lnTo>
                      <a:pt x="103" y="195"/>
                    </a:lnTo>
                    <a:lnTo>
                      <a:pt x="103" y="195"/>
                    </a:lnTo>
                    <a:lnTo>
                      <a:pt x="103" y="199"/>
                    </a:lnTo>
                    <a:lnTo>
                      <a:pt x="103" y="199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2" name="Freeform 152">
                <a:extLst>
                  <a:ext uri="{FF2B5EF4-FFF2-40B4-BE49-F238E27FC236}">
                    <a16:creationId xmlns:a16="http://schemas.microsoft.com/office/drawing/2014/main" id="{C5674312-5035-4033-A7E5-08F79CB66A74}"/>
                  </a:ext>
                </a:extLst>
              </p:cNvPr>
              <p:cNvSpPr>
                <a:spLocks noEditPoints="1"/>
              </p:cNvSpPr>
              <p:nvPr>
                <p:custDataLst>
                  <p:tags r:id="rId72"/>
                </p:custDataLst>
              </p:nvPr>
            </p:nvSpPr>
            <p:spPr bwMode="gray">
              <a:xfrm>
                <a:off x="3843447" y="5645469"/>
                <a:ext cx="230690" cy="221866"/>
              </a:xfrm>
              <a:custGeom>
                <a:avLst/>
                <a:gdLst/>
                <a:ahLst/>
                <a:cxnLst>
                  <a:cxn ang="0">
                    <a:pos x="135" y="132"/>
                  </a:cxn>
                  <a:cxn ang="0">
                    <a:pos x="127" y="132"/>
                  </a:cxn>
                  <a:cxn ang="0">
                    <a:pos x="119" y="124"/>
                  </a:cxn>
                  <a:cxn ang="0">
                    <a:pos x="111" y="128"/>
                  </a:cxn>
                  <a:cxn ang="0">
                    <a:pos x="103" y="136"/>
                  </a:cxn>
                  <a:cxn ang="0">
                    <a:pos x="95" y="152"/>
                  </a:cxn>
                  <a:cxn ang="0">
                    <a:pos x="87" y="164"/>
                  </a:cxn>
                  <a:cxn ang="0">
                    <a:pos x="83" y="168"/>
                  </a:cxn>
                  <a:cxn ang="0">
                    <a:pos x="75" y="172"/>
                  </a:cxn>
                  <a:cxn ang="0">
                    <a:pos x="67" y="168"/>
                  </a:cxn>
                  <a:cxn ang="0">
                    <a:pos x="63" y="172"/>
                  </a:cxn>
                  <a:cxn ang="0">
                    <a:pos x="63" y="172"/>
                  </a:cxn>
                  <a:cxn ang="0">
                    <a:pos x="63" y="168"/>
                  </a:cxn>
                  <a:cxn ang="0">
                    <a:pos x="55" y="172"/>
                  </a:cxn>
                  <a:cxn ang="0">
                    <a:pos x="43" y="168"/>
                  </a:cxn>
                  <a:cxn ang="0">
                    <a:pos x="39" y="160"/>
                  </a:cxn>
                  <a:cxn ang="0">
                    <a:pos x="43" y="156"/>
                  </a:cxn>
                  <a:cxn ang="0">
                    <a:pos x="39" y="152"/>
                  </a:cxn>
                  <a:cxn ang="0">
                    <a:pos x="32" y="140"/>
                  </a:cxn>
                  <a:cxn ang="0">
                    <a:pos x="20" y="136"/>
                  </a:cxn>
                  <a:cxn ang="0">
                    <a:pos x="20" y="132"/>
                  </a:cxn>
                  <a:cxn ang="0">
                    <a:pos x="12" y="136"/>
                  </a:cxn>
                  <a:cxn ang="0">
                    <a:pos x="0" y="132"/>
                  </a:cxn>
                  <a:cxn ang="0">
                    <a:pos x="4" y="120"/>
                  </a:cxn>
                  <a:cxn ang="0">
                    <a:pos x="0" y="104"/>
                  </a:cxn>
                  <a:cxn ang="0">
                    <a:pos x="4" y="88"/>
                  </a:cxn>
                  <a:cxn ang="0">
                    <a:pos x="12" y="76"/>
                  </a:cxn>
                  <a:cxn ang="0">
                    <a:pos x="16" y="64"/>
                  </a:cxn>
                  <a:cxn ang="0">
                    <a:pos x="16" y="56"/>
                  </a:cxn>
                  <a:cxn ang="0">
                    <a:pos x="12" y="40"/>
                  </a:cxn>
                  <a:cxn ang="0">
                    <a:pos x="16" y="28"/>
                  </a:cxn>
                  <a:cxn ang="0">
                    <a:pos x="24" y="16"/>
                  </a:cxn>
                  <a:cxn ang="0">
                    <a:pos x="28" y="0"/>
                  </a:cxn>
                  <a:cxn ang="0">
                    <a:pos x="43" y="0"/>
                  </a:cxn>
                  <a:cxn ang="0">
                    <a:pos x="55" y="4"/>
                  </a:cxn>
                  <a:cxn ang="0">
                    <a:pos x="67" y="16"/>
                  </a:cxn>
                  <a:cxn ang="0">
                    <a:pos x="83" y="8"/>
                  </a:cxn>
                  <a:cxn ang="0">
                    <a:pos x="95" y="16"/>
                  </a:cxn>
                  <a:cxn ang="0">
                    <a:pos x="107" y="16"/>
                  </a:cxn>
                  <a:cxn ang="0">
                    <a:pos x="119" y="8"/>
                  </a:cxn>
                  <a:cxn ang="0">
                    <a:pos x="135" y="8"/>
                  </a:cxn>
                  <a:cxn ang="0">
                    <a:pos x="147" y="12"/>
                  </a:cxn>
                  <a:cxn ang="0">
                    <a:pos x="159" y="4"/>
                  </a:cxn>
                  <a:cxn ang="0">
                    <a:pos x="171" y="8"/>
                  </a:cxn>
                  <a:cxn ang="0">
                    <a:pos x="175" y="24"/>
                  </a:cxn>
                  <a:cxn ang="0">
                    <a:pos x="183" y="32"/>
                  </a:cxn>
                  <a:cxn ang="0">
                    <a:pos x="179" y="36"/>
                  </a:cxn>
                  <a:cxn ang="0">
                    <a:pos x="175" y="44"/>
                  </a:cxn>
                  <a:cxn ang="0">
                    <a:pos x="167" y="56"/>
                  </a:cxn>
                  <a:cxn ang="0">
                    <a:pos x="159" y="68"/>
                  </a:cxn>
                  <a:cxn ang="0">
                    <a:pos x="155" y="80"/>
                  </a:cxn>
                  <a:cxn ang="0">
                    <a:pos x="151" y="96"/>
                  </a:cxn>
                  <a:cxn ang="0">
                    <a:pos x="143" y="104"/>
                  </a:cxn>
                  <a:cxn ang="0">
                    <a:pos x="143" y="112"/>
                  </a:cxn>
                  <a:cxn ang="0">
                    <a:pos x="67" y="172"/>
                  </a:cxn>
                </a:cxnLst>
                <a:rect l="0" t="0" r="r" b="b"/>
                <a:pathLst>
                  <a:path w="183" h="176">
                    <a:moveTo>
                      <a:pt x="139" y="120"/>
                    </a:moveTo>
                    <a:lnTo>
                      <a:pt x="139" y="124"/>
                    </a:lnTo>
                    <a:lnTo>
                      <a:pt x="135" y="128"/>
                    </a:lnTo>
                    <a:lnTo>
                      <a:pt x="135" y="132"/>
                    </a:lnTo>
                    <a:lnTo>
                      <a:pt x="131" y="132"/>
                    </a:lnTo>
                    <a:lnTo>
                      <a:pt x="131" y="136"/>
                    </a:lnTo>
                    <a:lnTo>
                      <a:pt x="127" y="136"/>
                    </a:lnTo>
                    <a:lnTo>
                      <a:pt x="127" y="132"/>
                    </a:lnTo>
                    <a:lnTo>
                      <a:pt x="127" y="128"/>
                    </a:lnTo>
                    <a:lnTo>
                      <a:pt x="123" y="128"/>
                    </a:lnTo>
                    <a:lnTo>
                      <a:pt x="123" y="124"/>
                    </a:lnTo>
                    <a:lnTo>
                      <a:pt x="119" y="124"/>
                    </a:lnTo>
                    <a:lnTo>
                      <a:pt x="119" y="128"/>
                    </a:lnTo>
                    <a:lnTo>
                      <a:pt x="115" y="128"/>
                    </a:lnTo>
                    <a:lnTo>
                      <a:pt x="115" y="124"/>
                    </a:lnTo>
                    <a:lnTo>
                      <a:pt x="111" y="128"/>
                    </a:lnTo>
                    <a:lnTo>
                      <a:pt x="107" y="128"/>
                    </a:lnTo>
                    <a:lnTo>
                      <a:pt x="107" y="132"/>
                    </a:lnTo>
                    <a:lnTo>
                      <a:pt x="107" y="136"/>
                    </a:lnTo>
                    <a:lnTo>
                      <a:pt x="103" y="136"/>
                    </a:lnTo>
                    <a:lnTo>
                      <a:pt x="99" y="140"/>
                    </a:lnTo>
                    <a:lnTo>
                      <a:pt x="95" y="144"/>
                    </a:lnTo>
                    <a:lnTo>
                      <a:pt x="95" y="148"/>
                    </a:lnTo>
                    <a:lnTo>
                      <a:pt x="95" y="152"/>
                    </a:lnTo>
                    <a:lnTo>
                      <a:pt x="95" y="156"/>
                    </a:lnTo>
                    <a:lnTo>
                      <a:pt x="91" y="160"/>
                    </a:lnTo>
                    <a:lnTo>
                      <a:pt x="91" y="164"/>
                    </a:lnTo>
                    <a:lnTo>
                      <a:pt x="87" y="164"/>
                    </a:lnTo>
                    <a:lnTo>
                      <a:pt x="87" y="168"/>
                    </a:lnTo>
                    <a:lnTo>
                      <a:pt x="87" y="164"/>
                    </a:lnTo>
                    <a:lnTo>
                      <a:pt x="83" y="164"/>
                    </a:lnTo>
                    <a:lnTo>
                      <a:pt x="83" y="168"/>
                    </a:lnTo>
                    <a:lnTo>
                      <a:pt x="87" y="168"/>
                    </a:lnTo>
                    <a:lnTo>
                      <a:pt x="83" y="172"/>
                    </a:lnTo>
                    <a:lnTo>
                      <a:pt x="79" y="172"/>
                    </a:lnTo>
                    <a:lnTo>
                      <a:pt x="75" y="172"/>
                    </a:lnTo>
                    <a:lnTo>
                      <a:pt x="75" y="168"/>
                    </a:lnTo>
                    <a:lnTo>
                      <a:pt x="71" y="172"/>
                    </a:lnTo>
                    <a:lnTo>
                      <a:pt x="67" y="172"/>
                    </a:lnTo>
                    <a:lnTo>
                      <a:pt x="67" y="168"/>
                    </a:lnTo>
                    <a:lnTo>
                      <a:pt x="67" y="172"/>
                    </a:lnTo>
                    <a:lnTo>
                      <a:pt x="67" y="168"/>
                    </a:lnTo>
                    <a:lnTo>
                      <a:pt x="63" y="168"/>
                    </a:lnTo>
                    <a:lnTo>
                      <a:pt x="63" y="172"/>
                    </a:lnTo>
                    <a:lnTo>
                      <a:pt x="67" y="172"/>
                    </a:lnTo>
                    <a:lnTo>
                      <a:pt x="63" y="172"/>
                    </a:lnTo>
                    <a:lnTo>
                      <a:pt x="63" y="168"/>
                    </a:lnTo>
                    <a:lnTo>
                      <a:pt x="63" y="172"/>
                    </a:lnTo>
                    <a:lnTo>
                      <a:pt x="63" y="176"/>
                    </a:lnTo>
                    <a:lnTo>
                      <a:pt x="59" y="172"/>
                    </a:lnTo>
                    <a:lnTo>
                      <a:pt x="63" y="172"/>
                    </a:lnTo>
                    <a:lnTo>
                      <a:pt x="63" y="168"/>
                    </a:lnTo>
                    <a:lnTo>
                      <a:pt x="59" y="172"/>
                    </a:lnTo>
                    <a:lnTo>
                      <a:pt x="59" y="176"/>
                    </a:lnTo>
                    <a:lnTo>
                      <a:pt x="55" y="176"/>
                    </a:lnTo>
                    <a:lnTo>
                      <a:pt x="55" y="172"/>
                    </a:lnTo>
                    <a:lnTo>
                      <a:pt x="55" y="176"/>
                    </a:lnTo>
                    <a:lnTo>
                      <a:pt x="51" y="176"/>
                    </a:lnTo>
                    <a:lnTo>
                      <a:pt x="47" y="172"/>
                    </a:lnTo>
                    <a:lnTo>
                      <a:pt x="43" y="168"/>
                    </a:lnTo>
                    <a:lnTo>
                      <a:pt x="43" y="164"/>
                    </a:lnTo>
                    <a:lnTo>
                      <a:pt x="39" y="160"/>
                    </a:lnTo>
                    <a:lnTo>
                      <a:pt x="43" y="160"/>
                    </a:lnTo>
                    <a:lnTo>
                      <a:pt x="39" y="160"/>
                    </a:lnTo>
                    <a:lnTo>
                      <a:pt x="39" y="156"/>
                    </a:lnTo>
                    <a:lnTo>
                      <a:pt x="43" y="156"/>
                    </a:lnTo>
                    <a:lnTo>
                      <a:pt x="43" y="152"/>
                    </a:lnTo>
                    <a:lnTo>
                      <a:pt x="43" y="156"/>
                    </a:lnTo>
                    <a:lnTo>
                      <a:pt x="39" y="156"/>
                    </a:lnTo>
                    <a:lnTo>
                      <a:pt x="39" y="152"/>
                    </a:lnTo>
                    <a:lnTo>
                      <a:pt x="43" y="152"/>
                    </a:lnTo>
                    <a:lnTo>
                      <a:pt x="39" y="152"/>
                    </a:lnTo>
                    <a:lnTo>
                      <a:pt x="35" y="148"/>
                    </a:lnTo>
                    <a:lnTo>
                      <a:pt x="35" y="144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28" y="140"/>
                    </a:lnTo>
                    <a:lnTo>
                      <a:pt x="28" y="136"/>
                    </a:lnTo>
                    <a:lnTo>
                      <a:pt x="24" y="136"/>
                    </a:lnTo>
                    <a:lnTo>
                      <a:pt x="20" y="136"/>
                    </a:lnTo>
                    <a:lnTo>
                      <a:pt x="16" y="136"/>
                    </a:lnTo>
                    <a:lnTo>
                      <a:pt x="12" y="136"/>
                    </a:lnTo>
                    <a:lnTo>
                      <a:pt x="16" y="136"/>
                    </a:lnTo>
                    <a:lnTo>
                      <a:pt x="20" y="132"/>
                    </a:lnTo>
                    <a:lnTo>
                      <a:pt x="16" y="132"/>
                    </a:lnTo>
                    <a:lnTo>
                      <a:pt x="12" y="136"/>
                    </a:lnTo>
                    <a:lnTo>
                      <a:pt x="12" y="132"/>
                    </a:lnTo>
                    <a:lnTo>
                      <a:pt x="12" y="136"/>
                    </a:lnTo>
                    <a:lnTo>
                      <a:pt x="8" y="136"/>
                    </a:lnTo>
                    <a:lnTo>
                      <a:pt x="4" y="136"/>
                    </a:lnTo>
                    <a:lnTo>
                      <a:pt x="0" y="136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124"/>
                    </a:lnTo>
                    <a:lnTo>
                      <a:pt x="4" y="124"/>
                    </a:lnTo>
                    <a:lnTo>
                      <a:pt x="4" y="120"/>
                    </a:lnTo>
                    <a:lnTo>
                      <a:pt x="0" y="116"/>
                    </a:lnTo>
                    <a:lnTo>
                      <a:pt x="0" y="112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4" y="88"/>
                    </a:lnTo>
                    <a:lnTo>
                      <a:pt x="8" y="88"/>
                    </a:lnTo>
                    <a:lnTo>
                      <a:pt x="8" y="84"/>
                    </a:lnTo>
                    <a:lnTo>
                      <a:pt x="8" y="80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0"/>
                    </a:lnTo>
                    <a:lnTo>
                      <a:pt x="20" y="60"/>
                    </a:lnTo>
                    <a:lnTo>
                      <a:pt x="20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48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5" y="0"/>
                    </a:lnTo>
                    <a:lnTo>
                      <a:pt x="39" y="0"/>
                    </a:lnTo>
                    <a:lnTo>
                      <a:pt x="43" y="0"/>
                    </a:lnTo>
                    <a:lnTo>
                      <a:pt x="47" y="0"/>
                    </a:lnTo>
                    <a:lnTo>
                      <a:pt x="51" y="0"/>
                    </a:lnTo>
                    <a:lnTo>
                      <a:pt x="51" y="4"/>
                    </a:lnTo>
                    <a:lnTo>
                      <a:pt x="55" y="4"/>
                    </a:lnTo>
                    <a:lnTo>
                      <a:pt x="59" y="8"/>
                    </a:lnTo>
                    <a:lnTo>
                      <a:pt x="63" y="12"/>
                    </a:lnTo>
                    <a:lnTo>
                      <a:pt x="63" y="16"/>
                    </a:lnTo>
                    <a:lnTo>
                      <a:pt x="67" y="16"/>
                    </a:lnTo>
                    <a:lnTo>
                      <a:pt x="67" y="12"/>
                    </a:lnTo>
                    <a:lnTo>
                      <a:pt x="71" y="12"/>
                    </a:lnTo>
                    <a:lnTo>
                      <a:pt x="79" y="8"/>
                    </a:lnTo>
                    <a:lnTo>
                      <a:pt x="83" y="8"/>
                    </a:lnTo>
                    <a:lnTo>
                      <a:pt x="83" y="12"/>
                    </a:lnTo>
                    <a:lnTo>
                      <a:pt x="87" y="12"/>
                    </a:lnTo>
                    <a:lnTo>
                      <a:pt x="91" y="16"/>
                    </a:lnTo>
                    <a:lnTo>
                      <a:pt x="95" y="16"/>
                    </a:lnTo>
                    <a:lnTo>
                      <a:pt x="99" y="16"/>
                    </a:lnTo>
                    <a:lnTo>
                      <a:pt x="103" y="20"/>
                    </a:lnTo>
                    <a:lnTo>
                      <a:pt x="107" y="20"/>
                    </a:lnTo>
                    <a:lnTo>
                      <a:pt x="107" y="16"/>
                    </a:lnTo>
                    <a:lnTo>
                      <a:pt x="107" y="12"/>
                    </a:lnTo>
                    <a:lnTo>
                      <a:pt x="111" y="12"/>
                    </a:lnTo>
                    <a:lnTo>
                      <a:pt x="115" y="8"/>
                    </a:lnTo>
                    <a:lnTo>
                      <a:pt x="119" y="8"/>
                    </a:lnTo>
                    <a:lnTo>
                      <a:pt x="123" y="8"/>
                    </a:lnTo>
                    <a:lnTo>
                      <a:pt x="127" y="8"/>
                    </a:lnTo>
                    <a:lnTo>
                      <a:pt x="131" y="8"/>
                    </a:lnTo>
                    <a:lnTo>
                      <a:pt x="135" y="8"/>
                    </a:lnTo>
                    <a:lnTo>
                      <a:pt x="139" y="8"/>
                    </a:lnTo>
                    <a:lnTo>
                      <a:pt x="139" y="12"/>
                    </a:lnTo>
                    <a:lnTo>
                      <a:pt x="143" y="12"/>
                    </a:lnTo>
                    <a:lnTo>
                      <a:pt x="147" y="12"/>
                    </a:lnTo>
                    <a:lnTo>
                      <a:pt x="151" y="12"/>
                    </a:lnTo>
                    <a:lnTo>
                      <a:pt x="151" y="8"/>
                    </a:lnTo>
                    <a:lnTo>
                      <a:pt x="155" y="4"/>
                    </a:lnTo>
                    <a:lnTo>
                      <a:pt x="159" y="4"/>
                    </a:lnTo>
                    <a:lnTo>
                      <a:pt x="163" y="0"/>
                    </a:lnTo>
                    <a:lnTo>
                      <a:pt x="167" y="0"/>
                    </a:lnTo>
                    <a:lnTo>
                      <a:pt x="167" y="4"/>
                    </a:lnTo>
                    <a:lnTo>
                      <a:pt x="171" y="8"/>
                    </a:lnTo>
                    <a:lnTo>
                      <a:pt x="171" y="12"/>
                    </a:lnTo>
                    <a:lnTo>
                      <a:pt x="175" y="16"/>
                    </a:lnTo>
                    <a:lnTo>
                      <a:pt x="175" y="20"/>
                    </a:lnTo>
                    <a:lnTo>
                      <a:pt x="175" y="24"/>
                    </a:lnTo>
                    <a:lnTo>
                      <a:pt x="175" y="28"/>
                    </a:lnTo>
                    <a:lnTo>
                      <a:pt x="179" y="28"/>
                    </a:lnTo>
                    <a:lnTo>
                      <a:pt x="183" y="28"/>
                    </a:lnTo>
                    <a:lnTo>
                      <a:pt x="183" y="32"/>
                    </a:lnTo>
                    <a:lnTo>
                      <a:pt x="179" y="32"/>
                    </a:lnTo>
                    <a:lnTo>
                      <a:pt x="183" y="32"/>
                    </a:lnTo>
                    <a:lnTo>
                      <a:pt x="183" y="36"/>
                    </a:lnTo>
                    <a:lnTo>
                      <a:pt x="179" y="36"/>
                    </a:lnTo>
                    <a:lnTo>
                      <a:pt x="179" y="40"/>
                    </a:lnTo>
                    <a:lnTo>
                      <a:pt x="183" y="40"/>
                    </a:lnTo>
                    <a:lnTo>
                      <a:pt x="179" y="44"/>
                    </a:lnTo>
                    <a:lnTo>
                      <a:pt x="175" y="44"/>
                    </a:lnTo>
                    <a:lnTo>
                      <a:pt x="175" y="48"/>
                    </a:lnTo>
                    <a:lnTo>
                      <a:pt x="171" y="48"/>
                    </a:lnTo>
                    <a:lnTo>
                      <a:pt x="167" y="52"/>
                    </a:lnTo>
                    <a:lnTo>
                      <a:pt x="167" y="56"/>
                    </a:lnTo>
                    <a:lnTo>
                      <a:pt x="163" y="60"/>
                    </a:lnTo>
                    <a:lnTo>
                      <a:pt x="163" y="64"/>
                    </a:lnTo>
                    <a:lnTo>
                      <a:pt x="163" y="68"/>
                    </a:lnTo>
                    <a:lnTo>
                      <a:pt x="159" y="68"/>
                    </a:lnTo>
                    <a:lnTo>
                      <a:pt x="159" y="72"/>
                    </a:lnTo>
                    <a:lnTo>
                      <a:pt x="159" y="76"/>
                    </a:lnTo>
                    <a:lnTo>
                      <a:pt x="159" y="80"/>
                    </a:lnTo>
                    <a:lnTo>
                      <a:pt x="155" y="80"/>
                    </a:lnTo>
                    <a:lnTo>
                      <a:pt x="155" y="84"/>
                    </a:lnTo>
                    <a:lnTo>
                      <a:pt x="155" y="88"/>
                    </a:lnTo>
                    <a:lnTo>
                      <a:pt x="155" y="92"/>
                    </a:lnTo>
                    <a:lnTo>
                      <a:pt x="151" y="96"/>
                    </a:lnTo>
                    <a:lnTo>
                      <a:pt x="147" y="96"/>
                    </a:lnTo>
                    <a:lnTo>
                      <a:pt x="147" y="100"/>
                    </a:lnTo>
                    <a:lnTo>
                      <a:pt x="143" y="100"/>
                    </a:lnTo>
                    <a:lnTo>
                      <a:pt x="143" y="104"/>
                    </a:lnTo>
                    <a:lnTo>
                      <a:pt x="147" y="104"/>
                    </a:lnTo>
                    <a:lnTo>
                      <a:pt x="143" y="104"/>
                    </a:lnTo>
                    <a:lnTo>
                      <a:pt x="143" y="108"/>
                    </a:lnTo>
                    <a:lnTo>
                      <a:pt x="143" y="112"/>
                    </a:lnTo>
                    <a:lnTo>
                      <a:pt x="143" y="116"/>
                    </a:lnTo>
                    <a:lnTo>
                      <a:pt x="139" y="116"/>
                    </a:lnTo>
                    <a:lnTo>
                      <a:pt x="139" y="120"/>
                    </a:lnTo>
                    <a:close/>
                    <a:moveTo>
                      <a:pt x="67" y="172"/>
                    </a:moveTo>
                    <a:lnTo>
                      <a:pt x="71" y="172"/>
                    </a:lnTo>
                    <a:lnTo>
                      <a:pt x="67" y="172"/>
                    </a:lnTo>
                    <a:close/>
                  </a:path>
                </a:pathLst>
              </a:custGeom>
              <a:solidFill>
                <a:schemeClr val="accent4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3" name="Freeform 153">
                <a:extLst>
                  <a:ext uri="{FF2B5EF4-FFF2-40B4-BE49-F238E27FC236}">
                    <a16:creationId xmlns:a16="http://schemas.microsoft.com/office/drawing/2014/main" id="{56BA8736-1891-4C8E-98A9-E97BB0B9BD11}"/>
                  </a:ext>
                </a:extLst>
              </p:cNvPr>
              <p:cNvSpPr>
                <a:spLocks/>
              </p:cNvSpPr>
              <p:nvPr>
                <p:custDataLst>
                  <p:tags r:id="rId73"/>
                </p:custDataLst>
              </p:nvPr>
            </p:nvSpPr>
            <p:spPr bwMode="gray">
              <a:xfrm>
                <a:off x="4345168" y="5988353"/>
                <a:ext cx="35297" cy="40339"/>
              </a:xfrm>
              <a:custGeom>
                <a:avLst/>
                <a:gdLst/>
                <a:ahLst/>
                <a:cxnLst>
                  <a:cxn ang="0">
                    <a:pos x="0" y="32"/>
                  </a:cxn>
                  <a:cxn ang="0">
                    <a:pos x="0" y="32"/>
                  </a:cxn>
                  <a:cxn ang="0">
                    <a:pos x="0" y="24"/>
                  </a:cxn>
                  <a:cxn ang="0">
                    <a:pos x="4" y="24"/>
                  </a:cxn>
                  <a:cxn ang="0">
                    <a:pos x="4" y="20"/>
                  </a:cxn>
                  <a:cxn ang="0">
                    <a:pos x="4" y="20"/>
                  </a:cxn>
                  <a:cxn ang="0">
                    <a:pos x="4" y="16"/>
                  </a:cxn>
                  <a:cxn ang="0">
                    <a:pos x="4" y="16"/>
                  </a:cxn>
                  <a:cxn ang="0">
                    <a:pos x="4" y="8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8" y="8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16" y="8"/>
                  </a:cxn>
                  <a:cxn ang="0">
                    <a:pos x="16" y="8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24" y="0"/>
                  </a:cxn>
                  <a:cxn ang="0">
                    <a:pos x="24" y="4"/>
                  </a:cxn>
                  <a:cxn ang="0">
                    <a:pos x="24" y="8"/>
                  </a:cxn>
                  <a:cxn ang="0">
                    <a:pos x="28" y="8"/>
                  </a:cxn>
                  <a:cxn ang="0">
                    <a:pos x="28" y="12"/>
                  </a:cxn>
                  <a:cxn ang="0">
                    <a:pos x="28" y="16"/>
                  </a:cxn>
                  <a:cxn ang="0">
                    <a:pos x="28" y="20"/>
                  </a:cxn>
                  <a:cxn ang="0">
                    <a:pos x="28" y="24"/>
                  </a:cxn>
                  <a:cxn ang="0">
                    <a:pos x="28" y="24"/>
                  </a:cxn>
                  <a:cxn ang="0">
                    <a:pos x="28" y="24"/>
                  </a:cxn>
                  <a:cxn ang="0">
                    <a:pos x="24" y="24"/>
                  </a:cxn>
                  <a:cxn ang="0">
                    <a:pos x="24" y="24"/>
                  </a:cxn>
                  <a:cxn ang="0">
                    <a:pos x="20" y="24"/>
                  </a:cxn>
                  <a:cxn ang="0">
                    <a:pos x="16" y="28"/>
                  </a:cxn>
                  <a:cxn ang="0">
                    <a:pos x="16" y="24"/>
                  </a:cxn>
                  <a:cxn ang="0">
                    <a:pos x="16" y="32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8" y="32"/>
                  </a:cxn>
                  <a:cxn ang="0">
                    <a:pos x="8" y="32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0" y="28"/>
                  </a:cxn>
                  <a:cxn ang="0">
                    <a:pos x="0" y="32"/>
                  </a:cxn>
                </a:cxnLst>
                <a:rect l="0" t="0" r="r" b="b"/>
                <a:pathLst>
                  <a:path w="28" h="32">
                    <a:moveTo>
                      <a:pt x="0" y="32"/>
                    </a:move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20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2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16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8" y="20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8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8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4" name="Freeform 154">
                <a:extLst>
                  <a:ext uri="{FF2B5EF4-FFF2-40B4-BE49-F238E27FC236}">
                    <a16:creationId xmlns:a16="http://schemas.microsoft.com/office/drawing/2014/main" id="{376DA10B-C0C2-4300-96F7-51A6167E2408}"/>
                  </a:ext>
                </a:extLst>
              </p:cNvPr>
              <p:cNvSpPr>
                <a:spLocks noEditPoints="1"/>
              </p:cNvSpPr>
              <p:nvPr>
                <p:custDataLst>
                  <p:tags r:id="rId74"/>
                </p:custDataLst>
              </p:nvPr>
            </p:nvSpPr>
            <p:spPr bwMode="gray">
              <a:xfrm>
                <a:off x="3917823" y="5927844"/>
                <a:ext cx="15127" cy="35297"/>
              </a:xfrm>
              <a:custGeom>
                <a:avLst/>
                <a:gdLst/>
                <a:ahLst/>
                <a:cxnLst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12" y="0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0" y="24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4" y="2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28"/>
                  </a:cxn>
                </a:cxnLst>
                <a:rect l="0" t="0" r="r" b="b"/>
                <a:pathLst>
                  <a:path w="12" h="28">
                    <a:moveTo>
                      <a:pt x="12" y="0"/>
                    </a:move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2" y="0"/>
                    </a:lnTo>
                    <a:close/>
                    <a:moveTo>
                      <a:pt x="0" y="28"/>
                    </a:move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5" name="Freeform 155">
                <a:extLst>
                  <a:ext uri="{FF2B5EF4-FFF2-40B4-BE49-F238E27FC236}">
                    <a16:creationId xmlns:a16="http://schemas.microsoft.com/office/drawing/2014/main" id="{5F05C0E4-06A5-47E1-848C-9C71A3B3AF6F}"/>
                  </a:ext>
                </a:extLst>
              </p:cNvPr>
              <p:cNvSpPr>
                <a:spLocks/>
              </p:cNvSpPr>
              <p:nvPr>
                <p:custDataLst>
                  <p:tags r:id="rId75"/>
                </p:custDataLst>
              </p:nvPr>
            </p:nvSpPr>
            <p:spPr bwMode="gray">
              <a:xfrm>
                <a:off x="3455181" y="5574875"/>
                <a:ext cx="121018" cy="105891"/>
              </a:xfrm>
              <a:custGeom>
                <a:avLst/>
                <a:gdLst/>
                <a:ahLst/>
                <a:cxnLst>
                  <a:cxn ang="0">
                    <a:pos x="88" y="84"/>
                  </a:cxn>
                  <a:cxn ang="0">
                    <a:pos x="84" y="84"/>
                  </a:cxn>
                  <a:cxn ang="0">
                    <a:pos x="76" y="84"/>
                  </a:cxn>
                  <a:cxn ang="0">
                    <a:pos x="68" y="80"/>
                  </a:cxn>
                  <a:cxn ang="0">
                    <a:pos x="64" y="76"/>
                  </a:cxn>
                  <a:cxn ang="0">
                    <a:pos x="48" y="76"/>
                  </a:cxn>
                  <a:cxn ang="0">
                    <a:pos x="32" y="80"/>
                  </a:cxn>
                  <a:cxn ang="0">
                    <a:pos x="24" y="80"/>
                  </a:cxn>
                  <a:cxn ang="0">
                    <a:pos x="16" y="84"/>
                  </a:cxn>
                  <a:cxn ang="0">
                    <a:pos x="16" y="76"/>
                  </a:cxn>
                  <a:cxn ang="0">
                    <a:pos x="24" y="80"/>
                  </a:cxn>
                  <a:cxn ang="0">
                    <a:pos x="28" y="80"/>
                  </a:cxn>
                  <a:cxn ang="0">
                    <a:pos x="32" y="76"/>
                  </a:cxn>
                  <a:cxn ang="0">
                    <a:pos x="32" y="76"/>
                  </a:cxn>
                  <a:cxn ang="0">
                    <a:pos x="28" y="76"/>
                  </a:cxn>
                  <a:cxn ang="0">
                    <a:pos x="24" y="76"/>
                  </a:cxn>
                  <a:cxn ang="0">
                    <a:pos x="16" y="76"/>
                  </a:cxn>
                  <a:cxn ang="0">
                    <a:pos x="12" y="80"/>
                  </a:cxn>
                  <a:cxn ang="0">
                    <a:pos x="12" y="72"/>
                  </a:cxn>
                  <a:cxn ang="0">
                    <a:pos x="28" y="68"/>
                  </a:cxn>
                  <a:cxn ang="0">
                    <a:pos x="36" y="64"/>
                  </a:cxn>
                  <a:cxn ang="0">
                    <a:pos x="40" y="60"/>
                  </a:cxn>
                  <a:cxn ang="0">
                    <a:pos x="44" y="64"/>
                  </a:cxn>
                  <a:cxn ang="0">
                    <a:pos x="48" y="68"/>
                  </a:cxn>
                  <a:cxn ang="0">
                    <a:pos x="56" y="64"/>
                  </a:cxn>
                  <a:cxn ang="0">
                    <a:pos x="60" y="60"/>
                  </a:cxn>
                  <a:cxn ang="0">
                    <a:pos x="52" y="60"/>
                  </a:cxn>
                  <a:cxn ang="0">
                    <a:pos x="48" y="60"/>
                  </a:cxn>
                  <a:cxn ang="0">
                    <a:pos x="44" y="60"/>
                  </a:cxn>
                  <a:cxn ang="0">
                    <a:pos x="44" y="56"/>
                  </a:cxn>
                  <a:cxn ang="0">
                    <a:pos x="36" y="56"/>
                  </a:cxn>
                  <a:cxn ang="0">
                    <a:pos x="32" y="60"/>
                  </a:cxn>
                  <a:cxn ang="0">
                    <a:pos x="16" y="60"/>
                  </a:cxn>
                  <a:cxn ang="0">
                    <a:pos x="16" y="56"/>
                  </a:cxn>
                  <a:cxn ang="0">
                    <a:pos x="16" y="52"/>
                  </a:cxn>
                  <a:cxn ang="0">
                    <a:pos x="20" y="48"/>
                  </a:cxn>
                  <a:cxn ang="0">
                    <a:pos x="16" y="52"/>
                  </a:cxn>
                  <a:cxn ang="0">
                    <a:pos x="12" y="44"/>
                  </a:cxn>
                  <a:cxn ang="0">
                    <a:pos x="8" y="40"/>
                  </a:cxn>
                  <a:cxn ang="0">
                    <a:pos x="4" y="40"/>
                  </a:cxn>
                  <a:cxn ang="0">
                    <a:pos x="8" y="36"/>
                  </a:cxn>
                  <a:cxn ang="0">
                    <a:pos x="12" y="24"/>
                  </a:cxn>
                  <a:cxn ang="0">
                    <a:pos x="16" y="20"/>
                  </a:cxn>
                  <a:cxn ang="0">
                    <a:pos x="20" y="8"/>
                  </a:cxn>
                  <a:cxn ang="0">
                    <a:pos x="24" y="4"/>
                  </a:cxn>
                  <a:cxn ang="0">
                    <a:pos x="32" y="4"/>
                  </a:cxn>
                  <a:cxn ang="0">
                    <a:pos x="40" y="4"/>
                  </a:cxn>
                  <a:cxn ang="0">
                    <a:pos x="48" y="4"/>
                  </a:cxn>
                  <a:cxn ang="0">
                    <a:pos x="60" y="12"/>
                  </a:cxn>
                  <a:cxn ang="0">
                    <a:pos x="64" y="16"/>
                  </a:cxn>
                  <a:cxn ang="0">
                    <a:pos x="72" y="28"/>
                  </a:cxn>
                  <a:cxn ang="0">
                    <a:pos x="72" y="32"/>
                  </a:cxn>
                  <a:cxn ang="0">
                    <a:pos x="80" y="36"/>
                  </a:cxn>
                  <a:cxn ang="0">
                    <a:pos x="84" y="44"/>
                  </a:cxn>
                  <a:cxn ang="0">
                    <a:pos x="88" y="52"/>
                  </a:cxn>
                  <a:cxn ang="0">
                    <a:pos x="84" y="56"/>
                  </a:cxn>
                  <a:cxn ang="0">
                    <a:pos x="88" y="64"/>
                  </a:cxn>
                  <a:cxn ang="0">
                    <a:pos x="92" y="68"/>
                  </a:cxn>
                  <a:cxn ang="0">
                    <a:pos x="96" y="76"/>
                  </a:cxn>
                </a:cxnLst>
                <a:rect l="0" t="0" r="r" b="b"/>
                <a:pathLst>
                  <a:path w="96" h="84">
                    <a:moveTo>
                      <a:pt x="96" y="80"/>
                    </a:moveTo>
                    <a:lnTo>
                      <a:pt x="96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2" y="80"/>
                    </a:lnTo>
                    <a:lnTo>
                      <a:pt x="92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4"/>
                    </a:lnTo>
                    <a:lnTo>
                      <a:pt x="88" y="80"/>
                    </a:lnTo>
                    <a:lnTo>
                      <a:pt x="84" y="80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4" y="84"/>
                    </a:lnTo>
                    <a:lnTo>
                      <a:pt x="80" y="84"/>
                    </a:lnTo>
                    <a:lnTo>
                      <a:pt x="80" y="84"/>
                    </a:lnTo>
                    <a:lnTo>
                      <a:pt x="80" y="84"/>
                    </a:lnTo>
                    <a:lnTo>
                      <a:pt x="80" y="84"/>
                    </a:lnTo>
                    <a:lnTo>
                      <a:pt x="80" y="80"/>
                    </a:lnTo>
                    <a:lnTo>
                      <a:pt x="80" y="80"/>
                    </a:lnTo>
                    <a:lnTo>
                      <a:pt x="76" y="84"/>
                    </a:lnTo>
                    <a:lnTo>
                      <a:pt x="76" y="84"/>
                    </a:lnTo>
                    <a:lnTo>
                      <a:pt x="76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72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72" y="80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4" y="76"/>
                    </a:lnTo>
                    <a:lnTo>
                      <a:pt x="64" y="76"/>
                    </a:lnTo>
                    <a:lnTo>
                      <a:pt x="60" y="76"/>
                    </a:lnTo>
                    <a:lnTo>
                      <a:pt x="60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44" y="76"/>
                    </a:lnTo>
                    <a:lnTo>
                      <a:pt x="44" y="76"/>
                    </a:lnTo>
                    <a:lnTo>
                      <a:pt x="40" y="76"/>
                    </a:lnTo>
                    <a:lnTo>
                      <a:pt x="36" y="76"/>
                    </a:lnTo>
                    <a:lnTo>
                      <a:pt x="36" y="76"/>
                    </a:lnTo>
                    <a:lnTo>
                      <a:pt x="36" y="80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0" y="80"/>
                    </a:lnTo>
                    <a:lnTo>
                      <a:pt x="20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6" y="76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4" y="80"/>
                    </a:lnTo>
                    <a:lnTo>
                      <a:pt x="24" y="80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6" y="76"/>
                    </a:lnTo>
                    <a:lnTo>
                      <a:pt x="36" y="72"/>
                    </a:lnTo>
                    <a:lnTo>
                      <a:pt x="32" y="72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76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76"/>
                    </a:lnTo>
                    <a:lnTo>
                      <a:pt x="24" y="80"/>
                    </a:lnTo>
                    <a:lnTo>
                      <a:pt x="24" y="76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4"/>
                    </a:lnTo>
                    <a:lnTo>
                      <a:pt x="32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4"/>
                    </a:lnTo>
                    <a:lnTo>
                      <a:pt x="36" y="60"/>
                    </a:lnTo>
                    <a:lnTo>
                      <a:pt x="36" y="60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4" y="64"/>
                    </a:lnTo>
                    <a:lnTo>
                      <a:pt x="48" y="64"/>
                    </a:lnTo>
                    <a:lnTo>
                      <a:pt x="48" y="64"/>
                    </a:lnTo>
                    <a:lnTo>
                      <a:pt x="48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4"/>
                    </a:lnTo>
                    <a:lnTo>
                      <a:pt x="60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6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48" y="64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8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6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56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8" y="60"/>
                    </a:lnTo>
                    <a:lnTo>
                      <a:pt x="24" y="60"/>
                    </a:lnTo>
                    <a:lnTo>
                      <a:pt x="24" y="60"/>
                    </a:lnTo>
                    <a:lnTo>
                      <a:pt x="16" y="60"/>
                    </a:lnTo>
                    <a:lnTo>
                      <a:pt x="16" y="60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16" y="48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4" y="40"/>
                    </a:lnTo>
                    <a:lnTo>
                      <a:pt x="0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8" y="36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4"/>
                    </a:lnTo>
                    <a:lnTo>
                      <a:pt x="12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48" y="4"/>
                    </a:lnTo>
                    <a:lnTo>
                      <a:pt x="52" y="4"/>
                    </a:lnTo>
                    <a:lnTo>
                      <a:pt x="52" y="4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0" y="12"/>
                    </a:lnTo>
                    <a:lnTo>
                      <a:pt x="64" y="12"/>
                    </a:lnTo>
                    <a:lnTo>
                      <a:pt x="64" y="12"/>
                    </a:lnTo>
                    <a:lnTo>
                      <a:pt x="64" y="16"/>
                    </a:lnTo>
                    <a:lnTo>
                      <a:pt x="68" y="20"/>
                    </a:lnTo>
                    <a:lnTo>
                      <a:pt x="68" y="20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68" y="24"/>
                    </a:lnTo>
                    <a:lnTo>
                      <a:pt x="72" y="24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28"/>
                    </a:lnTo>
                    <a:lnTo>
                      <a:pt x="72" y="32"/>
                    </a:lnTo>
                    <a:lnTo>
                      <a:pt x="76" y="32"/>
                    </a:lnTo>
                    <a:lnTo>
                      <a:pt x="76" y="32"/>
                    </a:lnTo>
                    <a:lnTo>
                      <a:pt x="76" y="32"/>
                    </a:lnTo>
                    <a:lnTo>
                      <a:pt x="76" y="32"/>
                    </a:lnTo>
                    <a:lnTo>
                      <a:pt x="80" y="32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4"/>
                    </a:lnTo>
                    <a:lnTo>
                      <a:pt x="84" y="48"/>
                    </a:lnTo>
                    <a:lnTo>
                      <a:pt x="88" y="48"/>
                    </a:lnTo>
                    <a:lnTo>
                      <a:pt x="88" y="48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4" y="52"/>
                    </a:lnTo>
                    <a:lnTo>
                      <a:pt x="88" y="52"/>
                    </a:lnTo>
                    <a:lnTo>
                      <a:pt x="88" y="52"/>
                    </a:lnTo>
                    <a:lnTo>
                      <a:pt x="88" y="52"/>
                    </a:lnTo>
                    <a:lnTo>
                      <a:pt x="88" y="56"/>
                    </a:lnTo>
                    <a:lnTo>
                      <a:pt x="88" y="56"/>
                    </a:lnTo>
                    <a:lnTo>
                      <a:pt x="88" y="56"/>
                    </a:lnTo>
                    <a:lnTo>
                      <a:pt x="88" y="56"/>
                    </a:lnTo>
                    <a:lnTo>
                      <a:pt x="88" y="56"/>
                    </a:lnTo>
                    <a:lnTo>
                      <a:pt x="88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56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4" y="60"/>
                    </a:lnTo>
                    <a:lnTo>
                      <a:pt x="88" y="60"/>
                    </a:lnTo>
                    <a:lnTo>
                      <a:pt x="88" y="64"/>
                    </a:lnTo>
                    <a:lnTo>
                      <a:pt x="88" y="64"/>
                    </a:lnTo>
                    <a:lnTo>
                      <a:pt x="88" y="64"/>
                    </a:lnTo>
                    <a:lnTo>
                      <a:pt x="88" y="64"/>
                    </a:lnTo>
                    <a:lnTo>
                      <a:pt x="88" y="64"/>
                    </a:lnTo>
                    <a:lnTo>
                      <a:pt x="92" y="64"/>
                    </a:lnTo>
                    <a:lnTo>
                      <a:pt x="92" y="64"/>
                    </a:lnTo>
                    <a:lnTo>
                      <a:pt x="92" y="64"/>
                    </a:lnTo>
                    <a:lnTo>
                      <a:pt x="92" y="64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2" y="68"/>
                    </a:lnTo>
                    <a:lnTo>
                      <a:pt x="96" y="68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6" y="72"/>
                    </a:lnTo>
                    <a:lnTo>
                      <a:pt x="96" y="76"/>
                    </a:lnTo>
                    <a:lnTo>
                      <a:pt x="96" y="80"/>
                    </a:lnTo>
                    <a:lnTo>
                      <a:pt x="96" y="80"/>
                    </a:lnTo>
                    <a:lnTo>
                      <a:pt x="96" y="80"/>
                    </a:lnTo>
                    <a:lnTo>
                      <a:pt x="96" y="80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6" name="Freeform 156">
                <a:extLst>
                  <a:ext uri="{FF2B5EF4-FFF2-40B4-BE49-F238E27FC236}">
                    <a16:creationId xmlns:a16="http://schemas.microsoft.com/office/drawing/2014/main" id="{A1CA658A-EC2E-47E9-A0B9-F142F4D4823D}"/>
                  </a:ext>
                </a:extLst>
              </p:cNvPr>
              <p:cNvSpPr>
                <a:spLocks noEditPoints="1"/>
              </p:cNvSpPr>
              <p:nvPr>
                <p:custDataLst>
                  <p:tags r:id="rId76"/>
                </p:custDataLst>
              </p:nvPr>
            </p:nvSpPr>
            <p:spPr bwMode="gray">
              <a:xfrm>
                <a:off x="4672925" y="6067771"/>
                <a:ext cx="180266" cy="115976"/>
              </a:xfrm>
              <a:custGeom>
                <a:avLst/>
                <a:gdLst/>
                <a:ahLst/>
                <a:cxnLst>
                  <a:cxn ang="0">
                    <a:pos x="4" y="92"/>
                  </a:cxn>
                  <a:cxn ang="0">
                    <a:pos x="4" y="92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0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88"/>
                  </a:cxn>
                  <a:cxn ang="0">
                    <a:pos x="4" y="88"/>
                  </a:cxn>
                  <a:cxn ang="0">
                    <a:pos x="4" y="88"/>
                  </a:cxn>
                  <a:cxn ang="0">
                    <a:pos x="8" y="88"/>
                  </a:cxn>
                  <a:cxn ang="0">
                    <a:pos x="8" y="92"/>
                  </a:cxn>
                  <a:cxn ang="0">
                    <a:pos x="8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4" y="92"/>
                  </a:cxn>
                  <a:cxn ang="0">
                    <a:pos x="143" y="4"/>
                  </a:cxn>
                  <a:cxn ang="0">
                    <a:pos x="143" y="4"/>
                  </a:cxn>
                  <a:cxn ang="0">
                    <a:pos x="143" y="4"/>
                  </a:cxn>
                  <a:cxn ang="0">
                    <a:pos x="143" y="4"/>
                  </a:cxn>
                  <a:cxn ang="0">
                    <a:pos x="139" y="4"/>
                  </a:cxn>
                  <a:cxn ang="0">
                    <a:pos x="139" y="0"/>
                  </a:cxn>
                  <a:cxn ang="0">
                    <a:pos x="139" y="0"/>
                  </a:cxn>
                  <a:cxn ang="0">
                    <a:pos x="143" y="0"/>
                  </a:cxn>
                  <a:cxn ang="0">
                    <a:pos x="143" y="4"/>
                  </a:cxn>
                  <a:cxn ang="0">
                    <a:pos x="143" y="4"/>
                  </a:cxn>
                  <a:cxn ang="0">
                    <a:pos x="143" y="4"/>
                  </a:cxn>
                  <a:cxn ang="0">
                    <a:pos x="143" y="4"/>
                  </a:cxn>
                </a:cxnLst>
                <a:rect l="0" t="0" r="r" b="b"/>
                <a:pathLst>
                  <a:path w="143" h="92">
                    <a:moveTo>
                      <a:pt x="4" y="92"/>
                    </a:moveTo>
                    <a:lnTo>
                      <a:pt x="4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8" y="88"/>
                    </a:lnTo>
                    <a:lnTo>
                      <a:pt x="8" y="92"/>
                    </a:lnTo>
                    <a:lnTo>
                      <a:pt x="8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lnTo>
                      <a:pt x="4" y="92"/>
                    </a:lnTo>
                    <a:close/>
                    <a:moveTo>
                      <a:pt x="143" y="4"/>
                    </a:moveTo>
                    <a:lnTo>
                      <a:pt x="143" y="4"/>
                    </a:lnTo>
                    <a:lnTo>
                      <a:pt x="143" y="4"/>
                    </a:lnTo>
                    <a:lnTo>
                      <a:pt x="143" y="4"/>
                    </a:lnTo>
                    <a:lnTo>
                      <a:pt x="139" y="4"/>
                    </a:lnTo>
                    <a:lnTo>
                      <a:pt x="139" y="0"/>
                    </a:lnTo>
                    <a:lnTo>
                      <a:pt x="139" y="0"/>
                    </a:lnTo>
                    <a:lnTo>
                      <a:pt x="143" y="0"/>
                    </a:lnTo>
                    <a:lnTo>
                      <a:pt x="143" y="4"/>
                    </a:lnTo>
                    <a:lnTo>
                      <a:pt x="143" y="4"/>
                    </a:lnTo>
                    <a:lnTo>
                      <a:pt x="143" y="4"/>
                    </a:lnTo>
                    <a:lnTo>
                      <a:pt x="143" y="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7" name="Freeform 157">
                <a:extLst>
                  <a:ext uri="{FF2B5EF4-FFF2-40B4-BE49-F238E27FC236}">
                    <a16:creationId xmlns:a16="http://schemas.microsoft.com/office/drawing/2014/main" id="{2E0827AC-E08A-4B29-A808-ECB5572BB10E}"/>
                  </a:ext>
                </a:extLst>
              </p:cNvPr>
              <p:cNvSpPr>
                <a:spLocks noEditPoints="1"/>
              </p:cNvSpPr>
              <p:nvPr>
                <p:custDataLst>
                  <p:tags r:id="rId77"/>
                </p:custDataLst>
              </p:nvPr>
            </p:nvSpPr>
            <p:spPr bwMode="gray">
              <a:xfrm>
                <a:off x="3540902" y="5736232"/>
                <a:ext cx="55467" cy="70594"/>
              </a:xfrm>
              <a:custGeom>
                <a:avLst/>
                <a:gdLst/>
                <a:ahLst/>
                <a:cxnLst>
                  <a:cxn ang="0">
                    <a:pos x="24" y="52"/>
                  </a:cxn>
                  <a:cxn ang="0">
                    <a:pos x="20" y="52"/>
                  </a:cxn>
                  <a:cxn ang="0">
                    <a:pos x="12" y="48"/>
                  </a:cxn>
                  <a:cxn ang="0">
                    <a:pos x="12" y="44"/>
                  </a:cxn>
                  <a:cxn ang="0">
                    <a:pos x="12" y="44"/>
                  </a:cxn>
                  <a:cxn ang="0">
                    <a:pos x="16" y="44"/>
                  </a:cxn>
                  <a:cxn ang="0">
                    <a:pos x="12" y="44"/>
                  </a:cxn>
                  <a:cxn ang="0">
                    <a:pos x="8" y="40"/>
                  </a:cxn>
                  <a:cxn ang="0">
                    <a:pos x="4" y="36"/>
                  </a:cxn>
                  <a:cxn ang="0">
                    <a:pos x="4" y="32"/>
                  </a:cxn>
                  <a:cxn ang="0">
                    <a:pos x="4" y="32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0" y="28"/>
                  </a:cxn>
                  <a:cxn ang="0">
                    <a:pos x="4" y="24"/>
                  </a:cxn>
                  <a:cxn ang="0">
                    <a:pos x="4" y="24"/>
                  </a:cxn>
                  <a:cxn ang="0">
                    <a:pos x="0" y="24"/>
                  </a:cxn>
                  <a:cxn ang="0">
                    <a:pos x="0" y="20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0" y="16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8" y="8"/>
                  </a:cxn>
                  <a:cxn ang="0">
                    <a:pos x="8" y="4"/>
                  </a:cxn>
                  <a:cxn ang="0">
                    <a:pos x="16" y="0"/>
                  </a:cxn>
                  <a:cxn ang="0">
                    <a:pos x="16" y="0"/>
                  </a:cxn>
                  <a:cxn ang="0">
                    <a:pos x="24" y="0"/>
                  </a:cxn>
                  <a:cxn ang="0">
                    <a:pos x="28" y="0"/>
                  </a:cxn>
                  <a:cxn ang="0">
                    <a:pos x="32" y="4"/>
                  </a:cxn>
                  <a:cxn ang="0">
                    <a:pos x="36" y="8"/>
                  </a:cxn>
                  <a:cxn ang="0">
                    <a:pos x="40" y="12"/>
                  </a:cxn>
                  <a:cxn ang="0">
                    <a:pos x="36" y="16"/>
                  </a:cxn>
                  <a:cxn ang="0">
                    <a:pos x="40" y="16"/>
                  </a:cxn>
                  <a:cxn ang="0">
                    <a:pos x="40" y="20"/>
                  </a:cxn>
                  <a:cxn ang="0">
                    <a:pos x="40" y="24"/>
                  </a:cxn>
                  <a:cxn ang="0">
                    <a:pos x="40" y="28"/>
                  </a:cxn>
                  <a:cxn ang="0">
                    <a:pos x="44" y="28"/>
                  </a:cxn>
                  <a:cxn ang="0">
                    <a:pos x="44" y="32"/>
                  </a:cxn>
                  <a:cxn ang="0">
                    <a:pos x="40" y="32"/>
                  </a:cxn>
                  <a:cxn ang="0">
                    <a:pos x="40" y="36"/>
                  </a:cxn>
                  <a:cxn ang="0">
                    <a:pos x="36" y="40"/>
                  </a:cxn>
                  <a:cxn ang="0">
                    <a:pos x="36" y="44"/>
                  </a:cxn>
                  <a:cxn ang="0">
                    <a:pos x="32" y="48"/>
                  </a:cxn>
                  <a:cxn ang="0">
                    <a:pos x="32" y="48"/>
                  </a:cxn>
                  <a:cxn ang="0">
                    <a:pos x="28" y="52"/>
                  </a:cxn>
                  <a:cxn ang="0">
                    <a:pos x="28" y="56"/>
                  </a:cxn>
                  <a:cxn ang="0">
                    <a:pos x="8" y="40"/>
                  </a:cxn>
                  <a:cxn ang="0">
                    <a:pos x="8" y="40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8" y="44"/>
                  </a:cxn>
                  <a:cxn ang="0">
                    <a:pos x="4" y="44"/>
                  </a:cxn>
                </a:cxnLst>
                <a:rect l="0" t="0" r="r" b="b"/>
                <a:pathLst>
                  <a:path w="44" h="56">
                    <a:moveTo>
                      <a:pt x="24" y="56"/>
                    </a:moveTo>
                    <a:lnTo>
                      <a:pt x="24" y="56"/>
                    </a:lnTo>
                    <a:lnTo>
                      <a:pt x="24" y="56"/>
                    </a:lnTo>
                    <a:lnTo>
                      <a:pt x="24" y="52"/>
                    </a:lnTo>
                    <a:lnTo>
                      <a:pt x="24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20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4" y="40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6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4" y="32"/>
                    </a:lnTo>
                    <a:lnTo>
                      <a:pt x="0" y="32"/>
                    </a:lnTo>
                    <a:lnTo>
                      <a:pt x="0" y="32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28"/>
                    </a:lnTo>
                    <a:lnTo>
                      <a:pt x="4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4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4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20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0" y="16"/>
                    </a:lnTo>
                    <a:lnTo>
                      <a:pt x="4" y="16"/>
                    </a:lnTo>
                    <a:lnTo>
                      <a:pt x="4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0"/>
                    </a:lnTo>
                    <a:lnTo>
                      <a:pt x="12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16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16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0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40" y="24"/>
                    </a:lnTo>
                    <a:lnTo>
                      <a:pt x="36" y="28"/>
                    </a:lnTo>
                    <a:lnTo>
                      <a:pt x="36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4" y="28"/>
                    </a:lnTo>
                    <a:lnTo>
                      <a:pt x="44" y="24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4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40"/>
                    </a:lnTo>
                    <a:lnTo>
                      <a:pt x="40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32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28" y="56"/>
                    </a:lnTo>
                    <a:lnTo>
                      <a:pt x="24" y="56"/>
                    </a:lnTo>
                    <a:lnTo>
                      <a:pt x="24" y="56"/>
                    </a:lnTo>
                    <a:close/>
                    <a:moveTo>
                      <a:pt x="4" y="44"/>
                    </a:move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0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close/>
                  </a:path>
                </a:pathLst>
              </a:custGeom>
              <a:solidFill>
                <a:srgbClr val="92D050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8" name="Freeform 158">
                <a:extLst>
                  <a:ext uri="{FF2B5EF4-FFF2-40B4-BE49-F238E27FC236}">
                    <a16:creationId xmlns:a16="http://schemas.microsoft.com/office/drawing/2014/main" id="{B1E40A84-B022-4B09-AA60-D93ED3229635}"/>
                  </a:ext>
                </a:extLst>
              </p:cNvPr>
              <p:cNvSpPr>
                <a:spLocks/>
              </p:cNvSpPr>
              <p:nvPr>
                <p:custDataLst>
                  <p:tags r:id="rId78"/>
                </p:custDataLst>
              </p:nvPr>
            </p:nvSpPr>
            <p:spPr bwMode="gray">
              <a:xfrm>
                <a:off x="4577119" y="5685808"/>
                <a:ext cx="196654" cy="317672"/>
              </a:xfrm>
              <a:custGeom>
                <a:avLst/>
                <a:gdLst/>
                <a:ahLst/>
                <a:cxnLst>
                  <a:cxn ang="0">
                    <a:pos x="84" y="24"/>
                  </a:cxn>
                  <a:cxn ang="0">
                    <a:pos x="100" y="16"/>
                  </a:cxn>
                  <a:cxn ang="0">
                    <a:pos x="116" y="12"/>
                  </a:cxn>
                  <a:cxn ang="0">
                    <a:pos x="128" y="12"/>
                  </a:cxn>
                  <a:cxn ang="0">
                    <a:pos x="144" y="8"/>
                  </a:cxn>
                  <a:cxn ang="0">
                    <a:pos x="152" y="4"/>
                  </a:cxn>
                  <a:cxn ang="0">
                    <a:pos x="152" y="16"/>
                  </a:cxn>
                  <a:cxn ang="0">
                    <a:pos x="152" y="32"/>
                  </a:cxn>
                  <a:cxn ang="0">
                    <a:pos x="152" y="32"/>
                  </a:cxn>
                  <a:cxn ang="0">
                    <a:pos x="148" y="48"/>
                  </a:cxn>
                  <a:cxn ang="0">
                    <a:pos x="140" y="60"/>
                  </a:cxn>
                  <a:cxn ang="0">
                    <a:pos x="136" y="72"/>
                  </a:cxn>
                  <a:cxn ang="0">
                    <a:pos x="132" y="84"/>
                  </a:cxn>
                  <a:cxn ang="0">
                    <a:pos x="124" y="92"/>
                  </a:cxn>
                  <a:cxn ang="0">
                    <a:pos x="120" y="108"/>
                  </a:cxn>
                  <a:cxn ang="0">
                    <a:pos x="112" y="128"/>
                  </a:cxn>
                  <a:cxn ang="0">
                    <a:pos x="104" y="136"/>
                  </a:cxn>
                  <a:cxn ang="0">
                    <a:pos x="96" y="148"/>
                  </a:cxn>
                  <a:cxn ang="0">
                    <a:pos x="88" y="160"/>
                  </a:cxn>
                  <a:cxn ang="0">
                    <a:pos x="80" y="172"/>
                  </a:cxn>
                  <a:cxn ang="0">
                    <a:pos x="68" y="180"/>
                  </a:cxn>
                  <a:cxn ang="0">
                    <a:pos x="60" y="188"/>
                  </a:cxn>
                  <a:cxn ang="0">
                    <a:pos x="48" y="200"/>
                  </a:cxn>
                  <a:cxn ang="0">
                    <a:pos x="40" y="208"/>
                  </a:cxn>
                  <a:cxn ang="0">
                    <a:pos x="28" y="220"/>
                  </a:cxn>
                  <a:cxn ang="0">
                    <a:pos x="20" y="228"/>
                  </a:cxn>
                  <a:cxn ang="0">
                    <a:pos x="12" y="240"/>
                  </a:cxn>
                  <a:cxn ang="0">
                    <a:pos x="8" y="252"/>
                  </a:cxn>
                  <a:cxn ang="0">
                    <a:pos x="0" y="220"/>
                  </a:cxn>
                  <a:cxn ang="0">
                    <a:pos x="4" y="164"/>
                  </a:cxn>
                  <a:cxn ang="0">
                    <a:pos x="16" y="144"/>
                  </a:cxn>
                  <a:cxn ang="0">
                    <a:pos x="28" y="140"/>
                  </a:cxn>
                  <a:cxn ang="0">
                    <a:pos x="36" y="132"/>
                  </a:cxn>
                  <a:cxn ang="0">
                    <a:pos x="52" y="132"/>
                  </a:cxn>
                  <a:cxn ang="0">
                    <a:pos x="68" y="120"/>
                  </a:cxn>
                  <a:cxn ang="0">
                    <a:pos x="76" y="108"/>
                  </a:cxn>
                  <a:cxn ang="0">
                    <a:pos x="100" y="80"/>
                  </a:cxn>
                  <a:cxn ang="0">
                    <a:pos x="88" y="76"/>
                  </a:cxn>
                  <a:cxn ang="0">
                    <a:pos x="76" y="68"/>
                  </a:cxn>
                  <a:cxn ang="0">
                    <a:pos x="52" y="60"/>
                  </a:cxn>
                  <a:cxn ang="0">
                    <a:pos x="36" y="48"/>
                  </a:cxn>
                  <a:cxn ang="0">
                    <a:pos x="28" y="36"/>
                  </a:cxn>
                  <a:cxn ang="0">
                    <a:pos x="28" y="24"/>
                  </a:cxn>
                  <a:cxn ang="0">
                    <a:pos x="32" y="12"/>
                  </a:cxn>
                  <a:cxn ang="0">
                    <a:pos x="40" y="24"/>
                  </a:cxn>
                  <a:cxn ang="0">
                    <a:pos x="52" y="32"/>
                  </a:cxn>
                  <a:cxn ang="0">
                    <a:pos x="60" y="28"/>
                  </a:cxn>
                  <a:cxn ang="0">
                    <a:pos x="68" y="24"/>
                  </a:cxn>
                </a:cxnLst>
                <a:rect l="0" t="0" r="r" b="b"/>
                <a:pathLst>
                  <a:path w="156" h="252">
                    <a:moveTo>
                      <a:pt x="72" y="24"/>
                    </a:moveTo>
                    <a:lnTo>
                      <a:pt x="76" y="24"/>
                    </a:lnTo>
                    <a:lnTo>
                      <a:pt x="80" y="24"/>
                    </a:lnTo>
                    <a:lnTo>
                      <a:pt x="84" y="24"/>
                    </a:lnTo>
                    <a:lnTo>
                      <a:pt x="88" y="20"/>
                    </a:lnTo>
                    <a:lnTo>
                      <a:pt x="92" y="20"/>
                    </a:lnTo>
                    <a:lnTo>
                      <a:pt x="96" y="16"/>
                    </a:lnTo>
                    <a:lnTo>
                      <a:pt x="100" y="16"/>
                    </a:lnTo>
                    <a:lnTo>
                      <a:pt x="104" y="16"/>
                    </a:lnTo>
                    <a:lnTo>
                      <a:pt x="108" y="16"/>
                    </a:lnTo>
                    <a:lnTo>
                      <a:pt x="112" y="12"/>
                    </a:lnTo>
                    <a:lnTo>
                      <a:pt x="116" y="12"/>
                    </a:lnTo>
                    <a:lnTo>
                      <a:pt x="116" y="16"/>
                    </a:lnTo>
                    <a:lnTo>
                      <a:pt x="120" y="16"/>
                    </a:lnTo>
                    <a:lnTo>
                      <a:pt x="124" y="16"/>
                    </a:lnTo>
                    <a:lnTo>
                      <a:pt x="128" y="12"/>
                    </a:lnTo>
                    <a:lnTo>
                      <a:pt x="132" y="12"/>
                    </a:lnTo>
                    <a:lnTo>
                      <a:pt x="136" y="12"/>
                    </a:lnTo>
                    <a:lnTo>
                      <a:pt x="140" y="8"/>
                    </a:lnTo>
                    <a:lnTo>
                      <a:pt x="144" y="8"/>
                    </a:lnTo>
                    <a:lnTo>
                      <a:pt x="144" y="4"/>
                    </a:lnTo>
                    <a:lnTo>
                      <a:pt x="148" y="0"/>
                    </a:lnTo>
                    <a:lnTo>
                      <a:pt x="148" y="4"/>
                    </a:lnTo>
                    <a:lnTo>
                      <a:pt x="152" y="4"/>
                    </a:lnTo>
                    <a:lnTo>
                      <a:pt x="156" y="4"/>
                    </a:lnTo>
                    <a:lnTo>
                      <a:pt x="152" y="8"/>
                    </a:lnTo>
                    <a:lnTo>
                      <a:pt x="152" y="12"/>
                    </a:lnTo>
                    <a:lnTo>
                      <a:pt x="152" y="16"/>
                    </a:lnTo>
                    <a:lnTo>
                      <a:pt x="152" y="20"/>
                    </a:lnTo>
                    <a:lnTo>
                      <a:pt x="152" y="24"/>
                    </a:lnTo>
                    <a:lnTo>
                      <a:pt x="152" y="28"/>
                    </a:lnTo>
                    <a:lnTo>
                      <a:pt x="152" y="32"/>
                    </a:lnTo>
                    <a:lnTo>
                      <a:pt x="152" y="28"/>
                    </a:lnTo>
                    <a:lnTo>
                      <a:pt x="156" y="28"/>
                    </a:lnTo>
                    <a:lnTo>
                      <a:pt x="156" y="32"/>
                    </a:lnTo>
                    <a:lnTo>
                      <a:pt x="152" y="32"/>
                    </a:lnTo>
                    <a:lnTo>
                      <a:pt x="148" y="32"/>
                    </a:lnTo>
                    <a:lnTo>
                      <a:pt x="148" y="36"/>
                    </a:lnTo>
                    <a:lnTo>
                      <a:pt x="148" y="44"/>
                    </a:lnTo>
                    <a:lnTo>
                      <a:pt x="148" y="48"/>
                    </a:lnTo>
                    <a:lnTo>
                      <a:pt x="148" y="52"/>
                    </a:lnTo>
                    <a:lnTo>
                      <a:pt x="144" y="52"/>
                    </a:lnTo>
                    <a:lnTo>
                      <a:pt x="144" y="56"/>
                    </a:lnTo>
                    <a:lnTo>
                      <a:pt x="140" y="60"/>
                    </a:lnTo>
                    <a:lnTo>
                      <a:pt x="140" y="64"/>
                    </a:lnTo>
                    <a:lnTo>
                      <a:pt x="140" y="68"/>
                    </a:lnTo>
                    <a:lnTo>
                      <a:pt x="136" y="68"/>
                    </a:lnTo>
                    <a:lnTo>
                      <a:pt x="136" y="72"/>
                    </a:lnTo>
                    <a:lnTo>
                      <a:pt x="136" y="76"/>
                    </a:lnTo>
                    <a:lnTo>
                      <a:pt x="132" y="76"/>
                    </a:lnTo>
                    <a:lnTo>
                      <a:pt x="132" y="80"/>
                    </a:lnTo>
                    <a:lnTo>
                      <a:pt x="132" y="84"/>
                    </a:lnTo>
                    <a:lnTo>
                      <a:pt x="128" y="84"/>
                    </a:lnTo>
                    <a:lnTo>
                      <a:pt x="128" y="88"/>
                    </a:lnTo>
                    <a:lnTo>
                      <a:pt x="128" y="92"/>
                    </a:lnTo>
                    <a:lnTo>
                      <a:pt x="124" y="92"/>
                    </a:lnTo>
                    <a:lnTo>
                      <a:pt x="124" y="96"/>
                    </a:lnTo>
                    <a:lnTo>
                      <a:pt x="124" y="100"/>
                    </a:lnTo>
                    <a:lnTo>
                      <a:pt x="120" y="104"/>
                    </a:lnTo>
                    <a:lnTo>
                      <a:pt x="120" y="108"/>
                    </a:lnTo>
                    <a:lnTo>
                      <a:pt x="116" y="116"/>
                    </a:lnTo>
                    <a:lnTo>
                      <a:pt x="116" y="120"/>
                    </a:lnTo>
                    <a:lnTo>
                      <a:pt x="112" y="124"/>
                    </a:lnTo>
                    <a:lnTo>
                      <a:pt x="112" y="128"/>
                    </a:lnTo>
                    <a:lnTo>
                      <a:pt x="108" y="128"/>
                    </a:lnTo>
                    <a:lnTo>
                      <a:pt x="108" y="132"/>
                    </a:lnTo>
                    <a:lnTo>
                      <a:pt x="108" y="136"/>
                    </a:lnTo>
                    <a:lnTo>
                      <a:pt x="104" y="136"/>
                    </a:lnTo>
                    <a:lnTo>
                      <a:pt x="104" y="140"/>
                    </a:lnTo>
                    <a:lnTo>
                      <a:pt x="100" y="144"/>
                    </a:lnTo>
                    <a:lnTo>
                      <a:pt x="100" y="148"/>
                    </a:lnTo>
                    <a:lnTo>
                      <a:pt x="96" y="148"/>
                    </a:lnTo>
                    <a:lnTo>
                      <a:pt x="96" y="152"/>
                    </a:lnTo>
                    <a:lnTo>
                      <a:pt x="92" y="156"/>
                    </a:lnTo>
                    <a:lnTo>
                      <a:pt x="92" y="160"/>
                    </a:lnTo>
                    <a:lnTo>
                      <a:pt x="88" y="160"/>
                    </a:lnTo>
                    <a:lnTo>
                      <a:pt x="84" y="164"/>
                    </a:lnTo>
                    <a:lnTo>
                      <a:pt x="84" y="168"/>
                    </a:lnTo>
                    <a:lnTo>
                      <a:pt x="80" y="168"/>
                    </a:lnTo>
                    <a:lnTo>
                      <a:pt x="80" y="172"/>
                    </a:lnTo>
                    <a:lnTo>
                      <a:pt x="76" y="172"/>
                    </a:lnTo>
                    <a:lnTo>
                      <a:pt x="76" y="176"/>
                    </a:lnTo>
                    <a:lnTo>
                      <a:pt x="72" y="180"/>
                    </a:lnTo>
                    <a:lnTo>
                      <a:pt x="68" y="180"/>
                    </a:lnTo>
                    <a:lnTo>
                      <a:pt x="68" y="184"/>
                    </a:lnTo>
                    <a:lnTo>
                      <a:pt x="64" y="184"/>
                    </a:lnTo>
                    <a:lnTo>
                      <a:pt x="64" y="188"/>
                    </a:lnTo>
                    <a:lnTo>
                      <a:pt x="60" y="188"/>
                    </a:lnTo>
                    <a:lnTo>
                      <a:pt x="56" y="188"/>
                    </a:lnTo>
                    <a:lnTo>
                      <a:pt x="52" y="192"/>
                    </a:lnTo>
                    <a:lnTo>
                      <a:pt x="48" y="196"/>
                    </a:lnTo>
                    <a:lnTo>
                      <a:pt x="48" y="200"/>
                    </a:lnTo>
                    <a:lnTo>
                      <a:pt x="44" y="200"/>
                    </a:lnTo>
                    <a:lnTo>
                      <a:pt x="44" y="204"/>
                    </a:lnTo>
                    <a:lnTo>
                      <a:pt x="40" y="204"/>
                    </a:lnTo>
                    <a:lnTo>
                      <a:pt x="40" y="208"/>
                    </a:lnTo>
                    <a:lnTo>
                      <a:pt x="36" y="212"/>
                    </a:lnTo>
                    <a:lnTo>
                      <a:pt x="32" y="212"/>
                    </a:lnTo>
                    <a:lnTo>
                      <a:pt x="32" y="216"/>
                    </a:lnTo>
                    <a:lnTo>
                      <a:pt x="28" y="220"/>
                    </a:lnTo>
                    <a:lnTo>
                      <a:pt x="28" y="224"/>
                    </a:lnTo>
                    <a:lnTo>
                      <a:pt x="24" y="224"/>
                    </a:lnTo>
                    <a:lnTo>
                      <a:pt x="24" y="228"/>
                    </a:lnTo>
                    <a:lnTo>
                      <a:pt x="20" y="228"/>
                    </a:lnTo>
                    <a:lnTo>
                      <a:pt x="20" y="232"/>
                    </a:lnTo>
                    <a:lnTo>
                      <a:pt x="16" y="236"/>
                    </a:lnTo>
                    <a:lnTo>
                      <a:pt x="16" y="240"/>
                    </a:lnTo>
                    <a:lnTo>
                      <a:pt x="12" y="240"/>
                    </a:lnTo>
                    <a:lnTo>
                      <a:pt x="12" y="244"/>
                    </a:lnTo>
                    <a:lnTo>
                      <a:pt x="12" y="248"/>
                    </a:lnTo>
                    <a:lnTo>
                      <a:pt x="8" y="248"/>
                    </a:lnTo>
                    <a:lnTo>
                      <a:pt x="8" y="252"/>
                    </a:lnTo>
                    <a:lnTo>
                      <a:pt x="4" y="248"/>
                    </a:lnTo>
                    <a:lnTo>
                      <a:pt x="0" y="240"/>
                    </a:lnTo>
                    <a:lnTo>
                      <a:pt x="0" y="236"/>
                    </a:lnTo>
                    <a:lnTo>
                      <a:pt x="0" y="220"/>
                    </a:lnTo>
                    <a:lnTo>
                      <a:pt x="0" y="196"/>
                    </a:lnTo>
                    <a:lnTo>
                      <a:pt x="0" y="180"/>
                    </a:lnTo>
                    <a:lnTo>
                      <a:pt x="0" y="172"/>
                    </a:lnTo>
                    <a:lnTo>
                      <a:pt x="4" y="164"/>
                    </a:lnTo>
                    <a:lnTo>
                      <a:pt x="12" y="152"/>
                    </a:lnTo>
                    <a:lnTo>
                      <a:pt x="12" y="148"/>
                    </a:lnTo>
                    <a:lnTo>
                      <a:pt x="16" y="148"/>
                    </a:lnTo>
                    <a:lnTo>
                      <a:pt x="16" y="144"/>
                    </a:lnTo>
                    <a:lnTo>
                      <a:pt x="20" y="144"/>
                    </a:lnTo>
                    <a:lnTo>
                      <a:pt x="24" y="144"/>
                    </a:lnTo>
                    <a:lnTo>
                      <a:pt x="28" y="144"/>
                    </a:lnTo>
                    <a:lnTo>
                      <a:pt x="28" y="140"/>
                    </a:lnTo>
                    <a:lnTo>
                      <a:pt x="28" y="136"/>
                    </a:lnTo>
                    <a:lnTo>
                      <a:pt x="32" y="136"/>
                    </a:lnTo>
                    <a:lnTo>
                      <a:pt x="36" y="136"/>
                    </a:lnTo>
                    <a:lnTo>
                      <a:pt x="36" y="132"/>
                    </a:lnTo>
                    <a:lnTo>
                      <a:pt x="40" y="132"/>
                    </a:lnTo>
                    <a:lnTo>
                      <a:pt x="44" y="132"/>
                    </a:lnTo>
                    <a:lnTo>
                      <a:pt x="48" y="132"/>
                    </a:lnTo>
                    <a:lnTo>
                      <a:pt x="52" y="132"/>
                    </a:lnTo>
                    <a:lnTo>
                      <a:pt x="60" y="132"/>
                    </a:lnTo>
                    <a:lnTo>
                      <a:pt x="60" y="128"/>
                    </a:lnTo>
                    <a:lnTo>
                      <a:pt x="64" y="124"/>
                    </a:lnTo>
                    <a:lnTo>
                      <a:pt x="68" y="120"/>
                    </a:lnTo>
                    <a:lnTo>
                      <a:pt x="68" y="116"/>
                    </a:lnTo>
                    <a:lnTo>
                      <a:pt x="72" y="112"/>
                    </a:lnTo>
                    <a:lnTo>
                      <a:pt x="76" y="112"/>
                    </a:lnTo>
                    <a:lnTo>
                      <a:pt x="76" y="108"/>
                    </a:lnTo>
                    <a:lnTo>
                      <a:pt x="84" y="100"/>
                    </a:lnTo>
                    <a:lnTo>
                      <a:pt x="88" y="92"/>
                    </a:lnTo>
                    <a:lnTo>
                      <a:pt x="96" y="84"/>
                    </a:lnTo>
                    <a:lnTo>
                      <a:pt x="100" y="80"/>
                    </a:lnTo>
                    <a:lnTo>
                      <a:pt x="104" y="76"/>
                    </a:lnTo>
                    <a:lnTo>
                      <a:pt x="100" y="76"/>
                    </a:lnTo>
                    <a:lnTo>
                      <a:pt x="92" y="76"/>
                    </a:lnTo>
                    <a:lnTo>
                      <a:pt x="88" y="76"/>
                    </a:lnTo>
                    <a:lnTo>
                      <a:pt x="88" y="72"/>
                    </a:lnTo>
                    <a:lnTo>
                      <a:pt x="84" y="72"/>
                    </a:lnTo>
                    <a:lnTo>
                      <a:pt x="80" y="72"/>
                    </a:lnTo>
                    <a:lnTo>
                      <a:pt x="76" y="68"/>
                    </a:lnTo>
                    <a:lnTo>
                      <a:pt x="68" y="68"/>
                    </a:lnTo>
                    <a:lnTo>
                      <a:pt x="64" y="64"/>
                    </a:lnTo>
                    <a:lnTo>
                      <a:pt x="60" y="64"/>
                    </a:lnTo>
                    <a:lnTo>
                      <a:pt x="52" y="60"/>
                    </a:lnTo>
                    <a:lnTo>
                      <a:pt x="44" y="56"/>
                    </a:lnTo>
                    <a:lnTo>
                      <a:pt x="40" y="52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2" y="44"/>
                    </a:lnTo>
                    <a:lnTo>
                      <a:pt x="32" y="40"/>
                    </a:lnTo>
                    <a:lnTo>
                      <a:pt x="28" y="40"/>
                    </a:lnTo>
                    <a:lnTo>
                      <a:pt x="28" y="36"/>
                    </a:lnTo>
                    <a:lnTo>
                      <a:pt x="24" y="32"/>
                    </a:lnTo>
                    <a:lnTo>
                      <a:pt x="24" y="28"/>
                    </a:lnTo>
                    <a:lnTo>
                      <a:pt x="24" y="24"/>
                    </a:lnTo>
                    <a:lnTo>
                      <a:pt x="28" y="24"/>
                    </a:lnTo>
                    <a:lnTo>
                      <a:pt x="28" y="20"/>
                    </a:lnTo>
                    <a:lnTo>
                      <a:pt x="28" y="16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6" y="12"/>
                    </a:lnTo>
                    <a:lnTo>
                      <a:pt x="36" y="16"/>
                    </a:lnTo>
                    <a:lnTo>
                      <a:pt x="40" y="20"/>
                    </a:lnTo>
                    <a:lnTo>
                      <a:pt x="40" y="24"/>
                    </a:lnTo>
                    <a:lnTo>
                      <a:pt x="44" y="24"/>
                    </a:lnTo>
                    <a:lnTo>
                      <a:pt x="48" y="28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6" y="28"/>
                    </a:lnTo>
                    <a:lnTo>
                      <a:pt x="56" y="32"/>
                    </a:lnTo>
                    <a:lnTo>
                      <a:pt x="60" y="32"/>
                    </a:lnTo>
                    <a:lnTo>
                      <a:pt x="60" y="28"/>
                    </a:lnTo>
                    <a:lnTo>
                      <a:pt x="64" y="28"/>
                    </a:lnTo>
                    <a:lnTo>
                      <a:pt x="64" y="24"/>
                    </a:lnTo>
                    <a:lnTo>
                      <a:pt x="64" y="28"/>
                    </a:lnTo>
                    <a:lnTo>
                      <a:pt x="68" y="24"/>
                    </a:lnTo>
                    <a:lnTo>
                      <a:pt x="72" y="24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89" name="Freeform 160">
                <a:extLst>
                  <a:ext uri="{FF2B5EF4-FFF2-40B4-BE49-F238E27FC236}">
                    <a16:creationId xmlns:a16="http://schemas.microsoft.com/office/drawing/2014/main" id="{E2F8D6D3-54E3-48DE-843A-4004254748F6}"/>
                  </a:ext>
                </a:extLst>
              </p:cNvPr>
              <p:cNvSpPr>
                <a:spLocks/>
              </p:cNvSpPr>
              <p:nvPr>
                <p:custDataLst>
                  <p:tags r:id="rId79"/>
                </p:custDataLst>
              </p:nvPr>
            </p:nvSpPr>
            <p:spPr bwMode="gray">
              <a:xfrm>
                <a:off x="4380465" y="6566970"/>
                <a:ext cx="25212" cy="39078"/>
              </a:xfrm>
              <a:custGeom>
                <a:avLst/>
                <a:gdLst/>
                <a:ahLst/>
                <a:cxnLst>
                  <a:cxn ang="0">
                    <a:pos x="0" y="19"/>
                  </a:cxn>
                  <a:cxn ang="0">
                    <a:pos x="0" y="23"/>
                  </a:cxn>
                  <a:cxn ang="0">
                    <a:pos x="0" y="23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9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15"/>
                  </a:cxn>
                  <a:cxn ang="0">
                    <a:pos x="0" y="12"/>
                  </a:cxn>
                  <a:cxn ang="0">
                    <a:pos x="4" y="12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4" y="4"/>
                  </a:cxn>
                  <a:cxn ang="0">
                    <a:pos x="8" y="0"/>
                  </a:cxn>
                  <a:cxn ang="0">
                    <a:pos x="8" y="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16" y="4"/>
                  </a:cxn>
                  <a:cxn ang="0">
                    <a:pos x="16" y="8"/>
                  </a:cxn>
                  <a:cxn ang="0">
                    <a:pos x="16" y="4"/>
                  </a:cxn>
                  <a:cxn ang="0">
                    <a:pos x="16" y="8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0" y="12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20" y="15"/>
                  </a:cxn>
                  <a:cxn ang="0">
                    <a:pos x="20" y="23"/>
                  </a:cxn>
                  <a:cxn ang="0">
                    <a:pos x="20" y="23"/>
                  </a:cxn>
                  <a:cxn ang="0">
                    <a:pos x="20" y="23"/>
                  </a:cxn>
                  <a:cxn ang="0">
                    <a:pos x="16" y="23"/>
                  </a:cxn>
                  <a:cxn ang="0">
                    <a:pos x="16" y="27"/>
                  </a:cxn>
                  <a:cxn ang="0">
                    <a:pos x="16" y="27"/>
                  </a:cxn>
                  <a:cxn ang="0">
                    <a:pos x="16" y="27"/>
                  </a:cxn>
                  <a:cxn ang="0">
                    <a:pos x="16" y="31"/>
                  </a:cxn>
                  <a:cxn ang="0">
                    <a:pos x="16" y="31"/>
                  </a:cxn>
                  <a:cxn ang="0">
                    <a:pos x="16" y="31"/>
                  </a:cxn>
                  <a:cxn ang="0">
                    <a:pos x="16" y="31"/>
                  </a:cxn>
                  <a:cxn ang="0">
                    <a:pos x="16" y="31"/>
                  </a:cxn>
                  <a:cxn ang="0">
                    <a:pos x="16" y="31"/>
                  </a:cxn>
                  <a:cxn ang="0">
                    <a:pos x="12" y="31"/>
                  </a:cxn>
                  <a:cxn ang="0">
                    <a:pos x="12" y="31"/>
                  </a:cxn>
                  <a:cxn ang="0">
                    <a:pos x="8" y="31"/>
                  </a:cxn>
                  <a:cxn ang="0">
                    <a:pos x="8" y="31"/>
                  </a:cxn>
                  <a:cxn ang="0">
                    <a:pos x="4" y="31"/>
                  </a:cxn>
                  <a:cxn ang="0">
                    <a:pos x="4" y="31"/>
                  </a:cxn>
                  <a:cxn ang="0">
                    <a:pos x="4" y="27"/>
                  </a:cxn>
                  <a:cxn ang="0">
                    <a:pos x="4" y="23"/>
                  </a:cxn>
                  <a:cxn ang="0">
                    <a:pos x="0" y="23"/>
                  </a:cxn>
                  <a:cxn ang="0">
                    <a:pos x="0" y="19"/>
                  </a:cxn>
                </a:cxnLst>
                <a:rect l="0" t="0" r="r" b="b"/>
                <a:pathLst>
                  <a:path w="20" h="31">
                    <a:moveTo>
                      <a:pt x="0" y="19"/>
                    </a:moveTo>
                    <a:lnTo>
                      <a:pt x="0" y="23"/>
                    </a:lnTo>
                    <a:lnTo>
                      <a:pt x="0" y="23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9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5"/>
                    </a:lnTo>
                    <a:lnTo>
                      <a:pt x="0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8" y="0"/>
                    </a:lnTo>
                    <a:lnTo>
                      <a:pt x="8" y="0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12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20" y="15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20" y="23"/>
                    </a:lnTo>
                    <a:lnTo>
                      <a:pt x="16" y="23"/>
                    </a:lnTo>
                    <a:lnTo>
                      <a:pt x="16" y="27"/>
                    </a:lnTo>
                    <a:lnTo>
                      <a:pt x="16" y="27"/>
                    </a:lnTo>
                    <a:lnTo>
                      <a:pt x="16" y="27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6" y="31"/>
                    </a:lnTo>
                    <a:lnTo>
                      <a:pt x="12" y="31"/>
                    </a:lnTo>
                    <a:lnTo>
                      <a:pt x="12" y="31"/>
                    </a:lnTo>
                    <a:lnTo>
                      <a:pt x="8" y="31"/>
                    </a:lnTo>
                    <a:lnTo>
                      <a:pt x="8" y="31"/>
                    </a:lnTo>
                    <a:lnTo>
                      <a:pt x="4" y="31"/>
                    </a:lnTo>
                    <a:lnTo>
                      <a:pt x="4" y="31"/>
                    </a:lnTo>
                    <a:lnTo>
                      <a:pt x="4" y="27"/>
                    </a:lnTo>
                    <a:lnTo>
                      <a:pt x="4" y="23"/>
                    </a:lnTo>
                    <a:lnTo>
                      <a:pt x="0" y="23"/>
                    </a:lnTo>
                    <a:lnTo>
                      <a:pt x="0" y="19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90" name="Freeform 161">
                <a:extLst>
                  <a:ext uri="{FF2B5EF4-FFF2-40B4-BE49-F238E27FC236}">
                    <a16:creationId xmlns:a16="http://schemas.microsoft.com/office/drawing/2014/main" id="{0B1C8F37-B5AC-43AE-B432-430492379532}"/>
                  </a:ext>
                </a:extLst>
              </p:cNvPr>
              <p:cNvSpPr>
                <a:spLocks noEditPoints="1"/>
              </p:cNvSpPr>
              <p:nvPr>
                <p:custDataLst>
                  <p:tags r:id="rId80"/>
                </p:custDataLst>
              </p:nvPr>
            </p:nvSpPr>
            <p:spPr bwMode="gray">
              <a:xfrm>
                <a:off x="4350210" y="5988353"/>
                <a:ext cx="211782" cy="245817"/>
              </a:xfrm>
              <a:custGeom>
                <a:avLst/>
                <a:gdLst/>
                <a:ahLst/>
                <a:cxnLst>
                  <a:cxn ang="0">
                    <a:pos x="68" y="159"/>
                  </a:cxn>
                  <a:cxn ang="0">
                    <a:pos x="56" y="155"/>
                  </a:cxn>
                  <a:cxn ang="0">
                    <a:pos x="44" y="147"/>
                  </a:cxn>
                  <a:cxn ang="0">
                    <a:pos x="32" y="139"/>
                  </a:cxn>
                  <a:cxn ang="0">
                    <a:pos x="24" y="131"/>
                  </a:cxn>
                  <a:cxn ang="0">
                    <a:pos x="20" y="119"/>
                  </a:cxn>
                  <a:cxn ang="0">
                    <a:pos x="16" y="107"/>
                  </a:cxn>
                  <a:cxn ang="0">
                    <a:pos x="4" y="95"/>
                  </a:cxn>
                  <a:cxn ang="0">
                    <a:pos x="4" y="79"/>
                  </a:cxn>
                  <a:cxn ang="0">
                    <a:pos x="0" y="67"/>
                  </a:cxn>
                  <a:cxn ang="0">
                    <a:pos x="12" y="59"/>
                  </a:cxn>
                  <a:cxn ang="0">
                    <a:pos x="20" y="47"/>
                  </a:cxn>
                  <a:cxn ang="0">
                    <a:pos x="24" y="36"/>
                  </a:cxn>
                  <a:cxn ang="0">
                    <a:pos x="20" y="24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36" y="0"/>
                  </a:cxn>
                  <a:cxn ang="0">
                    <a:pos x="60" y="0"/>
                  </a:cxn>
                  <a:cxn ang="0">
                    <a:pos x="84" y="8"/>
                  </a:cxn>
                  <a:cxn ang="0">
                    <a:pos x="104" y="20"/>
                  </a:cxn>
                  <a:cxn ang="0">
                    <a:pos x="120" y="32"/>
                  </a:cxn>
                  <a:cxn ang="0">
                    <a:pos x="128" y="43"/>
                  </a:cxn>
                  <a:cxn ang="0">
                    <a:pos x="140" y="59"/>
                  </a:cxn>
                  <a:cxn ang="0">
                    <a:pos x="152" y="71"/>
                  </a:cxn>
                  <a:cxn ang="0">
                    <a:pos x="144" y="87"/>
                  </a:cxn>
                  <a:cxn ang="0">
                    <a:pos x="148" y="99"/>
                  </a:cxn>
                  <a:cxn ang="0">
                    <a:pos x="156" y="111"/>
                  </a:cxn>
                  <a:cxn ang="0">
                    <a:pos x="152" y="123"/>
                  </a:cxn>
                  <a:cxn ang="0">
                    <a:pos x="152" y="135"/>
                  </a:cxn>
                  <a:cxn ang="0">
                    <a:pos x="152" y="143"/>
                  </a:cxn>
                  <a:cxn ang="0">
                    <a:pos x="156" y="151"/>
                  </a:cxn>
                  <a:cxn ang="0">
                    <a:pos x="160" y="167"/>
                  </a:cxn>
                  <a:cxn ang="0">
                    <a:pos x="168" y="167"/>
                  </a:cxn>
                  <a:cxn ang="0">
                    <a:pos x="160" y="179"/>
                  </a:cxn>
                  <a:cxn ang="0">
                    <a:pos x="152" y="187"/>
                  </a:cxn>
                  <a:cxn ang="0">
                    <a:pos x="136" y="191"/>
                  </a:cxn>
                  <a:cxn ang="0">
                    <a:pos x="128" y="191"/>
                  </a:cxn>
                  <a:cxn ang="0">
                    <a:pos x="124" y="195"/>
                  </a:cxn>
                  <a:cxn ang="0">
                    <a:pos x="108" y="195"/>
                  </a:cxn>
                  <a:cxn ang="0">
                    <a:pos x="92" y="195"/>
                  </a:cxn>
                  <a:cxn ang="0">
                    <a:pos x="84" y="187"/>
                  </a:cxn>
                  <a:cxn ang="0">
                    <a:pos x="84" y="175"/>
                  </a:cxn>
                  <a:cxn ang="0">
                    <a:pos x="80" y="163"/>
                  </a:cxn>
                  <a:cxn ang="0">
                    <a:pos x="160" y="75"/>
                  </a:cxn>
                  <a:cxn ang="0">
                    <a:pos x="160" y="83"/>
                  </a:cxn>
                  <a:cxn ang="0">
                    <a:pos x="152" y="91"/>
                  </a:cxn>
                  <a:cxn ang="0">
                    <a:pos x="156" y="95"/>
                  </a:cxn>
                  <a:cxn ang="0">
                    <a:pos x="152" y="91"/>
                  </a:cxn>
                  <a:cxn ang="0">
                    <a:pos x="156" y="127"/>
                  </a:cxn>
                </a:cxnLst>
                <a:rect l="0" t="0" r="r" b="b"/>
                <a:pathLst>
                  <a:path w="168" h="195">
                    <a:moveTo>
                      <a:pt x="76" y="155"/>
                    </a:moveTo>
                    <a:lnTo>
                      <a:pt x="72" y="155"/>
                    </a:lnTo>
                    <a:lnTo>
                      <a:pt x="72" y="159"/>
                    </a:lnTo>
                    <a:lnTo>
                      <a:pt x="68" y="159"/>
                    </a:lnTo>
                    <a:lnTo>
                      <a:pt x="64" y="159"/>
                    </a:lnTo>
                    <a:lnTo>
                      <a:pt x="64" y="155"/>
                    </a:lnTo>
                    <a:lnTo>
                      <a:pt x="60" y="155"/>
                    </a:lnTo>
                    <a:lnTo>
                      <a:pt x="56" y="155"/>
                    </a:lnTo>
                    <a:lnTo>
                      <a:pt x="52" y="151"/>
                    </a:lnTo>
                    <a:lnTo>
                      <a:pt x="48" y="151"/>
                    </a:lnTo>
                    <a:lnTo>
                      <a:pt x="48" y="147"/>
                    </a:lnTo>
                    <a:lnTo>
                      <a:pt x="44" y="147"/>
                    </a:lnTo>
                    <a:lnTo>
                      <a:pt x="40" y="147"/>
                    </a:lnTo>
                    <a:lnTo>
                      <a:pt x="40" y="143"/>
                    </a:lnTo>
                    <a:lnTo>
                      <a:pt x="36" y="143"/>
                    </a:lnTo>
                    <a:lnTo>
                      <a:pt x="32" y="139"/>
                    </a:lnTo>
                    <a:lnTo>
                      <a:pt x="28" y="139"/>
                    </a:lnTo>
                    <a:lnTo>
                      <a:pt x="24" y="139"/>
                    </a:lnTo>
                    <a:lnTo>
                      <a:pt x="24" y="135"/>
                    </a:lnTo>
                    <a:lnTo>
                      <a:pt x="24" y="131"/>
                    </a:lnTo>
                    <a:lnTo>
                      <a:pt x="24" y="127"/>
                    </a:lnTo>
                    <a:lnTo>
                      <a:pt x="20" y="127"/>
                    </a:lnTo>
                    <a:lnTo>
                      <a:pt x="20" y="123"/>
                    </a:lnTo>
                    <a:lnTo>
                      <a:pt x="20" y="119"/>
                    </a:lnTo>
                    <a:lnTo>
                      <a:pt x="16" y="119"/>
                    </a:lnTo>
                    <a:lnTo>
                      <a:pt x="16" y="115"/>
                    </a:lnTo>
                    <a:lnTo>
                      <a:pt x="16" y="111"/>
                    </a:lnTo>
                    <a:lnTo>
                      <a:pt x="16" y="107"/>
                    </a:lnTo>
                    <a:lnTo>
                      <a:pt x="12" y="107"/>
                    </a:lnTo>
                    <a:lnTo>
                      <a:pt x="8" y="103"/>
                    </a:lnTo>
                    <a:lnTo>
                      <a:pt x="4" y="99"/>
                    </a:lnTo>
                    <a:lnTo>
                      <a:pt x="4" y="95"/>
                    </a:lnTo>
                    <a:lnTo>
                      <a:pt x="4" y="91"/>
                    </a:lnTo>
                    <a:lnTo>
                      <a:pt x="4" y="87"/>
                    </a:lnTo>
                    <a:lnTo>
                      <a:pt x="4" y="83"/>
                    </a:lnTo>
                    <a:lnTo>
                      <a:pt x="4" y="79"/>
                    </a:lnTo>
                    <a:lnTo>
                      <a:pt x="4" y="75"/>
                    </a:lnTo>
                    <a:lnTo>
                      <a:pt x="0" y="75"/>
                    </a:lnTo>
                    <a:lnTo>
                      <a:pt x="0" y="71"/>
                    </a:lnTo>
                    <a:lnTo>
                      <a:pt x="0" y="67"/>
                    </a:lnTo>
                    <a:lnTo>
                      <a:pt x="4" y="67"/>
                    </a:lnTo>
                    <a:lnTo>
                      <a:pt x="4" y="63"/>
                    </a:lnTo>
                    <a:lnTo>
                      <a:pt x="8" y="63"/>
                    </a:lnTo>
                    <a:lnTo>
                      <a:pt x="12" y="59"/>
                    </a:lnTo>
                    <a:lnTo>
                      <a:pt x="16" y="55"/>
                    </a:lnTo>
                    <a:lnTo>
                      <a:pt x="16" y="51"/>
                    </a:lnTo>
                    <a:lnTo>
                      <a:pt x="16" y="47"/>
                    </a:lnTo>
                    <a:lnTo>
                      <a:pt x="20" y="47"/>
                    </a:lnTo>
                    <a:lnTo>
                      <a:pt x="20" y="43"/>
                    </a:lnTo>
                    <a:lnTo>
                      <a:pt x="24" y="43"/>
                    </a:lnTo>
                    <a:lnTo>
                      <a:pt x="24" y="39"/>
                    </a:lnTo>
                    <a:lnTo>
                      <a:pt x="24" y="36"/>
                    </a:lnTo>
                    <a:lnTo>
                      <a:pt x="20" y="36"/>
                    </a:lnTo>
                    <a:lnTo>
                      <a:pt x="16" y="36"/>
                    </a:lnTo>
                    <a:lnTo>
                      <a:pt x="20" y="28"/>
                    </a:lnTo>
                    <a:lnTo>
                      <a:pt x="20" y="24"/>
                    </a:lnTo>
                    <a:lnTo>
                      <a:pt x="24" y="24"/>
                    </a:lnTo>
                    <a:lnTo>
                      <a:pt x="24" y="20"/>
                    </a:lnTo>
                    <a:lnTo>
                      <a:pt x="24" y="16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6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72" y="0"/>
                    </a:lnTo>
                    <a:lnTo>
                      <a:pt x="80" y="4"/>
                    </a:lnTo>
                    <a:lnTo>
                      <a:pt x="84" y="8"/>
                    </a:lnTo>
                    <a:lnTo>
                      <a:pt x="92" y="12"/>
                    </a:lnTo>
                    <a:lnTo>
                      <a:pt x="96" y="16"/>
                    </a:lnTo>
                    <a:lnTo>
                      <a:pt x="100" y="20"/>
                    </a:lnTo>
                    <a:lnTo>
                      <a:pt x="104" y="20"/>
                    </a:lnTo>
                    <a:lnTo>
                      <a:pt x="104" y="24"/>
                    </a:lnTo>
                    <a:lnTo>
                      <a:pt x="108" y="24"/>
                    </a:lnTo>
                    <a:lnTo>
                      <a:pt x="112" y="28"/>
                    </a:lnTo>
                    <a:lnTo>
                      <a:pt x="120" y="32"/>
                    </a:lnTo>
                    <a:lnTo>
                      <a:pt x="124" y="36"/>
                    </a:lnTo>
                    <a:lnTo>
                      <a:pt x="128" y="36"/>
                    </a:lnTo>
                    <a:lnTo>
                      <a:pt x="128" y="39"/>
                    </a:lnTo>
                    <a:lnTo>
                      <a:pt x="128" y="43"/>
                    </a:lnTo>
                    <a:lnTo>
                      <a:pt x="128" y="47"/>
                    </a:lnTo>
                    <a:lnTo>
                      <a:pt x="132" y="47"/>
                    </a:lnTo>
                    <a:lnTo>
                      <a:pt x="140" y="55"/>
                    </a:lnTo>
                    <a:lnTo>
                      <a:pt x="140" y="59"/>
                    </a:lnTo>
                    <a:lnTo>
                      <a:pt x="144" y="59"/>
                    </a:lnTo>
                    <a:lnTo>
                      <a:pt x="148" y="63"/>
                    </a:lnTo>
                    <a:lnTo>
                      <a:pt x="152" y="67"/>
                    </a:lnTo>
                    <a:lnTo>
                      <a:pt x="152" y="71"/>
                    </a:lnTo>
                    <a:lnTo>
                      <a:pt x="148" y="75"/>
                    </a:lnTo>
                    <a:lnTo>
                      <a:pt x="148" y="79"/>
                    </a:lnTo>
                    <a:lnTo>
                      <a:pt x="148" y="83"/>
                    </a:lnTo>
                    <a:lnTo>
                      <a:pt x="144" y="87"/>
                    </a:lnTo>
                    <a:lnTo>
                      <a:pt x="144" y="91"/>
                    </a:lnTo>
                    <a:lnTo>
                      <a:pt x="144" y="95"/>
                    </a:lnTo>
                    <a:lnTo>
                      <a:pt x="144" y="99"/>
                    </a:lnTo>
                    <a:lnTo>
                      <a:pt x="148" y="99"/>
                    </a:lnTo>
                    <a:lnTo>
                      <a:pt x="152" y="103"/>
                    </a:lnTo>
                    <a:lnTo>
                      <a:pt x="152" y="107"/>
                    </a:lnTo>
                    <a:lnTo>
                      <a:pt x="156" y="107"/>
                    </a:lnTo>
                    <a:lnTo>
                      <a:pt x="156" y="111"/>
                    </a:lnTo>
                    <a:lnTo>
                      <a:pt x="156" y="115"/>
                    </a:lnTo>
                    <a:lnTo>
                      <a:pt x="152" y="115"/>
                    </a:lnTo>
                    <a:lnTo>
                      <a:pt x="152" y="119"/>
                    </a:lnTo>
                    <a:lnTo>
                      <a:pt x="152" y="123"/>
                    </a:lnTo>
                    <a:lnTo>
                      <a:pt x="156" y="123"/>
                    </a:lnTo>
                    <a:lnTo>
                      <a:pt x="156" y="127"/>
                    </a:lnTo>
                    <a:lnTo>
                      <a:pt x="152" y="131"/>
                    </a:lnTo>
                    <a:lnTo>
                      <a:pt x="152" y="135"/>
                    </a:lnTo>
                    <a:lnTo>
                      <a:pt x="152" y="131"/>
                    </a:lnTo>
                    <a:lnTo>
                      <a:pt x="152" y="135"/>
                    </a:lnTo>
                    <a:lnTo>
                      <a:pt x="152" y="139"/>
                    </a:lnTo>
                    <a:lnTo>
                      <a:pt x="152" y="143"/>
                    </a:lnTo>
                    <a:lnTo>
                      <a:pt x="156" y="143"/>
                    </a:lnTo>
                    <a:lnTo>
                      <a:pt x="152" y="143"/>
                    </a:lnTo>
                    <a:lnTo>
                      <a:pt x="156" y="147"/>
                    </a:lnTo>
                    <a:lnTo>
                      <a:pt x="156" y="151"/>
                    </a:lnTo>
                    <a:lnTo>
                      <a:pt x="160" y="155"/>
                    </a:lnTo>
                    <a:lnTo>
                      <a:pt x="160" y="159"/>
                    </a:lnTo>
                    <a:lnTo>
                      <a:pt x="160" y="163"/>
                    </a:lnTo>
                    <a:lnTo>
                      <a:pt x="160" y="167"/>
                    </a:lnTo>
                    <a:lnTo>
                      <a:pt x="164" y="167"/>
                    </a:lnTo>
                    <a:lnTo>
                      <a:pt x="164" y="171"/>
                    </a:lnTo>
                    <a:lnTo>
                      <a:pt x="168" y="171"/>
                    </a:lnTo>
                    <a:lnTo>
                      <a:pt x="168" y="167"/>
                    </a:lnTo>
                    <a:lnTo>
                      <a:pt x="168" y="171"/>
                    </a:lnTo>
                    <a:lnTo>
                      <a:pt x="168" y="175"/>
                    </a:lnTo>
                    <a:lnTo>
                      <a:pt x="164" y="179"/>
                    </a:lnTo>
                    <a:lnTo>
                      <a:pt x="160" y="179"/>
                    </a:lnTo>
                    <a:lnTo>
                      <a:pt x="160" y="183"/>
                    </a:lnTo>
                    <a:lnTo>
                      <a:pt x="156" y="183"/>
                    </a:lnTo>
                    <a:lnTo>
                      <a:pt x="152" y="183"/>
                    </a:lnTo>
                    <a:lnTo>
                      <a:pt x="152" y="187"/>
                    </a:lnTo>
                    <a:lnTo>
                      <a:pt x="148" y="187"/>
                    </a:lnTo>
                    <a:lnTo>
                      <a:pt x="144" y="187"/>
                    </a:lnTo>
                    <a:lnTo>
                      <a:pt x="140" y="191"/>
                    </a:lnTo>
                    <a:lnTo>
                      <a:pt x="136" y="191"/>
                    </a:lnTo>
                    <a:lnTo>
                      <a:pt x="136" y="187"/>
                    </a:lnTo>
                    <a:lnTo>
                      <a:pt x="132" y="187"/>
                    </a:lnTo>
                    <a:lnTo>
                      <a:pt x="132" y="191"/>
                    </a:lnTo>
                    <a:lnTo>
                      <a:pt x="128" y="191"/>
                    </a:lnTo>
                    <a:lnTo>
                      <a:pt x="132" y="191"/>
                    </a:lnTo>
                    <a:lnTo>
                      <a:pt x="132" y="195"/>
                    </a:lnTo>
                    <a:lnTo>
                      <a:pt x="128" y="195"/>
                    </a:lnTo>
                    <a:lnTo>
                      <a:pt x="124" y="195"/>
                    </a:lnTo>
                    <a:lnTo>
                      <a:pt x="120" y="195"/>
                    </a:lnTo>
                    <a:lnTo>
                      <a:pt x="116" y="195"/>
                    </a:lnTo>
                    <a:lnTo>
                      <a:pt x="112" y="195"/>
                    </a:lnTo>
                    <a:lnTo>
                      <a:pt x="108" y="195"/>
                    </a:lnTo>
                    <a:lnTo>
                      <a:pt x="104" y="195"/>
                    </a:lnTo>
                    <a:lnTo>
                      <a:pt x="100" y="191"/>
                    </a:lnTo>
                    <a:lnTo>
                      <a:pt x="96" y="195"/>
                    </a:lnTo>
                    <a:lnTo>
                      <a:pt x="92" y="195"/>
                    </a:lnTo>
                    <a:lnTo>
                      <a:pt x="88" y="195"/>
                    </a:lnTo>
                    <a:lnTo>
                      <a:pt x="88" y="191"/>
                    </a:lnTo>
                    <a:lnTo>
                      <a:pt x="84" y="191"/>
                    </a:lnTo>
                    <a:lnTo>
                      <a:pt x="84" y="187"/>
                    </a:lnTo>
                    <a:lnTo>
                      <a:pt x="80" y="187"/>
                    </a:lnTo>
                    <a:lnTo>
                      <a:pt x="80" y="183"/>
                    </a:lnTo>
                    <a:lnTo>
                      <a:pt x="84" y="179"/>
                    </a:lnTo>
                    <a:lnTo>
                      <a:pt x="84" y="175"/>
                    </a:lnTo>
                    <a:lnTo>
                      <a:pt x="80" y="175"/>
                    </a:lnTo>
                    <a:lnTo>
                      <a:pt x="80" y="171"/>
                    </a:lnTo>
                    <a:lnTo>
                      <a:pt x="80" y="167"/>
                    </a:lnTo>
                    <a:lnTo>
                      <a:pt x="80" y="163"/>
                    </a:lnTo>
                    <a:lnTo>
                      <a:pt x="76" y="163"/>
                    </a:lnTo>
                    <a:lnTo>
                      <a:pt x="76" y="159"/>
                    </a:lnTo>
                    <a:lnTo>
                      <a:pt x="76" y="155"/>
                    </a:lnTo>
                    <a:close/>
                    <a:moveTo>
                      <a:pt x="160" y="75"/>
                    </a:moveTo>
                    <a:lnTo>
                      <a:pt x="160" y="71"/>
                    </a:lnTo>
                    <a:lnTo>
                      <a:pt x="160" y="75"/>
                    </a:lnTo>
                    <a:lnTo>
                      <a:pt x="160" y="79"/>
                    </a:lnTo>
                    <a:lnTo>
                      <a:pt x="160" y="83"/>
                    </a:lnTo>
                    <a:lnTo>
                      <a:pt x="156" y="79"/>
                    </a:lnTo>
                    <a:lnTo>
                      <a:pt x="160" y="79"/>
                    </a:lnTo>
                    <a:lnTo>
                      <a:pt x="160" y="75"/>
                    </a:lnTo>
                    <a:close/>
                    <a:moveTo>
                      <a:pt x="152" y="91"/>
                    </a:moveTo>
                    <a:lnTo>
                      <a:pt x="152" y="87"/>
                    </a:lnTo>
                    <a:lnTo>
                      <a:pt x="152" y="91"/>
                    </a:lnTo>
                    <a:lnTo>
                      <a:pt x="156" y="91"/>
                    </a:lnTo>
                    <a:lnTo>
                      <a:pt x="156" y="95"/>
                    </a:lnTo>
                    <a:lnTo>
                      <a:pt x="156" y="99"/>
                    </a:lnTo>
                    <a:lnTo>
                      <a:pt x="156" y="95"/>
                    </a:lnTo>
                    <a:lnTo>
                      <a:pt x="152" y="95"/>
                    </a:lnTo>
                    <a:lnTo>
                      <a:pt x="152" y="91"/>
                    </a:lnTo>
                    <a:close/>
                    <a:moveTo>
                      <a:pt x="156" y="127"/>
                    </a:moveTo>
                    <a:lnTo>
                      <a:pt x="160" y="123"/>
                    </a:lnTo>
                    <a:lnTo>
                      <a:pt x="160" y="127"/>
                    </a:lnTo>
                    <a:lnTo>
                      <a:pt x="156" y="127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91" name="Freeform 162">
                <a:extLst>
                  <a:ext uri="{FF2B5EF4-FFF2-40B4-BE49-F238E27FC236}">
                    <a16:creationId xmlns:a16="http://schemas.microsoft.com/office/drawing/2014/main" id="{08A5766D-BF85-4248-930D-4B8FA42EEF97}"/>
                  </a:ext>
                </a:extLst>
              </p:cNvPr>
              <p:cNvSpPr>
                <a:spLocks/>
              </p:cNvSpPr>
              <p:nvPr>
                <p:custDataLst>
                  <p:tags r:id="rId81"/>
                </p:custDataLst>
              </p:nvPr>
            </p:nvSpPr>
            <p:spPr bwMode="gray">
              <a:xfrm>
                <a:off x="3470309" y="5645469"/>
                <a:ext cx="60509" cy="15127"/>
              </a:xfrm>
              <a:custGeom>
                <a:avLst/>
                <a:gdLst/>
                <a:ahLst/>
                <a:cxnLst>
                  <a:cxn ang="0">
                    <a:pos x="4" y="8"/>
                  </a:cxn>
                  <a:cxn ang="0">
                    <a:pos x="4" y="8"/>
                  </a:cxn>
                  <a:cxn ang="0">
                    <a:pos x="4" y="8"/>
                  </a:cxn>
                  <a:cxn ang="0">
                    <a:pos x="8" y="12"/>
                  </a:cxn>
                  <a:cxn ang="0">
                    <a:pos x="8" y="8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8" y="8"/>
                  </a:cxn>
                  <a:cxn ang="0">
                    <a:pos x="12" y="8"/>
                  </a:cxn>
                  <a:cxn ang="0">
                    <a:pos x="20" y="8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4" y="4"/>
                  </a:cxn>
                  <a:cxn ang="0">
                    <a:pos x="24" y="8"/>
                  </a:cxn>
                  <a:cxn ang="0">
                    <a:pos x="20" y="4"/>
                  </a:cxn>
                  <a:cxn ang="0">
                    <a:pos x="12" y="8"/>
                  </a:cxn>
                  <a:cxn ang="0">
                    <a:pos x="12" y="8"/>
                  </a:cxn>
                  <a:cxn ang="0">
                    <a:pos x="8" y="8"/>
                  </a:cxn>
                  <a:cxn ang="0">
                    <a:pos x="4" y="8"/>
                  </a:cxn>
                  <a:cxn ang="0">
                    <a:pos x="4" y="4"/>
                  </a:cxn>
                  <a:cxn ang="0">
                    <a:pos x="12" y="4"/>
                  </a:cxn>
                  <a:cxn ang="0">
                    <a:pos x="20" y="4"/>
                  </a:cxn>
                  <a:cxn ang="0">
                    <a:pos x="20" y="4"/>
                  </a:cxn>
                  <a:cxn ang="0">
                    <a:pos x="20" y="0"/>
                  </a:cxn>
                  <a:cxn ang="0">
                    <a:pos x="24" y="0"/>
                  </a:cxn>
                  <a:cxn ang="0">
                    <a:pos x="24" y="0"/>
                  </a:cxn>
                  <a:cxn ang="0">
                    <a:pos x="28" y="0"/>
                  </a:cxn>
                  <a:cxn ang="0">
                    <a:pos x="32" y="0"/>
                  </a:cxn>
                  <a:cxn ang="0">
                    <a:pos x="32" y="0"/>
                  </a:cxn>
                  <a:cxn ang="0">
                    <a:pos x="32" y="4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36" y="4"/>
                  </a:cxn>
                  <a:cxn ang="0">
                    <a:pos x="36" y="8"/>
                  </a:cxn>
                  <a:cxn ang="0">
                    <a:pos x="40" y="4"/>
                  </a:cxn>
                  <a:cxn ang="0">
                    <a:pos x="44" y="4"/>
                  </a:cxn>
                  <a:cxn ang="0">
                    <a:pos x="44" y="4"/>
                  </a:cxn>
                  <a:cxn ang="0">
                    <a:pos x="48" y="4"/>
                  </a:cxn>
                  <a:cxn ang="0">
                    <a:pos x="48" y="8"/>
                  </a:cxn>
                  <a:cxn ang="0">
                    <a:pos x="44" y="8"/>
                  </a:cxn>
                  <a:cxn ang="0">
                    <a:pos x="44" y="8"/>
                  </a:cxn>
                  <a:cxn ang="0">
                    <a:pos x="40" y="12"/>
                  </a:cxn>
                  <a:cxn ang="0">
                    <a:pos x="40" y="12"/>
                  </a:cxn>
                  <a:cxn ang="0">
                    <a:pos x="36" y="8"/>
                  </a:cxn>
                  <a:cxn ang="0">
                    <a:pos x="32" y="8"/>
                  </a:cxn>
                  <a:cxn ang="0">
                    <a:pos x="32" y="8"/>
                  </a:cxn>
                  <a:cxn ang="0">
                    <a:pos x="28" y="8"/>
                  </a:cxn>
                  <a:cxn ang="0">
                    <a:pos x="28" y="4"/>
                  </a:cxn>
                  <a:cxn ang="0">
                    <a:pos x="28" y="4"/>
                  </a:cxn>
                  <a:cxn ang="0">
                    <a:pos x="24" y="4"/>
                  </a:cxn>
                  <a:cxn ang="0">
                    <a:pos x="24" y="8"/>
                  </a:cxn>
                  <a:cxn ang="0">
                    <a:pos x="24" y="8"/>
                  </a:cxn>
                  <a:cxn ang="0">
                    <a:pos x="20" y="8"/>
                  </a:cxn>
                  <a:cxn ang="0">
                    <a:pos x="16" y="12"/>
                  </a:cxn>
                  <a:cxn ang="0">
                    <a:pos x="12" y="12"/>
                  </a:cxn>
                  <a:cxn ang="0">
                    <a:pos x="0" y="1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4" y="4"/>
                  </a:cxn>
                </a:cxnLst>
                <a:rect l="0" t="0" r="r" b="b"/>
                <a:pathLst>
                  <a:path w="48" h="12">
                    <a:moveTo>
                      <a:pt x="4" y="8"/>
                    </a:move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8" y="12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12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6" y="8"/>
                    </a:lnTo>
                    <a:lnTo>
                      <a:pt x="20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12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8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4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4" y="0"/>
                    </a:lnTo>
                    <a:lnTo>
                      <a:pt x="28" y="0"/>
                    </a:lnTo>
                    <a:lnTo>
                      <a:pt x="28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0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2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8"/>
                    </a:lnTo>
                    <a:lnTo>
                      <a:pt x="40" y="8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0" y="8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36" y="12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0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2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0" y="12"/>
                    </a:lnTo>
                    <a:lnTo>
                      <a:pt x="0" y="1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92" name="Freeform 163">
                <a:extLst>
                  <a:ext uri="{FF2B5EF4-FFF2-40B4-BE49-F238E27FC236}">
                    <a16:creationId xmlns:a16="http://schemas.microsoft.com/office/drawing/2014/main" id="{D96D2A75-D670-42B7-8F23-4D5E009F8563}"/>
                  </a:ext>
                </a:extLst>
              </p:cNvPr>
              <p:cNvSpPr>
                <a:spLocks/>
              </p:cNvSpPr>
              <p:nvPr>
                <p:custDataLst>
                  <p:tags r:id="rId82"/>
                </p:custDataLst>
              </p:nvPr>
            </p:nvSpPr>
            <p:spPr bwMode="gray">
              <a:xfrm>
                <a:off x="3787981" y="5705978"/>
                <a:ext cx="40339" cy="121018"/>
              </a:xfrm>
              <a:custGeom>
                <a:avLst/>
                <a:gdLst/>
                <a:ahLst/>
                <a:cxnLst>
                  <a:cxn ang="0">
                    <a:pos x="28" y="72"/>
                  </a:cxn>
                  <a:cxn ang="0">
                    <a:pos x="28" y="80"/>
                  </a:cxn>
                  <a:cxn ang="0">
                    <a:pos x="28" y="84"/>
                  </a:cxn>
                  <a:cxn ang="0">
                    <a:pos x="28" y="84"/>
                  </a:cxn>
                  <a:cxn ang="0">
                    <a:pos x="32" y="88"/>
                  </a:cxn>
                  <a:cxn ang="0">
                    <a:pos x="28" y="92"/>
                  </a:cxn>
                  <a:cxn ang="0">
                    <a:pos x="28" y="92"/>
                  </a:cxn>
                  <a:cxn ang="0">
                    <a:pos x="24" y="92"/>
                  </a:cxn>
                  <a:cxn ang="0">
                    <a:pos x="20" y="92"/>
                  </a:cxn>
                  <a:cxn ang="0">
                    <a:pos x="16" y="88"/>
                  </a:cxn>
                  <a:cxn ang="0">
                    <a:pos x="16" y="88"/>
                  </a:cxn>
                  <a:cxn ang="0">
                    <a:pos x="16" y="84"/>
                  </a:cxn>
                  <a:cxn ang="0">
                    <a:pos x="12" y="84"/>
                  </a:cxn>
                  <a:cxn ang="0">
                    <a:pos x="12" y="76"/>
                  </a:cxn>
                  <a:cxn ang="0">
                    <a:pos x="12" y="72"/>
                  </a:cxn>
                  <a:cxn ang="0">
                    <a:pos x="12" y="68"/>
                  </a:cxn>
                  <a:cxn ang="0">
                    <a:pos x="12" y="68"/>
                  </a:cxn>
                  <a:cxn ang="0">
                    <a:pos x="12" y="56"/>
                  </a:cxn>
                  <a:cxn ang="0">
                    <a:pos x="16" y="52"/>
                  </a:cxn>
                  <a:cxn ang="0">
                    <a:pos x="12" y="52"/>
                  </a:cxn>
                  <a:cxn ang="0">
                    <a:pos x="8" y="44"/>
                  </a:cxn>
                  <a:cxn ang="0">
                    <a:pos x="12" y="44"/>
                  </a:cxn>
                  <a:cxn ang="0">
                    <a:pos x="12" y="40"/>
                  </a:cxn>
                  <a:cxn ang="0">
                    <a:pos x="12" y="32"/>
                  </a:cxn>
                  <a:cxn ang="0">
                    <a:pos x="12" y="32"/>
                  </a:cxn>
                  <a:cxn ang="0">
                    <a:pos x="8" y="32"/>
                  </a:cxn>
                  <a:cxn ang="0">
                    <a:pos x="8" y="28"/>
                  </a:cxn>
                  <a:cxn ang="0">
                    <a:pos x="12" y="20"/>
                  </a:cxn>
                  <a:cxn ang="0">
                    <a:pos x="8" y="20"/>
                  </a:cxn>
                  <a:cxn ang="0">
                    <a:pos x="8" y="16"/>
                  </a:cxn>
                  <a:cxn ang="0">
                    <a:pos x="4" y="12"/>
                  </a:cxn>
                  <a:cxn ang="0">
                    <a:pos x="4" y="8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0"/>
                  </a:cxn>
                  <a:cxn ang="0">
                    <a:pos x="12" y="4"/>
                  </a:cxn>
                  <a:cxn ang="0">
                    <a:pos x="12" y="4"/>
                  </a:cxn>
                  <a:cxn ang="0">
                    <a:pos x="16" y="4"/>
                  </a:cxn>
                  <a:cxn ang="0">
                    <a:pos x="16" y="8"/>
                  </a:cxn>
                  <a:cxn ang="0">
                    <a:pos x="16" y="12"/>
                  </a:cxn>
                  <a:cxn ang="0">
                    <a:pos x="16" y="12"/>
                  </a:cxn>
                  <a:cxn ang="0">
                    <a:pos x="20" y="20"/>
                  </a:cxn>
                  <a:cxn ang="0">
                    <a:pos x="24" y="24"/>
                  </a:cxn>
                  <a:cxn ang="0">
                    <a:pos x="24" y="32"/>
                  </a:cxn>
                  <a:cxn ang="0">
                    <a:pos x="24" y="32"/>
                  </a:cxn>
                  <a:cxn ang="0">
                    <a:pos x="28" y="36"/>
                  </a:cxn>
                  <a:cxn ang="0">
                    <a:pos x="28" y="36"/>
                  </a:cxn>
                  <a:cxn ang="0">
                    <a:pos x="28" y="44"/>
                  </a:cxn>
                  <a:cxn ang="0">
                    <a:pos x="28" y="52"/>
                  </a:cxn>
                  <a:cxn ang="0">
                    <a:pos x="28" y="68"/>
                  </a:cxn>
                </a:cxnLst>
                <a:rect l="0" t="0" r="r" b="b"/>
                <a:pathLst>
                  <a:path w="32" h="96">
                    <a:moveTo>
                      <a:pt x="28" y="68"/>
                    </a:moveTo>
                    <a:lnTo>
                      <a:pt x="28" y="68"/>
                    </a:lnTo>
                    <a:lnTo>
                      <a:pt x="28" y="68"/>
                    </a:lnTo>
                    <a:lnTo>
                      <a:pt x="28" y="72"/>
                    </a:lnTo>
                    <a:lnTo>
                      <a:pt x="28" y="72"/>
                    </a:lnTo>
                    <a:lnTo>
                      <a:pt x="28" y="76"/>
                    </a:lnTo>
                    <a:lnTo>
                      <a:pt x="28" y="76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0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8" y="92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4" y="96"/>
                    </a:lnTo>
                    <a:lnTo>
                      <a:pt x="24" y="92"/>
                    </a:lnTo>
                    <a:lnTo>
                      <a:pt x="24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92"/>
                    </a:lnTo>
                    <a:lnTo>
                      <a:pt x="20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12" y="48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0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6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32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2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12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8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8" y="4"/>
                    </a:lnTo>
                    <a:lnTo>
                      <a:pt x="8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2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4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8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16" y="16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4" y="20"/>
                    </a:lnTo>
                    <a:lnTo>
                      <a:pt x="24" y="20"/>
                    </a:lnTo>
                    <a:lnTo>
                      <a:pt x="24" y="24"/>
                    </a:lnTo>
                    <a:lnTo>
                      <a:pt x="24" y="24"/>
                    </a:lnTo>
                    <a:lnTo>
                      <a:pt x="24" y="28"/>
                    </a:lnTo>
                    <a:lnTo>
                      <a:pt x="24" y="28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36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8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28" y="52"/>
                    </a:lnTo>
                    <a:lnTo>
                      <a:pt x="28" y="60"/>
                    </a:lnTo>
                    <a:lnTo>
                      <a:pt x="28" y="64"/>
                    </a:lnTo>
                    <a:lnTo>
                      <a:pt x="28" y="68"/>
                    </a:lnTo>
                    <a:lnTo>
                      <a:pt x="28" y="68"/>
                    </a:lnTo>
                    <a:lnTo>
                      <a:pt x="28" y="6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93" name="Freeform 164">
                <a:extLst>
                  <a:ext uri="{FF2B5EF4-FFF2-40B4-BE49-F238E27FC236}">
                    <a16:creationId xmlns:a16="http://schemas.microsoft.com/office/drawing/2014/main" id="{9108D6C1-69C6-463F-8EDB-98FD5DAD30D5}"/>
                  </a:ext>
                </a:extLst>
              </p:cNvPr>
              <p:cNvSpPr>
                <a:spLocks noEditPoints="1"/>
              </p:cNvSpPr>
              <p:nvPr>
                <p:custDataLst>
                  <p:tags r:id="rId83"/>
                </p:custDataLst>
              </p:nvPr>
            </p:nvSpPr>
            <p:spPr bwMode="gray">
              <a:xfrm>
                <a:off x="3932951" y="5071893"/>
                <a:ext cx="80679" cy="181527"/>
              </a:xfrm>
              <a:custGeom>
                <a:avLst/>
                <a:gdLst/>
                <a:ahLst/>
                <a:cxnLst>
                  <a:cxn ang="0">
                    <a:pos x="44" y="12"/>
                  </a:cxn>
                  <a:cxn ang="0">
                    <a:pos x="48" y="12"/>
                  </a:cxn>
                  <a:cxn ang="0">
                    <a:pos x="48" y="8"/>
                  </a:cxn>
                  <a:cxn ang="0">
                    <a:pos x="52" y="8"/>
                  </a:cxn>
                  <a:cxn ang="0">
                    <a:pos x="52" y="16"/>
                  </a:cxn>
                  <a:cxn ang="0">
                    <a:pos x="52" y="20"/>
                  </a:cxn>
                  <a:cxn ang="0">
                    <a:pos x="48" y="20"/>
                  </a:cxn>
                  <a:cxn ang="0">
                    <a:pos x="48" y="32"/>
                  </a:cxn>
                  <a:cxn ang="0">
                    <a:pos x="52" y="36"/>
                  </a:cxn>
                  <a:cxn ang="0">
                    <a:pos x="56" y="36"/>
                  </a:cxn>
                  <a:cxn ang="0">
                    <a:pos x="56" y="44"/>
                  </a:cxn>
                  <a:cxn ang="0">
                    <a:pos x="52" y="56"/>
                  </a:cxn>
                  <a:cxn ang="0">
                    <a:pos x="48" y="60"/>
                  </a:cxn>
                  <a:cxn ang="0">
                    <a:pos x="40" y="64"/>
                  </a:cxn>
                  <a:cxn ang="0">
                    <a:pos x="40" y="68"/>
                  </a:cxn>
                  <a:cxn ang="0">
                    <a:pos x="44" y="76"/>
                  </a:cxn>
                  <a:cxn ang="0">
                    <a:pos x="48" y="76"/>
                  </a:cxn>
                  <a:cxn ang="0">
                    <a:pos x="52" y="80"/>
                  </a:cxn>
                  <a:cxn ang="0">
                    <a:pos x="56" y="76"/>
                  </a:cxn>
                  <a:cxn ang="0">
                    <a:pos x="56" y="80"/>
                  </a:cxn>
                  <a:cxn ang="0">
                    <a:pos x="60" y="84"/>
                  </a:cxn>
                  <a:cxn ang="0">
                    <a:pos x="64" y="88"/>
                  </a:cxn>
                  <a:cxn ang="0">
                    <a:pos x="64" y="96"/>
                  </a:cxn>
                  <a:cxn ang="0">
                    <a:pos x="64" y="100"/>
                  </a:cxn>
                  <a:cxn ang="0">
                    <a:pos x="52" y="108"/>
                  </a:cxn>
                  <a:cxn ang="0">
                    <a:pos x="48" y="112"/>
                  </a:cxn>
                  <a:cxn ang="0">
                    <a:pos x="40" y="116"/>
                  </a:cxn>
                  <a:cxn ang="0">
                    <a:pos x="44" y="132"/>
                  </a:cxn>
                  <a:cxn ang="0">
                    <a:pos x="36" y="140"/>
                  </a:cxn>
                  <a:cxn ang="0">
                    <a:pos x="32" y="132"/>
                  </a:cxn>
                  <a:cxn ang="0">
                    <a:pos x="24" y="108"/>
                  </a:cxn>
                  <a:cxn ang="0">
                    <a:pos x="16" y="96"/>
                  </a:cxn>
                  <a:cxn ang="0">
                    <a:pos x="12" y="88"/>
                  </a:cxn>
                  <a:cxn ang="0">
                    <a:pos x="4" y="84"/>
                  </a:cxn>
                  <a:cxn ang="0">
                    <a:pos x="4" y="72"/>
                  </a:cxn>
                  <a:cxn ang="0">
                    <a:pos x="4" y="68"/>
                  </a:cxn>
                  <a:cxn ang="0">
                    <a:pos x="4" y="64"/>
                  </a:cxn>
                  <a:cxn ang="0">
                    <a:pos x="12" y="56"/>
                  </a:cxn>
                  <a:cxn ang="0">
                    <a:pos x="12" y="52"/>
                  </a:cxn>
                  <a:cxn ang="0">
                    <a:pos x="16" y="44"/>
                  </a:cxn>
                  <a:cxn ang="0">
                    <a:pos x="16" y="36"/>
                  </a:cxn>
                  <a:cxn ang="0">
                    <a:pos x="12" y="32"/>
                  </a:cxn>
                  <a:cxn ang="0">
                    <a:pos x="16" y="24"/>
                  </a:cxn>
                  <a:cxn ang="0">
                    <a:pos x="12" y="16"/>
                  </a:cxn>
                  <a:cxn ang="0">
                    <a:pos x="12" y="16"/>
                  </a:cxn>
                  <a:cxn ang="0">
                    <a:pos x="20" y="8"/>
                  </a:cxn>
                  <a:cxn ang="0">
                    <a:pos x="24" y="8"/>
                  </a:cxn>
                  <a:cxn ang="0">
                    <a:pos x="24" y="4"/>
                  </a:cxn>
                  <a:cxn ang="0">
                    <a:pos x="36" y="0"/>
                  </a:cxn>
                  <a:cxn ang="0">
                    <a:pos x="36" y="4"/>
                  </a:cxn>
                  <a:cxn ang="0">
                    <a:pos x="44" y="4"/>
                  </a:cxn>
                  <a:cxn ang="0">
                    <a:pos x="44" y="8"/>
                  </a:cxn>
                  <a:cxn ang="0">
                    <a:pos x="56" y="52"/>
                  </a:cxn>
                  <a:cxn ang="0">
                    <a:pos x="60" y="52"/>
                  </a:cxn>
                  <a:cxn ang="0">
                    <a:pos x="52" y="76"/>
                  </a:cxn>
                  <a:cxn ang="0">
                    <a:pos x="52" y="72"/>
                  </a:cxn>
                  <a:cxn ang="0">
                    <a:pos x="52" y="72"/>
                  </a:cxn>
                  <a:cxn ang="0">
                    <a:pos x="56" y="72"/>
                  </a:cxn>
                  <a:cxn ang="0">
                    <a:pos x="52" y="76"/>
                  </a:cxn>
                </a:cxnLst>
                <a:rect l="0" t="0" r="r" b="b"/>
                <a:pathLst>
                  <a:path w="64" h="144">
                    <a:moveTo>
                      <a:pt x="44" y="8"/>
                    </a:moveTo>
                    <a:lnTo>
                      <a:pt x="44" y="8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12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4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16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0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8"/>
                    </a:lnTo>
                    <a:lnTo>
                      <a:pt x="48" y="28"/>
                    </a:lnTo>
                    <a:lnTo>
                      <a:pt x="48" y="32"/>
                    </a:lnTo>
                    <a:lnTo>
                      <a:pt x="48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2" y="32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36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0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4"/>
                    </a:lnTo>
                    <a:lnTo>
                      <a:pt x="56" y="48"/>
                    </a:lnTo>
                    <a:lnTo>
                      <a:pt x="56" y="48"/>
                    </a:lnTo>
                    <a:lnTo>
                      <a:pt x="52" y="52"/>
                    </a:lnTo>
                    <a:lnTo>
                      <a:pt x="52" y="52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52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56"/>
                    </a:lnTo>
                    <a:lnTo>
                      <a:pt x="48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4" y="60"/>
                    </a:lnTo>
                    <a:lnTo>
                      <a:pt x="40" y="60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4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2"/>
                    </a:lnTo>
                    <a:lnTo>
                      <a:pt x="44" y="76"/>
                    </a:lnTo>
                    <a:lnTo>
                      <a:pt x="44" y="76"/>
                    </a:lnTo>
                    <a:lnTo>
                      <a:pt x="44" y="76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48" y="76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80"/>
                    </a:lnTo>
                    <a:lnTo>
                      <a:pt x="52" y="80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76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0"/>
                    </a:lnTo>
                    <a:lnTo>
                      <a:pt x="56" y="84"/>
                    </a:lnTo>
                    <a:lnTo>
                      <a:pt x="56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0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4"/>
                    </a:lnTo>
                    <a:lnTo>
                      <a:pt x="64" y="88"/>
                    </a:lnTo>
                    <a:lnTo>
                      <a:pt x="64" y="88"/>
                    </a:lnTo>
                    <a:lnTo>
                      <a:pt x="64" y="88"/>
                    </a:lnTo>
                    <a:lnTo>
                      <a:pt x="64" y="88"/>
                    </a:lnTo>
                    <a:lnTo>
                      <a:pt x="64" y="92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96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4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6" y="104"/>
                    </a:lnTo>
                    <a:lnTo>
                      <a:pt x="52" y="104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52" y="108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8" y="112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4" y="112"/>
                    </a:lnTo>
                    <a:lnTo>
                      <a:pt x="40" y="116"/>
                    </a:lnTo>
                    <a:lnTo>
                      <a:pt x="40" y="120"/>
                    </a:lnTo>
                    <a:lnTo>
                      <a:pt x="44" y="120"/>
                    </a:lnTo>
                    <a:lnTo>
                      <a:pt x="44" y="124"/>
                    </a:lnTo>
                    <a:lnTo>
                      <a:pt x="44" y="128"/>
                    </a:lnTo>
                    <a:lnTo>
                      <a:pt x="44" y="128"/>
                    </a:lnTo>
                    <a:lnTo>
                      <a:pt x="44" y="132"/>
                    </a:lnTo>
                    <a:lnTo>
                      <a:pt x="44" y="132"/>
                    </a:lnTo>
                    <a:lnTo>
                      <a:pt x="44" y="132"/>
                    </a:lnTo>
                    <a:lnTo>
                      <a:pt x="40" y="136"/>
                    </a:lnTo>
                    <a:lnTo>
                      <a:pt x="40" y="140"/>
                    </a:lnTo>
                    <a:lnTo>
                      <a:pt x="40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6" y="140"/>
                    </a:lnTo>
                    <a:lnTo>
                      <a:pt x="32" y="144"/>
                    </a:lnTo>
                    <a:lnTo>
                      <a:pt x="32" y="144"/>
                    </a:lnTo>
                    <a:lnTo>
                      <a:pt x="32" y="140"/>
                    </a:lnTo>
                    <a:lnTo>
                      <a:pt x="32" y="136"/>
                    </a:lnTo>
                    <a:lnTo>
                      <a:pt x="32" y="136"/>
                    </a:lnTo>
                    <a:lnTo>
                      <a:pt x="32" y="132"/>
                    </a:lnTo>
                    <a:lnTo>
                      <a:pt x="28" y="128"/>
                    </a:lnTo>
                    <a:lnTo>
                      <a:pt x="28" y="124"/>
                    </a:lnTo>
                    <a:lnTo>
                      <a:pt x="28" y="116"/>
                    </a:lnTo>
                    <a:lnTo>
                      <a:pt x="28" y="116"/>
                    </a:lnTo>
                    <a:lnTo>
                      <a:pt x="28" y="108"/>
                    </a:lnTo>
                    <a:lnTo>
                      <a:pt x="24" y="108"/>
                    </a:lnTo>
                    <a:lnTo>
                      <a:pt x="24" y="108"/>
                    </a:lnTo>
                    <a:lnTo>
                      <a:pt x="24" y="104"/>
                    </a:lnTo>
                    <a:lnTo>
                      <a:pt x="24" y="104"/>
                    </a:lnTo>
                    <a:lnTo>
                      <a:pt x="20" y="100"/>
                    </a:lnTo>
                    <a:lnTo>
                      <a:pt x="16" y="100"/>
                    </a:lnTo>
                    <a:lnTo>
                      <a:pt x="16" y="100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2"/>
                    </a:lnTo>
                    <a:lnTo>
                      <a:pt x="16" y="92"/>
                    </a:lnTo>
                    <a:lnTo>
                      <a:pt x="16" y="92"/>
                    </a:lnTo>
                    <a:lnTo>
                      <a:pt x="16" y="92"/>
                    </a:lnTo>
                    <a:lnTo>
                      <a:pt x="12" y="92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4"/>
                    </a:lnTo>
                    <a:lnTo>
                      <a:pt x="8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0" y="72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8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4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52"/>
                    </a:lnTo>
                    <a:lnTo>
                      <a:pt x="12" y="48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40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6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2" y="28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6" y="20"/>
                    </a:lnTo>
                    <a:lnTo>
                      <a:pt x="12" y="16"/>
                    </a:lnTo>
                    <a:lnTo>
                      <a:pt x="12" y="20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2" y="16"/>
                    </a:lnTo>
                    <a:lnTo>
                      <a:pt x="16" y="16"/>
                    </a:lnTo>
                    <a:lnTo>
                      <a:pt x="16" y="16"/>
                    </a:lnTo>
                    <a:lnTo>
                      <a:pt x="16" y="12"/>
                    </a:lnTo>
                    <a:lnTo>
                      <a:pt x="16" y="12"/>
                    </a:lnTo>
                    <a:lnTo>
                      <a:pt x="20" y="12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28" y="4"/>
                    </a:lnTo>
                    <a:lnTo>
                      <a:pt x="32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0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36" y="4"/>
                    </a:lnTo>
                    <a:lnTo>
                      <a:pt x="40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0" y="4"/>
                    </a:lnTo>
                    <a:lnTo>
                      <a:pt x="44" y="4"/>
                    </a:lnTo>
                    <a:lnTo>
                      <a:pt x="44" y="4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4" y="8"/>
                    </a:lnTo>
                    <a:close/>
                    <a:moveTo>
                      <a:pt x="56" y="56"/>
                    </a:moveTo>
                    <a:lnTo>
                      <a:pt x="56" y="56"/>
                    </a:lnTo>
                    <a:lnTo>
                      <a:pt x="56" y="56"/>
                    </a:lnTo>
                    <a:lnTo>
                      <a:pt x="56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56" y="56"/>
                    </a:lnTo>
                    <a:close/>
                    <a:moveTo>
                      <a:pt x="52" y="76"/>
                    </a:moveTo>
                    <a:lnTo>
                      <a:pt x="52" y="76"/>
                    </a:lnTo>
                    <a:lnTo>
                      <a:pt x="52" y="76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2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6" y="72"/>
                    </a:lnTo>
                    <a:lnTo>
                      <a:pt x="52" y="76"/>
                    </a:lnTo>
                    <a:lnTo>
                      <a:pt x="52" y="76"/>
                    </a:lnTo>
                    <a:lnTo>
                      <a:pt x="52" y="7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94" name="Freeform 165">
                <a:extLst>
                  <a:ext uri="{FF2B5EF4-FFF2-40B4-BE49-F238E27FC236}">
                    <a16:creationId xmlns:a16="http://schemas.microsoft.com/office/drawing/2014/main" id="{19871F8D-24A7-43CA-B7C7-971F6F1D79AD}"/>
                  </a:ext>
                </a:extLst>
              </p:cNvPr>
              <p:cNvSpPr>
                <a:spLocks/>
              </p:cNvSpPr>
              <p:nvPr>
                <p:custDataLst>
                  <p:tags r:id="rId84"/>
                </p:custDataLst>
              </p:nvPr>
            </p:nvSpPr>
            <p:spPr bwMode="gray">
              <a:xfrm>
                <a:off x="4355253" y="5867335"/>
                <a:ext cx="105891" cy="131103"/>
              </a:xfrm>
              <a:custGeom>
                <a:avLst/>
                <a:gdLst/>
                <a:ahLst/>
                <a:cxnLst>
                  <a:cxn ang="0">
                    <a:pos x="44" y="96"/>
                  </a:cxn>
                  <a:cxn ang="0">
                    <a:pos x="24" y="96"/>
                  </a:cxn>
                  <a:cxn ang="0">
                    <a:pos x="16" y="96"/>
                  </a:cxn>
                  <a:cxn ang="0">
                    <a:pos x="12" y="100"/>
                  </a:cxn>
                  <a:cxn ang="0">
                    <a:pos x="8" y="104"/>
                  </a:cxn>
                  <a:cxn ang="0">
                    <a:pos x="4" y="104"/>
                  </a:cxn>
                  <a:cxn ang="0">
                    <a:pos x="4" y="104"/>
                  </a:cxn>
                  <a:cxn ang="0">
                    <a:pos x="0" y="104"/>
                  </a:cxn>
                  <a:cxn ang="0">
                    <a:pos x="0" y="96"/>
                  </a:cxn>
                  <a:cxn ang="0">
                    <a:pos x="4" y="88"/>
                  </a:cxn>
                  <a:cxn ang="0">
                    <a:pos x="4" y="80"/>
                  </a:cxn>
                  <a:cxn ang="0">
                    <a:pos x="4" y="76"/>
                  </a:cxn>
                  <a:cxn ang="0">
                    <a:pos x="8" y="68"/>
                  </a:cxn>
                  <a:cxn ang="0">
                    <a:pos x="8" y="64"/>
                  </a:cxn>
                  <a:cxn ang="0">
                    <a:pos x="8" y="60"/>
                  </a:cxn>
                  <a:cxn ang="0">
                    <a:pos x="12" y="56"/>
                  </a:cxn>
                  <a:cxn ang="0">
                    <a:pos x="16" y="56"/>
                  </a:cxn>
                  <a:cxn ang="0">
                    <a:pos x="24" y="44"/>
                  </a:cxn>
                  <a:cxn ang="0">
                    <a:pos x="24" y="36"/>
                  </a:cxn>
                  <a:cxn ang="0">
                    <a:pos x="20" y="36"/>
                  </a:cxn>
                  <a:cxn ang="0">
                    <a:pos x="20" y="32"/>
                  </a:cxn>
                  <a:cxn ang="0">
                    <a:pos x="20" y="24"/>
                  </a:cxn>
                  <a:cxn ang="0">
                    <a:pos x="20" y="20"/>
                  </a:cxn>
                  <a:cxn ang="0">
                    <a:pos x="20" y="12"/>
                  </a:cxn>
                  <a:cxn ang="0">
                    <a:pos x="20" y="12"/>
                  </a:cxn>
                  <a:cxn ang="0">
                    <a:pos x="28" y="8"/>
                  </a:cxn>
                  <a:cxn ang="0">
                    <a:pos x="36" y="8"/>
                  </a:cxn>
                  <a:cxn ang="0">
                    <a:pos x="36" y="12"/>
                  </a:cxn>
                  <a:cxn ang="0">
                    <a:pos x="40" y="12"/>
                  </a:cxn>
                  <a:cxn ang="0">
                    <a:pos x="44" y="8"/>
                  </a:cxn>
                  <a:cxn ang="0">
                    <a:pos x="48" y="8"/>
                  </a:cxn>
                  <a:cxn ang="0">
                    <a:pos x="52" y="8"/>
                  </a:cxn>
                  <a:cxn ang="0">
                    <a:pos x="60" y="8"/>
                  </a:cxn>
                  <a:cxn ang="0">
                    <a:pos x="68" y="0"/>
                  </a:cxn>
                  <a:cxn ang="0">
                    <a:pos x="72" y="8"/>
                  </a:cxn>
                  <a:cxn ang="0">
                    <a:pos x="76" y="12"/>
                  </a:cxn>
                  <a:cxn ang="0">
                    <a:pos x="76" y="20"/>
                  </a:cxn>
                  <a:cxn ang="0">
                    <a:pos x="80" y="24"/>
                  </a:cxn>
                  <a:cxn ang="0">
                    <a:pos x="80" y="28"/>
                  </a:cxn>
                  <a:cxn ang="0">
                    <a:pos x="80" y="36"/>
                  </a:cxn>
                  <a:cxn ang="0">
                    <a:pos x="84" y="44"/>
                  </a:cxn>
                  <a:cxn ang="0">
                    <a:pos x="80" y="48"/>
                  </a:cxn>
                  <a:cxn ang="0">
                    <a:pos x="80" y="52"/>
                  </a:cxn>
                  <a:cxn ang="0">
                    <a:pos x="80" y="56"/>
                  </a:cxn>
                  <a:cxn ang="0">
                    <a:pos x="80" y="56"/>
                  </a:cxn>
                  <a:cxn ang="0">
                    <a:pos x="76" y="60"/>
                  </a:cxn>
                  <a:cxn ang="0">
                    <a:pos x="76" y="64"/>
                  </a:cxn>
                  <a:cxn ang="0">
                    <a:pos x="68" y="72"/>
                  </a:cxn>
                  <a:cxn ang="0">
                    <a:pos x="68" y="76"/>
                  </a:cxn>
                  <a:cxn ang="0">
                    <a:pos x="68" y="84"/>
                  </a:cxn>
                  <a:cxn ang="0">
                    <a:pos x="60" y="96"/>
                  </a:cxn>
                  <a:cxn ang="0">
                    <a:pos x="56" y="96"/>
                  </a:cxn>
                </a:cxnLst>
                <a:rect l="0" t="0" r="r" b="b"/>
                <a:pathLst>
                  <a:path w="84" h="104">
                    <a:moveTo>
                      <a:pt x="52" y="96"/>
                    </a:moveTo>
                    <a:lnTo>
                      <a:pt x="48" y="96"/>
                    </a:lnTo>
                    <a:lnTo>
                      <a:pt x="48" y="96"/>
                    </a:lnTo>
                    <a:lnTo>
                      <a:pt x="48" y="96"/>
                    </a:lnTo>
                    <a:lnTo>
                      <a:pt x="44" y="96"/>
                    </a:lnTo>
                    <a:lnTo>
                      <a:pt x="32" y="96"/>
                    </a:lnTo>
                    <a:lnTo>
                      <a:pt x="32" y="96"/>
                    </a:lnTo>
                    <a:lnTo>
                      <a:pt x="28" y="96"/>
                    </a:lnTo>
                    <a:lnTo>
                      <a:pt x="28" y="96"/>
                    </a:lnTo>
                    <a:lnTo>
                      <a:pt x="24" y="96"/>
                    </a:lnTo>
                    <a:lnTo>
                      <a:pt x="20" y="96"/>
                    </a:lnTo>
                    <a:lnTo>
                      <a:pt x="20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6" y="96"/>
                    </a:lnTo>
                    <a:lnTo>
                      <a:pt x="12" y="96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4"/>
                    </a:lnTo>
                    <a:lnTo>
                      <a:pt x="8" y="104"/>
                    </a:lnTo>
                    <a:lnTo>
                      <a:pt x="8" y="104"/>
                    </a:lnTo>
                    <a:lnTo>
                      <a:pt x="8" y="104"/>
                    </a:lnTo>
                    <a:lnTo>
                      <a:pt x="8" y="104"/>
                    </a:lnTo>
                    <a:lnTo>
                      <a:pt x="8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4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4"/>
                    </a:lnTo>
                    <a:lnTo>
                      <a:pt x="0" y="100"/>
                    </a:lnTo>
                    <a:lnTo>
                      <a:pt x="0" y="100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6"/>
                    </a:lnTo>
                    <a:lnTo>
                      <a:pt x="0" y="92"/>
                    </a:lnTo>
                    <a:lnTo>
                      <a:pt x="0" y="92"/>
                    </a:lnTo>
                    <a:lnTo>
                      <a:pt x="0" y="88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4" y="88"/>
                    </a:lnTo>
                    <a:lnTo>
                      <a:pt x="4" y="84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80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6"/>
                    </a:lnTo>
                    <a:lnTo>
                      <a:pt x="4" y="72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8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8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60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2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6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16" y="52"/>
                    </a:lnTo>
                    <a:lnTo>
                      <a:pt x="20" y="48"/>
                    </a:lnTo>
                    <a:lnTo>
                      <a:pt x="24" y="44"/>
                    </a:lnTo>
                    <a:lnTo>
                      <a:pt x="24" y="40"/>
                    </a:lnTo>
                    <a:lnTo>
                      <a:pt x="28" y="40"/>
                    </a:lnTo>
                    <a:lnTo>
                      <a:pt x="28" y="40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6"/>
                    </a:lnTo>
                    <a:lnTo>
                      <a:pt x="24" y="32"/>
                    </a:lnTo>
                    <a:lnTo>
                      <a:pt x="24" y="32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6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8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8"/>
                    </a:lnTo>
                    <a:lnTo>
                      <a:pt x="28" y="8"/>
                    </a:lnTo>
                    <a:lnTo>
                      <a:pt x="28" y="8"/>
                    </a:lnTo>
                    <a:lnTo>
                      <a:pt x="28" y="12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32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8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36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0" y="12"/>
                    </a:lnTo>
                    <a:lnTo>
                      <a:pt x="44" y="8"/>
                    </a:lnTo>
                    <a:lnTo>
                      <a:pt x="44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48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0" y="8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0"/>
                    </a:lnTo>
                    <a:lnTo>
                      <a:pt x="68" y="4"/>
                    </a:lnTo>
                    <a:lnTo>
                      <a:pt x="72" y="4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2" y="8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6" y="12"/>
                    </a:lnTo>
                    <a:lnTo>
                      <a:pt x="76" y="16"/>
                    </a:lnTo>
                    <a:lnTo>
                      <a:pt x="76" y="16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20"/>
                    </a:lnTo>
                    <a:lnTo>
                      <a:pt x="76" y="24"/>
                    </a:lnTo>
                    <a:lnTo>
                      <a:pt x="76" y="24"/>
                    </a:lnTo>
                    <a:lnTo>
                      <a:pt x="80" y="24"/>
                    </a:lnTo>
                    <a:lnTo>
                      <a:pt x="80" y="24"/>
                    </a:lnTo>
                    <a:lnTo>
                      <a:pt x="80" y="24"/>
                    </a:lnTo>
                    <a:lnTo>
                      <a:pt x="80" y="24"/>
                    </a:lnTo>
                    <a:lnTo>
                      <a:pt x="80" y="28"/>
                    </a:lnTo>
                    <a:lnTo>
                      <a:pt x="80" y="28"/>
                    </a:lnTo>
                    <a:lnTo>
                      <a:pt x="80" y="28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0" y="32"/>
                    </a:lnTo>
                    <a:lnTo>
                      <a:pt x="80" y="36"/>
                    </a:lnTo>
                    <a:lnTo>
                      <a:pt x="80" y="36"/>
                    </a:lnTo>
                    <a:lnTo>
                      <a:pt x="84" y="36"/>
                    </a:lnTo>
                    <a:lnTo>
                      <a:pt x="84" y="36"/>
                    </a:lnTo>
                    <a:lnTo>
                      <a:pt x="84" y="40"/>
                    </a:lnTo>
                    <a:lnTo>
                      <a:pt x="84" y="44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4" y="48"/>
                    </a:lnTo>
                    <a:lnTo>
                      <a:pt x="80" y="48"/>
                    </a:lnTo>
                    <a:lnTo>
                      <a:pt x="80" y="48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2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80" y="56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76" y="60"/>
                    </a:lnTo>
                    <a:lnTo>
                      <a:pt x="76" y="60"/>
                    </a:lnTo>
                    <a:lnTo>
                      <a:pt x="76" y="60"/>
                    </a:lnTo>
                    <a:lnTo>
                      <a:pt x="76" y="60"/>
                    </a:lnTo>
                    <a:lnTo>
                      <a:pt x="76" y="60"/>
                    </a:lnTo>
                    <a:lnTo>
                      <a:pt x="76" y="64"/>
                    </a:lnTo>
                    <a:lnTo>
                      <a:pt x="76" y="64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72" y="68"/>
                    </a:lnTo>
                    <a:lnTo>
                      <a:pt x="68" y="72"/>
                    </a:lnTo>
                    <a:lnTo>
                      <a:pt x="68" y="72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8" y="76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80"/>
                    </a:lnTo>
                    <a:lnTo>
                      <a:pt x="68" y="84"/>
                    </a:lnTo>
                    <a:lnTo>
                      <a:pt x="68" y="88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8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6" y="96"/>
                    </a:lnTo>
                    <a:lnTo>
                      <a:pt x="52" y="96"/>
                    </a:lnTo>
                    <a:lnTo>
                      <a:pt x="52" y="9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95" name="Freeform 166">
                <a:extLst>
                  <a:ext uri="{FF2B5EF4-FFF2-40B4-BE49-F238E27FC236}">
                    <a16:creationId xmlns:a16="http://schemas.microsoft.com/office/drawing/2014/main" id="{C5A0FDB5-5DFF-46B7-96BE-F587FEDEA0BC}"/>
                  </a:ext>
                </a:extLst>
              </p:cNvPr>
              <p:cNvSpPr>
                <a:spLocks/>
              </p:cNvSpPr>
              <p:nvPr>
                <p:custDataLst>
                  <p:tags r:id="rId85"/>
                </p:custDataLst>
              </p:nvPr>
            </p:nvSpPr>
            <p:spPr bwMode="gray">
              <a:xfrm>
                <a:off x="3465266" y="5313929"/>
                <a:ext cx="161357" cy="166400"/>
              </a:xfrm>
              <a:custGeom>
                <a:avLst/>
                <a:gdLst/>
                <a:ahLst/>
                <a:cxnLst>
                  <a:cxn ang="0">
                    <a:pos x="0" y="128"/>
                  </a:cxn>
                  <a:cxn ang="0">
                    <a:pos x="0" y="120"/>
                  </a:cxn>
                  <a:cxn ang="0">
                    <a:pos x="4" y="116"/>
                  </a:cxn>
                  <a:cxn ang="0">
                    <a:pos x="4" y="112"/>
                  </a:cxn>
                  <a:cxn ang="0">
                    <a:pos x="8" y="104"/>
                  </a:cxn>
                  <a:cxn ang="0">
                    <a:pos x="12" y="104"/>
                  </a:cxn>
                  <a:cxn ang="0">
                    <a:pos x="12" y="100"/>
                  </a:cxn>
                  <a:cxn ang="0">
                    <a:pos x="12" y="96"/>
                  </a:cxn>
                  <a:cxn ang="0">
                    <a:pos x="16" y="92"/>
                  </a:cxn>
                  <a:cxn ang="0">
                    <a:pos x="16" y="88"/>
                  </a:cxn>
                  <a:cxn ang="0">
                    <a:pos x="16" y="84"/>
                  </a:cxn>
                  <a:cxn ang="0">
                    <a:pos x="16" y="84"/>
                  </a:cxn>
                  <a:cxn ang="0">
                    <a:pos x="20" y="80"/>
                  </a:cxn>
                  <a:cxn ang="0">
                    <a:pos x="20" y="76"/>
                  </a:cxn>
                  <a:cxn ang="0">
                    <a:pos x="20" y="76"/>
                  </a:cxn>
                  <a:cxn ang="0">
                    <a:pos x="20" y="76"/>
                  </a:cxn>
                  <a:cxn ang="0">
                    <a:pos x="20" y="72"/>
                  </a:cxn>
                  <a:cxn ang="0">
                    <a:pos x="28" y="68"/>
                  </a:cxn>
                  <a:cxn ang="0">
                    <a:pos x="28" y="64"/>
                  </a:cxn>
                  <a:cxn ang="0">
                    <a:pos x="32" y="60"/>
                  </a:cxn>
                  <a:cxn ang="0">
                    <a:pos x="36" y="56"/>
                  </a:cxn>
                  <a:cxn ang="0">
                    <a:pos x="36" y="52"/>
                  </a:cxn>
                  <a:cxn ang="0">
                    <a:pos x="36" y="44"/>
                  </a:cxn>
                  <a:cxn ang="0">
                    <a:pos x="36" y="36"/>
                  </a:cxn>
                  <a:cxn ang="0">
                    <a:pos x="40" y="36"/>
                  </a:cxn>
                  <a:cxn ang="0">
                    <a:pos x="40" y="32"/>
                  </a:cxn>
                  <a:cxn ang="0">
                    <a:pos x="40" y="32"/>
                  </a:cxn>
                  <a:cxn ang="0">
                    <a:pos x="44" y="28"/>
                  </a:cxn>
                  <a:cxn ang="0">
                    <a:pos x="44" y="28"/>
                  </a:cxn>
                  <a:cxn ang="0">
                    <a:pos x="48" y="24"/>
                  </a:cxn>
                  <a:cxn ang="0">
                    <a:pos x="52" y="20"/>
                  </a:cxn>
                  <a:cxn ang="0">
                    <a:pos x="56" y="16"/>
                  </a:cxn>
                  <a:cxn ang="0">
                    <a:pos x="56" y="12"/>
                  </a:cxn>
                  <a:cxn ang="0">
                    <a:pos x="56" y="8"/>
                  </a:cxn>
                  <a:cxn ang="0">
                    <a:pos x="60" y="4"/>
                  </a:cxn>
                  <a:cxn ang="0">
                    <a:pos x="60" y="0"/>
                  </a:cxn>
                  <a:cxn ang="0">
                    <a:pos x="108" y="0"/>
                  </a:cxn>
                  <a:cxn ang="0">
                    <a:pos x="112" y="0"/>
                  </a:cxn>
                  <a:cxn ang="0">
                    <a:pos x="128" y="0"/>
                  </a:cxn>
                  <a:cxn ang="0">
                    <a:pos x="128" y="16"/>
                  </a:cxn>
                  <a:cxn ang="0">
                    <a:pos x="128" y="32"/>
                  </a:cxn>
                  <a:cxn ang="0">
                    <a:pos x="112" y="32"/>
                  </a:cxn>
                  <a:cxn ang="0">
                    <a:pos x="108" y="32"/>
                  </a:cxn>
                  <a:cxn ang="0">
                    <a:pos x="88" y="32"/>
                  </a:cxn>
                  <a:cxn ang="0">
                    <a:pos x="76" y="40"/>
                  </a:cxn>
                  <a:cxn ang="0">
                    <a:pos x="76" y="48"/>
                  </a:cxn>
                  <a:cxn ang="0">
                    <a:pos x="76" y="64"/>
                  </a:cxn>
                  <a:cxn ang="0">
                    <a:pos x="76" y="84"/>
                  </a:cxn>
                  <a:cxn ang="0">
                    <a:pos x="68" y="84"/>
                  </a:cxn>
                  <a:cxn ang="0">
                    <a:pos x="64" y="92"/>
                  </a:cxn>
                  <a:cxn ang="0">
                    <a:pos x="60" y="96"/>
                  </a:cxn>
                  <a:cxn ang="0">
                    <a:pos x="60" y="104"/>
                  </a:cxn>
                  <a:cxn ang="0">
                    <a:pos x="64" y="112"/>
                  </a:cxn>
                  <a:cxn ang="0">
                    <a:pos x="48" y="124"/>
                  </a:cxn>
                  <a:cxn ang="0">
                    <a:pos x="36" y="124"/>
                  </a:cxn>
                  <a:cxn ang="0">
                    <a:pos x="20" y="124"/>
                  </a:cxn>
                  <a:cxn ang="0">
                    <a:pos x="4" y="124"/>
                  </a:cxn>
                  <a:cxn ang="0">
                    <a:pos x="0" y="128"/>
                  </a:cxn>
                </a:cxnLst>
                <a:rect l="0" t="0" r="r" b="b"/>
                <a:pathLst>
                  <a:path w="128" h="132">
                    <a:moveTo>
                      <a:pt x="0" y="132"/>
                    </a:moveTo>
                    <a:lnTo>
                      <a:pt x="0" y="132"/>
                    </a:lnTo>
                    <a:lnTo>
                      <a:pt x="0" y="132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0" y="120"/>
                    </a:lnTo>
                    <a:lnTo>
                      <a:pt x="4" y="120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16"/>
                    </a:lnTo>
                    <a:lnTo>
                      <a:pt x="4" y="112"/>
                    </a:lnTo>
                    <a:lnTo>
                      <a:pt x="4" y="112"/>
                    </a:lnTo>
                    <a:lnTo>
                      <a:pt x="4" y="112"/>
                    </a:lnTo>
                    <a:lnTo>
                      <a:pt x="4" y="108"/>
                    </a:lnTo>
                    <a:lnTo>
                      <a:pt x="8" y="104"/>
                    </a:lnTo>
                    <a:lnTo>
                      <a:pt x="8" y="104"/>
                    </a:lnTo>
                    <a:lnTo>
                      <a:pt x="8" y="104"/>
                    </a:lnTo>
                    <a:lnTo>
                      <a:pt x="8" y="104"/>
                    </a:lnTo>
                    <a:lnTo>
                      <a:pt x="8" y="104"/>
                    </a:lnTo>
                    <a:lnTo>
                      <a:pt x="8" y="104"/>
                    </a:lnTo>
                    <a:lnTo>
                      <a:pt x="12" y="104"/>
                    </a:lnTo>
                    <a:lnTo>
                      <a:pt x="12" y="104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10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12" y="92"/>
                    </a:lnTo>
                    <a:lnTo>
                      <a:pt x="12" y="92"/>
                    </a:lnTo>
                    <a:lnTo>
                      <a:pt x="16" y="92"/>
                    </a:lnTo>
                    <a:lnTo>
                      <a:pt x="16" y="92"/>
                    </a:lnTo>
                    <a:lnTo>
                      <a:pt x="16" y="92"/>
                    </a:lnTo>
                    <a:lnTo>
                      <a:pt x="16" y="92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8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4"/>
                    </a:lnTo>
                    <a:lnTo>
                      <a:pt x="16" y="80"/>
                    </a:lnTo>
                    <a:lnTo>
                      <a:pt x="16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16" y="80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6"/>
                    </a:lnTo>
                    <a:lnTo>
                      <a:pt x="20" y="72"/>
                    </a:lnTo>
                    <a:lnTo>
                      <a:pt x="20" y="72"/>
                    </a:lnTo>
                    <a:lnTo>
                      <a:pt x="24" y="72"/>
                    </a:lnTo>
                    <a:lnTo>
                      <a:pt x="24" y="68"/>
                    </a:lnTo>
                    <a:lnTo>
                      <a:pt x="24" y="68"/>
                    </a:lnTo>
                    <a:lnTo>
                      <a:pt x="28" y="68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28" y="64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36" y="56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52"/>
                    </a:lnTo>
                    <a:lnTo>
                      <a:pt x="36" y="48"/>
                    </a:lnTo>
                    <a:lnTo>
                      <a:pt x="36" y="48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4"/>
                    </a:lnTo>
                    <a:lnTo>
                      <a:pt x="36" y="40"/>
                    </a:lnTo>
                    <a:lnTo>
                      <a:pt x="36" y="40"/>
                    </a:lnTo>
                    <a:lnTo>
                      <a:pt x="36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6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3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8"/>
                    </a:lnTo>
                    <a:lnTo>
                      <a:pt x="44" y="24"/>
                    </a:lnTo>
                    <a:lnTo>
                      <a:pt x="44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48" y="24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2" y="20"/>
                    </a:lnTo>
                    <a:lnTo>
                      <a:pt x="56" y="20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6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12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56" y="8"/>
                    </a:lnTo>
                    <a:lnTo>
                      <a:pt x="60" y="8"/>
                    </a:lnTo>
                    <a:lnTo>
                      <a:pt x="60" y="4"/>
                    </a:lnTo>
                    <a:lnTo>
                      <a:pt x="60" y="4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0" y="0"/>
                    </a:lnTo>
                    <a:lnTo>
                      <a:pt x="64" y="0"/>
                    </a:lnTo>
                    <a:lnTo>
                      <a:pt x="104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08" y="0"/>
                    </a:lnTo>
                    <a:lnTo>
                      <a:pt x="112" y="0"/>
                    </a:lnTo>
                    <a:lnTo>
                      <a:pt x="112" y="0"/>
                    </a:lnTo>
                    <a:lnTo>
                      <a:pt x="120" y="0"/>
                    </a:lnTo>
                    <a:lnTo>
                      <a:pt x="120" y="0"/>
                    </a:lnTo>
                    <a:lnTo>
                      <a:pt x="128" y="0"/>
                    </a:lnTo>
                    <a:lnTo>
                      <a:pt x="128" y="4"/>
                    </a:lnTo>
                    <a:lnTo>
                      <a:pt x="128" y="4"/>
                    </a:lnTo>
                    <a:lnTo>
                      <a:pt x="128" y="8"/>
                    </a:lnTo>
                    <a:lnTo>
                      <a:pt x="128" y="16"/>
                    </a:lnTo>
                    <a:lnTo>
                      <a:pt x="128" y="16"/>
                    </a:lnTo>
                    <a:lnTo>
                      <a:pt x="128" y="24"/>
                    </a:lnTo>
                    <a:lnTo>
                      <a:pt x="128" y="32"/>
                    </a:lnTo>
                    <a:lnTo>
                      <a:pt x="128" y="32"/>
                    </a:lnTo>
                    <a:lnTo>
                      <a:pt x="128" y="32"/>
                    </a:lnTo>
                    <a:lnTo>
                      <a:pt x="116" y="32"/>
                    </a:lnTo>
                    <a:lnTo>
                      <a:pt x="116" y="32"/>
                    </a:lnTo>
                    <a:lnTo>
                      <a:pt x="112" y="32"/>
                    </a:lnTo>
                    <a:lnTo>
                      <a:pt x="112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8" y="32"/>
                    </a:lnTo>
                    <a:lnTo>
                      <a:pt x="100" y="32"/>
                    </a:lnTo>
                    <a:lnTo>
                      <a:pt x="96" y="32"/>
                    </a:lnTo>
                    <a:lnTo>
                      <a:pt x="88" y="32"/>
                    </a:lnTo>
                    <a:lnTo>
                      <a:pt x="84" y="32"/>
                    </a:lnTo>
                    <a:lnTo>
                      <a:pt x="76" y="32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48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76" y="56"/>
                    </a:lnTo>
                    <a:lnTo>
                      <a:pt x="76" y="64"/>
                    </a:lnTo>
                    <a:lnTo>
                      <a:pt x="76" y="64"/>
                    </a:lnTo>
                    <a:lnTo>
                      <a:pt x="76" y="72"/>
                    </a:lnTo>
                    <a:lnTo>
                      <a:pt x="76" y="76"/>
                    </a:lnTo>
                    <a:lnTo>
                      <a:pt x="76" y="84"/>
                    </a:lnTo>
                    <a:lnTo>
                      <a:pt x="76" y="84"/>
                    </a:lnTo>
                    <a:lnTo>
                      <a:pt x="76" y="84"/>
                    </a:lnTo>
                    <a:lnTo>
                      <a:pt x="72" y="84"/>
                    </a:lnTo>
                    <a:lnTo>
                      <a:pt x="68" y="84"/>
                    </a:lnTo>
                    <a:lnTo>
                      <a:pt x="68" y="84"/>
                    </a:lnTo>
                    <a:lnTo>
                      <a:pt x="68" y="88"/>
                    </a:lnTo>
                    <a:lnTo>
                      <a:pt x="68" y="88"/>
                    </a:lnTo>
                    <a:lnTo>
                      <a:pt x="64" y="92"/>
                    </a:lnTo>
                    <a:lnTo>
                      <a:pt x="60" y="92"/>
                    </a:lnTo>
                    <a:lnTo>
                      <a:pt x="60" y="92"/>
                    </a:lnTo>
                    <a:lnTo>
                      <a:pt x="60" y="96"/>
                    </a:lnTo>
                    <a:lnTo>
                      <a:pt x="60" y="96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0"/>
                    </a:lnTo>
                    <a:lnTo>
                      <a:pt x="60" y="104"/>
                    </a:lnTo>
                    <a:lnTo>
                      <a:pt x="60" y="104"/>
                    </a:lnTo>
                    <a:lnTo>
                      <a:pt x="60" y="108"/>
                    </a:lnTo>
                    <a:lnTo>
                      <a:pt x="60" y="108"/>
                    </a:lnTo>
                    <a:lnTo>
                      <a:pt x="64" y="112"/>
                    </a:lnTo>
                    <a:lnTo>
                      <a:pt x="64" y="120"/>
                    </a:lnTo>
                    <a:lnTo>
                      <a:pt x="64" y="124"/>
                    </a:lnTo>
                    <a:lnTo>
                      <a:pt x="56" y="124"/>
                    </a:lnTo>
                    <a:lnTo>
                      <a:pt x="48" y="124"/>
                    </a:lnTo>
                    <a:lnTo>
                      <a:pt x="44" y="124"/>
                    </a:lnTo>
                    <a:lnTo>
                      <a:pt x="44" y="124"/>
                    </a:lnTo>
                    <a:lnTo>
                      <a:pt x="40" y="124"/>
                    </a:lnTo>
                    <a:lnTo>
                      <a:pt x="36" y="124"/>
                    </a:lnTo>
                    <a:lnTo>
                      <a:pt x="32" y="124"/>
                    </a:lnTo>
                    <a:lnTo>
                      <a:pt x="28" y="124"/>
                    </a:lnTo>
                    <a:lnTo>
                      <a:pt x="20" y="124"/>
                    </a:lnTo>
                    <a:lnTo>
                      <a:pt x="20" y="124"/>
                    </a:lnTo>
                    <a:lnTo>
                      <a:pt x="16" y="124"/>
                    </a:lnTo>
                    <a:lnTo>
                      <a:pt x="16" y="124"/>
                    </a:lnTo>
                    <a:lnTo>
                      <a:pt x="8" y="124"/>
                    </a:lnTo>
                    <a:lnTo>
                      <a:pt x="4" y="124"/>
                    </a:lnTo>
                    <a:lnTo>
                      <a:pt x="4" y="124"/>
                    </a:lnTo>
                    <a:lnTo>
                      <a:pt x="4" y="128"/>
                    </a:lnTo>
                    <a:lnTo>
                      <a:pt x="0" y="128"/>
                    </a:lnTo>
                    <a:lnTo>
                      <a:pt x="0" y="128"/>
                    </a:lnTo>
                    <a:lnTo>
                      <a:pt x="0" y="132"/>
                    </a:lnTo>
                    <a:lnTo>
                      <a:pt x="0" y="132"/>
                    </a:lnTo>
                    <a:lnTo>
                      <a:pt x="0" y="132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96" name="Freeform 167">
                <a:extLst>
                  <a:ext uri="{FF2B5EF4-FFF2-40B4-BE49-F238E27FC236}">
                    <a16:creationId xmlns:a16="http://schemas.microsoft.com/office/drawing/2014/main" id="{3295ACBC-F93E-4F3E-99D6-C1FE8E51EF31}"/>
                  </a:ext>
                </a:extLst>
              </p:cNvPr>
              <p:cNvSpPr>
                <a:spLocks/>
              </p:cNvSpPr>
              <p:nvPr>
                <p:custDataLst>
                  <p:tags r:id="rId86"/>
                </p:custDataLst>
              </p:nvPr>
            </p:nvSpPr>
            <p:spPr bwMode="gray">
              <a:xfrm>
                <a:off x="4210284" y="6153492"/>
                <a:ext cx="225648" cy="231951"/>
              </a:xfrm>
              <a:custGeom>
                <a:avLst/>
                <a:gdLst/>
                <a:ahLst/>
                <a:cxnLst>
                  <a:cxn ang="0">
                    <a:pos x="127" y="140"/>
                  </a:cxn>
                  <a:cxn ang="0">
                    <a:pos x="115" y="140"/>
                  </a:cxn>
                  <a:cxn ang="0">
                    <a:pos x="103" y="148"/>
                  </a:cxn>
                  <a:cxn ang="0">
                    <a:pos x="95" y="160"/>
                  </a:cxn>
                  <a:cxn ang="0">
                    <a:pos x="88" y="172"/>
                  </a:cxn>
                  <a:cxn ang="0">
                    <a:pos x="76" y="180"/>
                  </a:cxn>
                  <a:cxn ang="0">
                    <a:pos x="64" y="180"/>
                  </a:cxn>
                  <a:cxn ang="0">
                    <a:pos x="56" y="180"/>
                  </a:cxn>
                  <a:cxn ang="0">
                    <a:pos x="44" y="172"/>
                  </a:cxn>
                  <a:cxn ang="0">
                    <a:pos x="28" y="176"/>
                  </a:cxn>
                  <a:cxn ang="0">
                    <a:pos x="8" y="160"/>
                  </a:cxn>
                  <a:cxn ang="0">
                    <a:pos x="4" y="148"/>
                  </a:cxn>
                  <a:cxn ang="0">
                    <a:pos x="0" y="124"/>
                  </a:cxn>
                  <a:cxn ang="0">
                    <a:pos x="0" y="104"/>
                  </a:cxn>
                  <a:cxn ang="0">
                    <a:pos x="16" y="88"/>
                  </a:cxn>
                  <a:cxn ang="0">
                    <a:pos x="32" y="88"/>
                  </a:cxn>
                  <a:cxn ang="0">
                    <a:pos x="32" y="68"/>
                  </a:cxn>
                  <a:cxn ang="0">
                    <a:pos x="32" y="52"/>
                  </a:cxn>
                  <a:cxn ang="0">
                    <a:pos x="40" y="52"/>
                  </a:cxn>
                  <a:cxn ang="0">
                    <a:pos x="44" y="60"/>
                  </a:cxn>
                  <a:cxn ang="0">
                    <a:pos x="52" y="64"/>
                  </a:cxn>
                  <a:cxn ang="0">
                    <a:pos x="68" y="68"/>
                  </a:cxn>
                  <a:cxn ang="0">
                    <a:pos x="80" y="64"/>
                  </a:cxn>
                  <a:cxn ang="0">
                    <a:pos x="88" y="76"/>
                  </a:cxn>
                  <a:cxn ang="0">
                    <a:pos x="99" y="84"/>
                  </a:cxn>
                  <a:cxn ang="0">
                    <a:pos x="107" y="96"/>
                  </a:cxn>
                  <a:cxn ang="0">
                    <a:pos x="119" y="96"/>
                  </a:cxn>
                  <a:cxn ang="0">
                    <a:pos x="119" y="84"/>
                  </a:cxn>
                  <a:cxn ang="0">
                    <a:pos x="115" y="76"/>
                  </a:cxn>
                  <a:cxn ang="0">
                    <a:pos x="103" y="72"/>
                  </a:cxn>
                  <a:cxn ang="0">
                    <a:pos x="99" y="60"/>
                  </a:cxn>
                  <a:cxn ang="0">
                    <a:pos x="103" y="48"/>
                  </a:cxn>
                  <a:cxn ang="0">
                    <a:pos x="103" y="32"/>
                  </a:cxn>
                  <a:cxn ang="0">
                    <a:pos x="103" y="16"/>
                  </a:cxn>
                  <a:cxn ang="0">
                    <a:pos x="107" y="4"/>
                  </a:cxn>
                  <a:cxn ang="0">
                    <a:pos x="127" y="0"/>
                  </a:cxn>
                  <a:cxn ang="0">
                    <a:pos x="135" y="8"/>
                  </a:cxn>
                  <a:cxn ang="0">
                    <a:pos x="151" y="12"/>
                  </a:cxn>
                  <a:cxn ang="0">
                    <a:pos x="159" y="20"/>
                  </a:cxn>
                  <a:cxn ang="0">
                    <a:pos x="171" y="28"/>
                  </a:cxn>
                  <a:cxn ang="0">
                    <a:pos x="171" y="36"/>
                  </a:cxn>
                  <a:cxn ang="0">
                    <a:pos x="175" y="48"/>
                  </a:cxn>
                  <a:cxn ang="0">
                    <a:pos x="175" y="56"/>
                  </a:cxn>
                  <a:cxn ang="0">
                    <a:pos x="171" y="72"/>
                  </a:cxn>
                  <a:cxn ang="0">
                    <a:pos x="167" y="80"/>
                  </a:cxn>
                  <a:cxn ang="0">
                    <a:pos x="167" y="96"/>
                  </a:cxn>
                  <a:cxn ang="0">
                    <a:pos x="167" y="108"/>
                  </a:cxn>
                  <a:cxn ang="0">
                    <a:pos x="155" y="116"/>
                  </a:cxn>
                  <a:cxn ang="0">
                    <a:pos x="143" y="120"/>
                  </a:cxn>
                  <a:cxn ang="0">
                    <a:pos x="131" y="124"/>
                  </a:cxn>
                </a:cxnLst>
                <a:rect l="0" t="0" r="r" b="b"/>
                <a:pathLst>
                  <a:path w="179" h="184">
                    <a:moveTo>
                      <a:pt x="127" y="128"/>
                    </a:moveTo>
                    <a:lnTo>
                      <a:pt x="127" y="132"/>
                    </a:lnTo>
                    <a:lnTo>
                      <a:pt x="127" y="136"/>
                    </a:lnTo>
                    <a:lnTo>
                      <a:pt x="127" y="140"/>
                    </a:lnTo>
                    <a:lnTo>
                      <a:pt x="123" y="140"/>
                    </a:lnTo>
                    <a:lnTo>
                      <a:pt x="119" y="136"/>
                    </a:lnTo>
                    <a:lnTo>
                      <a:pt x="119" y="140"/>
                    </a:lnTo>
                    <a:lnTo>
                      <a:pt x="115" y="140"/>
                    </a:lnTo>
                    <a:lnTo>
                      <a:pt x="111" y="140"/>
                    </a:lnTo>
                    <a:lnTo>
                      <a:pt x="107" y="144"/>
                    </a:lnTo>
                    <a:lnTo>
                      <a:pt x="107" y="148"/>
                    </a:lnTo>
                    <a:lnTo>
                      <a:pt x="103" y="148"/>
                    </a:lnTo>
                    <a:lnTo>
                      <a:pt x="103" y="152"/>
                    </a:lnTo>
                    <a:lnTo>
                      <a:pt x="103" y="156"/>
                    </a:lnTo>
                    <a:lnTo>
                      <a:pt x="99" y="156"/>
                    </a:lnTo>
                    <a:lnTo>
                      <a:pt x="95" y="160"/>
                    </a:lnTo>
                    <a:lnTo>
                      <a:pt x="92" y="160"/>
                    </a:lnTo>
                    <a:lnTo>
                      <a:pt x="92" y="164"/>
                    </a:lnTo>
                    <a:lnTo>
                      <a:pt x="88" y="168"/>
                    </a:lnTo>
                    <a:lnTo>
                      <a:pt x="88" y="172"/>
                    </a:lnTo>
                    <a:lnTo>
                      <a:pt x="84" y="172"/>
                    </a:lnTo>
                    <a:lnTo>
                      <a:pt x="84" y="176"/>
                    </a:lnTo>
                    <a:lnTo>
                      <a:pt x="80" y="180"/>
                    </a:lnTo>
                    <a:lnTo>
                      <a:pt x="76" y="180"/>
                    </a:lnTo>
                    <a:lnTo>
                      <a:pt x="76" y="184"/>
                    </a:lnTo>
                    <a:lnTo>
                      <a:pt x="72" y="184"/>
                    </a:lnTo>
                    <a:lnTo>
                      <a:pt x="68" y="180"/>
                    </a:lnTo>
                    <a:lnTo>
                      <a:pt x="64" y="180"/>
                    </a:lnTo>
                    <a:lnTo>
                      <a:pt x="64" y="184"/>
                    </a:lnTo>
                    <a:lnTo>
                      <a:pt x="60" y="184"/>
                    </a:lnTo>
                    <a:lnTo>
                      <a:pt x="60" y="180"/>
                    </a:lnTo>
                    <a:lnTo>
                      <a:pt x="56" y="180"/>
                    </a:lnTo>
                    <a:lnTo>
                      <a:pt x="52" y="180"/>
                    </a:lnTo>
                    <a:lnTo>
                      <a:pt x="48" y="176"/>
                    </a:lnTo>
                    <a:lnTo>
                      <a:pt x="48" y="172"/>
                    </a:lnTo>
                    <a:lnTo>
                      <a:pt x="44" y="172"/>
                    </a:lnTo>
                    <a:lnTo>
                      <a:pt x="40" y="172"/>
                    </a:lnTo>
                    <a:lnTo>
                      <a:pt x="36" y="172"/>
                    </a:lnTo>
                    <a:lnTo>
                      <a:pt x="32" y="172"/>
                    </a:lnTo>
                    <a:lnTo>
                      <a:pt x="28" y="176"/>
                    </a:lnTo>
                    <a:lnTo>
                      <a:pt x="24" y="176"/>
                    </a:lnTo>
                    <a:lnTo>
                      <a:pt x="20" y="172"/>
                    </a:lnTo>
                    <a:lnTo>
                      <a:pt x="12" y="164"/>
                    </a:lnTo>
                    <a:lnTo>
                      <a:pt x="8" y="160"/>
                    </a:lnTo>
                    <a:lnTo>
                      <a:pt x="8" y="156"/>
                    </a:lnTo>
                    <a:lnTo>
                      <a:pt x="4" y="156"/>
                    </a:lnTo>
                    <a:lnTo>
                      <a:pt x="4" y="152"/>
                    </a:lnTo>
                    <a:lnTo>
                      <a:pt x="4" y="148"/>
                    </a:lnTo>
                    <a:lnTo>
                      <a:pt x="0" y="148"/>
                    </a:lnTo>
                    <a:lnTo>
                      <a:pt x="0" y="144"/>
                    </a:lnTo>
                    <a:lnTo>
                      <a:pt x="0" y="136"/>
                    </a:lnTo>
                    <a:lnTo>
                      <a:pt x="0" y="124"/>
                    </a:lnTo>
                    <a:lnTo>
                      <a:pt x="0" y="120"/>
                    </a:lnTo>
                    <a:lnTo>
                      <a:pt x="0" y="116"/>
                    </a:lnTo>
                    <a:lnTo>
                      <a:pt x="0" y="108"/>
                    </a:lnTo>
                    <a:lnTo>
                      <a:pt x="0" y="104"/>
                    </a:lnTo>
                    <a:lnTo>
                      <a:pt x="0" y="96"/>
                    </a:lnTo>
                    <a:lnTo>
                      <a:pt x="0" y="88"/>
                    </a:lnTo>
                    <a:lnTo>
                      <a:pt x="8" y="88"/>
                    </a:lnTo>
                    <a:lnTo>
                      <a:pt x="16" y="88"/>
                    </a:lnTo>
                    <a:lnTo>
                      <a:pt x="20" y="88"/>
                    </a:lnTo>
                    <a:lnTo>
                      <a:pt x="24" y="88"/>
                    </a:lnTo>
                    <a:lnTo>
                      <a:pt x="28" y="88"/>
                    </a:lnTo>
                    <a:lnTo>
                      <a:pt x="32" y="88"/>
                    </a:lnTo>
                    <a:lnTo>
                      <a:pt x="32" y="84"/>
                    </a:lnTo>
                    <a:lnTo>
                      <a:pt x="32" y="80"/>
                    </a:lnTo>
                    <a:lnTo>
                      <a:pt x="32" y="76"/>
                    </a:lnTo>
                    <a:lnTo>
                      <a:pt x="32" y="68"/>
                    </a:lnTo>
                    <a:lnTo>
                      <a:pt x="32" y="64"/>
                    </a:lnTo>
                    <a:lnTo>
                      <a:pt x="32" y="60"/>
                    </a:lnTo>
                    <a:lnTo>
                      <a:pt x="32" y="56"/>
                    </a:lnTo>
                    <a:lnTo>
                      <a:pt x="32" y="52"/>
                    </a:lnTo>
                    <a:lnTo>
                      <a:pt x="32" y="48"/>
                    </a:lnTo>
                    <a:lnTo>
                      <a:pt x="32" y="52"/>
                    </a:lnTo>
                    <a:lnTo>
                      <a:pt x="36" y="52"/>
                    </a:lnTo>
                    <a:lnTo>
                      <a:pt x="40" y="52"/>
                    </a:lnTo>
                    <a:lnTo>
                      <a:pt x="40" y="56"/>
                    </a:lnTo>
                    <a:lnTo>
                      <a:pt x="36" y="60"/>
                    </a:lnTo>
                    <a:lnTo>
                      <a:pt x="40" y="60"/>
                    </a:lnTo>
                    <a:lnTo>
                      <a:pt x="44" y="60"/>
                    </a:lnTo>
                    <a:lnTo>
                      <a:pt x="48" y="56"/>
                    </a:lnTo>
                    <a:lnTo>
                      <a:pt x="52" y="56"/>
                    </a:lnTo>
                    <a:lnTo>
                      <a:pt x="52" y="60"/>
                    </a:lnTo>
                    <a:lnTo>
                      <a:pt x="52" y="64"/>
                    </a:lnTo>
                    <a:lnTo>
                      <a:pt x="56" y="64"/>
                    </a:lnTo>
                    <a:lnTo>
                      <a:pt x="60" y="68"/>
                    </a:lnTo>
                    <a:lnTo>
                      <a:pt x="64" y="68"/>
                    </a:lnTo>
                    <a:lnTo>
                      <a:pt x="68" y="68"/>
                    </a:lnTo>
                    <a:lnTo>
                      <a:pt x="72" y="72"/>
                    </a:lnTo>
                    <a:lnTo>
                      <a:pt x="76" y="72"/>
                    </a:lnTo>
                    <a:lnTo>
                      <a:pt x="76" y="68"/>
                    </a:lnTo>
                    <a:lnTo>
                      <a:pt x="80" y="64"/>
                    </a:lnTo>
                    <a:lnTo>
                      <a:pt x="80" y="68"/>
                    </a:lnTo>
                    <a:lnTo>
                      <a:pt x="84" y="68"/>
                    </a:lnTo>
                    <a:lnTo>
                      <a:pt x="84" y="72"/>
                    </a:lnTo>
                    <a:lnTo>
                      <a:pt x="88" y="76"/>
                    </a:lnTo>
                    <a:lnTo>
                      <a:pt x="92" y="76"/>
                    </a:lnTo>
                    <a:lnTo>
                      <a:pt x="95" y="80"/>
                    </a:lnTo>
                    <a:lnTo>
                      <a:pt x="99" y="80"/>
                    </a:lnTo>
                    <a:lnTo>
                      <a:pt x="99" y="84"/>
                    </a:lnTo>
                    <a:lnTo>
                      <a:pt x="99" y="88"/>
                    </a:lnTo>
                    <a:lnTo>
                      <a:pt x="103" y="88"/>
                    </a:lnTo>
                    <a:lnTo>
                      <a:pt x="107" y="92"/>
                    </a:lnTo>
                    <a:lnTo>
                      <a:pt x="107" y="96"/>
                    </a:lnTo>
                    <a:lnTo>
                      <a:pt x="111" y="96"/>
                    </a:lnTo>
                    <a:lnTo>
                      <a:pt x="115" y="96"/>
                    </a:lnTo>
                    <a:lnTo>
                      <a:pt x="115" y="92"/>
                    </a:lnTo>
                    <a:lnTo>
                      <a:pt x="119" y="96"/>
                    </a:lnTo>
                    <a:lnTo>
                      <a:pt x="115" y="96"/>
                    </a:lnTo>
                    <a:lnTo>
                      <a:pt x="119" y="96"/>
                    </a:lnTo>
                    <a:lnTo>
                      <a:pt x="119" y="92"/>
                    </a:lnTo>
                    <a:lnTo>
                      <a:pt x="119" y="84"/>
                    </a:lnTo>
                    <a:lnTo>
                      <a:pt x="119" y="80"/>
                    </a:lnTo>
                    <a:lnTo>
                      <a:pt x="119" y="76"/>
                    </a:lnTo>
                    <a:lnTo>
                      <a:pt x="119" y="72"/>
                    </a:lnTo>
                    <a:lnTo>
                      <a:pt x="115" y="76"/>
                    </a:lnTo>
                    <a:lnTo>
                      <a:pt x="115" y="80"/>
                    </a:lnTo>
                    <a:lnTo>
                      <a:pt x="111" y="76"/>
                    </a:lnTo>
                    <a:lnTo>
                      <a:pt x="107" y="76"/>
                    </a:lnTo>
                    <a:lnTo>
                      <a:pt x="103" y="72"/>
                    </a:lnTo>
                    <a:lnTo>
                      <a:pt x="103" y="68"/>
                    </a:lnTo>
                    <a:lnTo>
                      <a:pt x="99" y="68"/>
                    </a:lnTo>
                    <a:lnTo>
                      <a:pt x="99" y="64"/>
                    </a:lnTo>
                    <a:lnTo>
                      <a:pt x="99" y="60"/>
                    </a:lnTo>
                    <a:lnTo>
                      <a:pt x="99" y="56"/>
                    </a:lnTo>
                    <a:lnTo>
                      <a:pt x="99" y="52"/>
                    </a:lnTo>
                    <a:lnTo>
                      <a:pt x="99" y="48"/>
                    </a:lnTo>
                    <a:lnTo>
                      <a:pt x="103" y="48"/>
                    </a:lnTo>
                    <a:lnTo>
                      <a:pt x="103" y="44"/>
                    </a:lnTo>
                    <a:lnTo>
                      <a:pt x="103" y="40"/>
                    </a:lnTo>
                    <a:lnTo>
                      <a:pt x="103" y="36"/>
                    </a:lnTo>
                    <a:lnTo>
                      <a:pt x="103" y="32"/>
                    </a:lnTo>
                    <a:lnTo>
                      <a:pt x="103" y="28"/>
                    </a:lnTo>
                    <a:lnTo>
                      <a:pt x="99" y="24"/>
                    </a:lnTo>
                    <a:lnTo>
                      <a:pt x="99" y="20"/>
                    </a:lnTo>
                    <a:lnTo>
                      <a:pt x="103" y="16"/>
                    </a:lnTo>
                    <a:lnTo>
                      <a:pt x="103" y="12"/>
                    </a:lnTo>
                    <a:lnTo>
                      <a:pt x="107" y="12"/>
                    </a:lnTo>
                    <a:lnTo>
                      <a:pt x="107" y="8"/>
                    </a:lnTo>
                    <a:lnTo>
                      <a:pt x="107" y="4"/>
                    </a:lnTo>
                    <a:lnTo>
                      <a:pt x="111" y="4"/>
                    </a:lnTo>
                    <a:lnTo>
                      <a:pt x="115" y="4"/>
                    </a:lnTo>
                    <a:lnTo>
                      <a:pt x="123" y="4"/>
                    </a:lnTo>
                    <a:lnTo>
                      <a:pt x="127" y="0"/>
                    </a:lnTo>
                    <a:lnTo>
                      <a:pt x="131" y="0"/>
                    </a:lnTo>
                    <a:lnTo>
                      <a:pt x="135" y="0"/>
                    </a:lnTo>
                    <a:lnTo>
                      <a:pt x="135" y="4"/>
                    </a:lnTo>
                    <a:lnTo>
                      <a:pt x="135" y="8"/>
                    </a:lnTo>
                    <a:lnTo>
                      <a:pt x="139" y="8"/>
                    </a:lnTo>
                    <a:lnTo>
                      <a:pt x="143" y="8"/>
                    </a:lnTo>
                    <a:lnTo>
                      <a:pt x="147" y="12"/>
                    </a:lnTo>
                    <a:lnTo>
                      <a:pt x="151" y="12"/>
                    </a:lnTo>
                    <a:lnTo>
                      <a:pt x="151" y="16"/>
                    </a:lnTo>
                    <a:lnTo>
                      <a:pt x="155" y="16"/>
                    </a:lnTo>
                    <a:lnTo>
                      <a:pt x="159" y="16"/>
                    </a:lnTo>
                    <a:lnTo>
                      <a:pt x="159" y="20"/>
                    </a:lnTo>
                    <a:lnTo>
                      <a:pt x="163" y="20"/>
                    </a:lnTo>
                    <a:lnTo>
                      <a:pt x="167" y="24"/>
                    </a:lnTo>
                    <a:lnTo>
                      <a:pt x="167" y="28"/>
                    </a:lnTo>
                    <a:lnTo>
                      <a:pt x="171" y="28"/>
                    </a:lnTo>
                    <a:lnTo>
                      <a:pt x="171" y="32"/>
                    </a:lnTo>
                    <a:lnTo>
                      <a:pt x="175" y="32"/>
                    </a:lnTo>
                    <a:lnTo>
                      <a:pt x="171" y="32"/>
                    </a:lnTo>
                    <a:lnTo>
                      <a:pt x="171" y="36"/>
                    </a:lnTo>
                    <a:lnTo>
                      <a:pt x="175" y="36"/>
                    </a:lnTo>
                    <a:lnTo>
                      <a:pt x="175" y="40"/>
                    </a:lnTo>
                    <a:lnTo>
                      <a:pt x="179" y="44"/>
                    </a:lnTo>
                    <a:lnTo>
                      <a:pt x="175" y="48"/>
                    </a:lnTo>
                    <a:lnTo>
                      <a:pt x="171" y="48"/>
                    </a:lnTo>
                    <a:lnTo>
                      <a:pt x="171" y="52"/>
                    </a:lnTo>
                    <a:lnTo>
                      <a:pt x="175" y="52"/>
                    </a:lnTo>
                    <a:lnTo>
                      <a:pt x="175" y="56"/>
                    </a:lnTo>
                    <a:lnTo>
                      <a:pt x="171" y="60"/>
                    </a:lnTo>
                    <a:lnTo>
                      <a:pt x="171" y="64"/>
                    </a:lnTo>
                    <a:lnTo>
                      <a:pt x="171" y="68"/>
                    </a:lnTo>
                    <a:lnTo>
                      <a:pt x="171" y="72"/>
                    </a:lnTo>
                    <a:lnTo>
                      <a:pt x="175" y="76"/>
                    </a:lnTo>
                    <a:lnTo>
                      <a:pt x="175" y="80"/>
                    </a:lnTo>
                    <a:lnTo>
                      <a:pt x="171" y="80"/>
                    </a:lnTo>
                    <a:lnTo>
                      <a:pt x="167" y="80"/>
                    </a:lnTo>
                    <a:lnTo>
                      <a:pt x="167" y="84"/>
                    </a:lnTo>
                    <a:lnTo>
                      <a:pt x="167" y="88"/>
                    </a:lnTo>
                    <a:lnTo>
                      <a:pt x="167" y="92"/>
                    </a:lnTo>
                    <a:lnTo>
                      <a:pt x="167" y="96"/>
                    </a:lnTo>
                    <a:lnTo>
                      <a:pt x="167" y="100"/>
                    </a:lnTo>
                    <a:lnTo>
                      <a:pt x="163" y="100"/>
                    </a:lnTo>
                    <a:lnTo>
                      <a:pt x="167" y="104"/>
                    </a:lnTo>
                    <a:lnTo>
                      <a:pt x="167" y="108"/>
                    </a:lnTo>
                    <a:lnTo>
                      <a:pt x="171" y="108"/>
                    </a:lnTo>
                    <a:lnTo>
                      <a:pt x="167" y="108"/>
                    </a:lnTo>
                    <a:lnTo>
                      <a:pt x="159" y="112"/>
                    </a:lnTo>
                    <a:lnTo>
                      <a:pt x="155" y="116"/>
                    </a:lnTo>
                    <a:lnTo>
                      <a:pt x="151" y="116"/>
                    </a:lnTo>
                    <a:lnTo>
                      <a:pt x="147" y="116"/>
                    </a:lnTo>
                    <a:lnTo>
                      <a:pt x="147" y="120"/>
                    </a:lnTo>
                    <a:lnTo>
                      <a:pt x="143" y="120"/>
                    </a:lnTo>
                    <a:lnTo>
                      <a:pt x="139" y="120"/>
                    </a:lnTo>
                    <a:lnTo>
                      <a:pt x="135" y="120"/>
                    </a:lnTo>
                    <a:lnTo>
                      <a:pt x="135" y="124"/>
                    </a:lnTo>
                    <a:lnTo>
                      <a:pt x="131" y="124"/>
                    </a:lnTo>
                    <a:lnTo>
                      <a:pt x="127" y="124"/>
                    </a:lnTo>
                    <a:lnTo>
                      <a:pt x="127" y="12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97" name="Freeform 168">
                <a:extLst>
                  <a:ext uri="{FF2B5EF4-FFF2-40B4-BE49-F238E27FC236}">
                    <a16:creationId xmlns:a16="http://schemas.microsoft.com/office/drawing/2014/main" id="{7782DDD8-9ED7-4FCF-9195-B4B3A509A5DA}"/>
                  </a:ext>
                </a:extLst>
              </p:cNvPr>
              <p:cNvSpPr>
                <a:spLocks/>
              </p:cNvSpPr>
              <p:nvPr>
                <p:custDataLst>
                  <p:tags r:id="rId87"/>
                </p:custDataLst>
              </p:nvPr>
            </p:nvSpPr>
            <p:spPr bwMode="gray">
              <a:xfrm>
                <a:off x="4275835" y="6324934"/>
                <a:ext cx="150012" cy="166400"/>
              </a:xfrm>
              <a:custGeom>
                <a:avLst/>
                <a:gdLst/>
                <a:ahLst/>
                <a:cxnLst>
                  <a:cxn ang="0">
                    <a:pos x="95" y="124"/>
                  </a:cxn>
                  <a:cxn ang="0">
                    <a:pos x="91" y="128"/>
                  </a:cxn>
                  <a:cxn ang="0">
                    <a:pos x="87" y="128"/>
                  </a:cxn>
                  <a:cxn ang="0">
                    <a:pos x="79" y="128"/>
                  </a:cxn>
                  <a:cxn ang="0">
                    <a:pos x="75" y="128"/>
                  </a:cxn>
                  <a:cxn ang="0">
                    <a:pos x="67" y="124"/>
                  </a:cxn>
                  <a:cxn ang="0">
                    <a:pos x="59" y="124"/>
                  </a:cxn>
                  <a:cxn ang="0">
                    <a:pos x="55" y="124"/>
                  </a:cxn>
                  <a:cxn ang="0">
                    <a:pos x="55" y="120"/>
                  </a:cxn>
                  <a:cxn ang="0">
                    <a:pos x="55" y="116"/>
                  </a:cxn>
                  <a:cxn ang="0">
                    <a:pos x="47" y="116"/>
                  </a:cxn>
                  <a:cxn ang="0">
                    <a:pos x="43" y="116"/>
                  </a:cxn>
                  <a:cxn ang="0">
                    <a:pos x="40" y="112"/>
                  </a:cxn>
                  <a:cxn ang="0">
                    <a:pos x="36" y="104"/>
                  </a:cxn>
                  <a:cxn ang="0">
                    <a:pos x="36" y="100"/>
                  </a:cxn>
                  <a:cxn ang="0">
                    <a:pos x="32" y="92"/>
                  </a:cxn>
                  <a:cxn ang="0">
                    <a:pos x="32" y="92"/>
                  </a:cxn>
                  <a:cxn ang="0">
                    <a:pos x="28" y="84"/>
                  </a:cxn>
                  <a:cxn ang="0">
                    <a:pos x="20" y="80"/>
                  </a:cxn>
                  <a:cxn ang="0">
                    <a:pos x="16" y="76"/>
                  </a:cxn>
                  <a:cxn ang="0">
                    <a:pos x="12" y="72"/>
                  </a:cxn>
                  <a:cxn ang="0">
                    <a:pos x="12" y="64"/>
                  </a:cxn>
                  <a:cxn ang="0">
                    <a:pos x="8" y="56"/>
                  </a:cxn>
                  <a:cxn ang="0">
                    <a:pos x="4" y="52"/>
                  </a:cxn>
                  <a:cxn ang="0">
                    <a:pos x="0" y="48"/>
                  </a:cxn>
                  <a:cxn ang="0">
                    <a:pos x="0" y="44"/>
                  </a:cxn>
                  <a:cxn ang="0">
                    <a:pos x="4" y="44"/>
                  </a:cxn>
                  <a:cxn ang="0">
                    <a:pos x="12" y="48"/>
                  </a:cxn>
                  <a:cxn ang="0">
                    <a:pos x="16" y="44"/>
                  </a:cxn>
                  <a:cxn ang="0">
                    <a:pos x="24" y="48"/>
                  </a:cxn>
                  <a:cxn ang="0">
                    <a:pos x="28" y="44"/>
                  </a:cxn>
                  <a:cxn ang="0">
                    <a:pos x="40" y="28"/>
                  </a:cxn>
                  <a:cxn ang="0">
                    <a:pos x="51" y="20"/>
                  </a:cxn>
                  <a:cxn ang="0">
                    <a:pos x="51" y="12"/>
                  </a:cxn>
                  <a:cxn ang="0">
                    <a:pos x="55" y="8"/>
                  </a:cxn>
                  <a:cxn ang="0">
                    <a:pos x="67" y="4"/>
                  </a:cxn>
                  <a:cxn ang="0">
                    <a:pos x="75" y="4"/>
                  </a:cxn>
                  <a:cxn ang="0">
                    <a:pos x="83" y="8"/>
                  </a:cxn>
                  <a:cxn ang="0">
                    <a:pos x="91" y="12"/>
                  </a:cxn>
                  <a:cxn ang="0">
                    <a:pos x="95" y="12"/>
                  </a:cxn>
                  <a:cxn ang="0">
                    <a:pos x="103" y="16"/>
                  </a:cxn>
                  <a:cxn ang="0">
                    <a:pos x="107" y="16"/>
                  </a:cxn>
                  <a:cxn ang="0">
                    <a:pos x="111" y="24"/>
                  </a:cxn>
                  <a:cxn ang="0">
                    <a:pos x="115" y="24"/>
                  </a:cxn>
                  <a:cxn ang="0">
                    <a:pos x="115" y="28"/>
                  </a:cxn>
                  <a:cxn ang="0">
                    <a:pos x="115" y="32"/>
                  </a:cxn>
                  <a:cxn ang="0">
                    <a:pos x="115" y="36"/>
                  </a:cxn>
                  <a:cxn ang="0">
                    <a:pos x="115" y="44"/>
                  </a:cxn>
                  <a:cxn ang="0">
                    <a:pos x="115" y="48"/>
                  </a:cxn>
                  <a:cxn ang="0">
                    <a:pos x="115" y="56"/>
                  </a:cxn>
                  <a:cxn ang="0">
                    <a:pos x="115" y="60"/>
                  </a:cxn>
                  <a:cxn ang="0">
                    <a:pos x="111" y="60"/>
                  </a:cxn>
                  <a:cxn ang="0">
                    <a:pos x="115" y="64"/>
                  </a:cxn>
                  <a:cxn ang="0">
                    <a:pos x="115" y="76"/>
                  </a:cxn>
                  <a:cxn ang="0">
                    <a:pos x="115" y="84"/>
                  </a:cxn>
                  <a:cxn ang="0">
                    <a:pos x="111" y="92"/>
                  </a:cxn>
                  <a:cxn ang="0">
                    <a:pos x="107" y="100"/>
                  </a:cxn>
                  <a:cxn ang="0">
                    <a:pos x="107" y="108"/>
                  </a:cxn>
                </a:cxnLst>
                <a:rect l="0" t="0" r="r" b="b"/>
                <a:pathLst>
                  <a:path w="119" h="132">
                    <a:moveTo>
                      <a:pt x="107" y="108"/>
                    </a:moveTo>
                    <a:lnTo>
                      <a:pt x="107" y="108"/>
                    </a:lnTo>
                    <a:lnTo>
                      <a:pt x="107" y="108"/>
                    </a:lnTo>
                    <a:lnTo>
                      <a:pt x="107" y="108"/>
                    </a:lnTo>
                    <a:lnTo>
                      <a:pt x="99" y="120"/>
                    </a:lnTo>
                    <a:lnTo>
                      <a:pt x="95" y="124"/>
                    </a:lnTo>
                    <a:lnTo>
                      <a:pt x="91" y="128"/>
                    </a:lnTo>
                    <a:lnTo>
                      <a:pt x="91" y="128"/>
                    </a:lnTo>
                    <a:lnTo>
                      <a:pt x="91" y="128"/>
                    </a:lnTo>
                    <a:lnTo>
                      <a:pt x="91" y="132"/>
                    </a:lnTo>
                    <a:lnTo>
                      <a:pt x="91" y="128"/>
                    </a:lnTo>
                    <a:lnTo>
                      <a:pt x="91" y="128"/>
                    </a:lnTo>
                    <a:lnTo>
                      <a:pt x="87" y="128"/>
                    </a:lnTo>
                    <a:lnTo>
                      <a:pt x="87" y="128"/>
                    </a:lnTo>
                    <a:lnTo>
                      <a:pt x="87" y="128"/>
                    </a:lnTo>
                    <a:lnTo>
                      <a:pt x="87" y="128"/>
                    </a:lnTo>
                    <a:lnTo>
                      <a:pt x="87" y="128"/>
                    </a:lnTo>
                    <a:lnTo>
                      <a:pt x="87" y="128"/>
                    </a:lnTo>
                    <a:lnTo>
                      <a:pt x="83" y="128"/>
                    </a:lnTo>
                    <a:lnTo>
                      <a:pt x="83" y="128"/>
                    </a:lnTo>
                    <a:lnTo>
                      <a:pt x="83" y="128"/>
                    </a:lnTo>
                    <a:lnTo>
                      <a:pt x="83" y="128"/>
                    </a:lnTo>
                    <a:lnTo>
                      <a:pt x="83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9" y="128"/>
                    </a:lnTo>
                    <a:lnTo>
                      <a:pt x="75" y="128"/>
                    </a:lnTo>
                    <a:lnTo>
                      <a:pt x="75" y="128"/>
                    </a:lnTo>
                    <a:lnTo>
                      <a:pt x="75" y="128"/>
                    </a:lnTo>
                    <a:lnTo>
                      <a:pt x="71" y="128"/>
                    </a:lnTo>
                    <a:lnTo>
                      <a:pt x="71" y="124"/>
                    </a:lnTo>
                    <a:lnTo>
                      <a:pt x="67" y="124"/>
                    </a:lnTo>
                    <a:lnTo>
                      <a:pt x="67" y="124"/>
                    </a:lnTo>
                    <a:lnTo>
                      <a:pt x="67" y="124"/>
                    </a:lnTo>
                    <a:lnTo>
                      <a:pt x="67" y="124"/>
                    </a:lnTo>
                    <a:lnTo>
                      <a:pt x="67" y="124"/>
                    </a:lnTo>
                    <a:lnTo>
                      <a:pt x="63" y="124"/>
                    </a:lnTo>
                    <a:lnTo>
                      <a:pt x="59" y="124"/>
                    </a:lnTo>
                    <a:lnTo>
                      <a:pt x="59" y="124"/>
                    </a:lnTo>
                    <a:lnTo>
                      <a:pt x="59" y="124"/>
                    </a:lnTo>
                    <a:lnTo>
                      <a:pt x="59" y="124"/>
                    </a:lnTo>
                    <a:lnTo>
                      <a:pt x="59" y="124"/>
                    </a:lnTo>
                    <a:lnTo>
                      <a:pt x="59" y="124"/>
                    </a:lnTo>
                    <a:lnTo>
                      <a:pt x="59" y="124"/>
                    </a:lnTo>
                    <a:lnTo>
                      <a:pt x="55" y="124"/>
                    </a:lnTo>
                    <a:lnTo>
                      <a:pt x="55" y="124"/>
                    </a:lnTo>
                    <a:lnTo>
                      <a:pt x="55" y="124"/>
                    </a:lnTo>
                    <a:lnTo>
                      <a:pt x="55" y="124"/>
                    </a:lnTo>
                    <a:lnTo>
                      <a:pt x="55" y="124"/>
                    </a:lnTo>
                    <a:lnTo>
                      <a:pt x="55" y="120"/>
                    </a:lnTo>
                    <a:lnTo>
                      <a:pt x="55" y="120"/>
                    </a:lnTo>
                    <a:lnTo>
                      <a:pt x="55" y="120"/>
                    </a:lnTo>
                    <a:lnTo>
                      <a:pt x="55" y="120"/>
                    </a:lnTo>
                    <a:lnTo>
                      <a:pt x="55" y="120"/>
                    </a:lnTo>
                    <a:lnTo>
                      <a:pt x="55" y="120"/>
                    </a:lnTo>
                    <a:lnTo>
                      <a:pt x="55" y="116"/>
                    </a:lnTo>
                    <a:lnTo>
                      <a:pt x="55" y="116"/>
                    </a:lnTo>
                    <a:lnTo>
                      <a:pt x="55" y="116"/>
                    </a:lnTo>
                    <a:lnTo>
                      <a:pt x="55" y="116"/>
                    </a:lnTo>
                    <a:lnTo>
                      <a:pt x="51" y="116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7" y="116"/>
                    </a:lnTo>
                    <a:lnTo>
                      <a:pt x="43" y="116"/>
                    </a:lnTo>
                    <a:lnTo>
                      <a:pt x="43" y="116"/>
                    </a:lnTo>
                    <a:lnTo>
                      <a:pt x="43" y="116"/>
                    </a:lnTo>
                    <a:lnTo>
                      <a:pt x="43" y="116"/>
                    </a:lnTo>
                    <a:lnTo>
                      <a:pt x="40" y="116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40" y="112"/>
                    </a:lnTo>
                    <a:lnTo>
                      <a:pt x="40" y="108"/>
                    </a:lnTo>
                    <a:lnTo>
                      <a:pt x="40" y="108"/>
                    </a:lnTo>
                    <a:lnTo>
                      <a:pt x="36" y="108"/>
                    </a:lnTo>
                    <a:lnTo>
                      <a:pt x="36" y="108"/>
                    </a:lnTo>
                    <a:lnTo>
                      <a:pt x="36" y="104"/>
                    </a:lnTo>
                    <a:lnTo>
                      <a:pt x="36" y="104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6" y="100"/>
                    </a:lnTo>
                    <a:lnTo>
                      <a:pt x="36" y="96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6" y="92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2" y="92"/>
                    </a:lnTo>
                    <a:lnTo>
                      <a:pt x="32" y="88"/>
                    </a:lnTo>
                    <a:lnTo>
                      <a:pt x="32" y="88"/>
                    </a:lnTo>
                    <a:lnTo>
                      <a:pt x="28" y="88"/>
                    </a:lnTo>
                    <a:lnTo>
                      <a:pt x="28" y="84"/>
                    </a:lnTo>
                    <a:lnTo>
                      <a:pt x="28" y="84"/>
                    </a:lnTo>
                    <a:lnTo>
                      <a:pt x="24" y="84"/>
                    </a:lnTo>
                    <a:lnTo>
                      <a:pt x="20" y="84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20" y="80"/>
                    </a:lnTo>
                    <a:lnTo>
                      <a:pt x="16" y="80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6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8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6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4" y="52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0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4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4"/>
                    </a:lnTo>
                    <a:lnTo>
                      <a:pt x="8" y="48"/>
                    </a:lnTo>
                    <a:lnTo>
                      <a:pt x="8" y="48"/>
                    </a:lnTo>
                    <a:lnTo>
                      <a:pt x="12" y="48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2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16" y="44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0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4" y="48"/>
                    </a:lnTo>
                    <a:lnTo>
                      <a:pt x="24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28" y="44"/>
                    </a:lnTo>
                    <a:lnTo>
                      <a:pt x="32" y="40"/>
                    </a:lnTo>
                    <a:lnTo>
                      <a:pt x="32" y="36"/>
                    </a:lnTo>
                    <a:lnTo>
                      <a:pt x="36" y="36"/>
                    </a:lnTo>
                    <a:lnTo>
                      <a:pt x="36" y="32"/>
                    </a:lnTo>
                    <a:lnTo>
                      <a:pt x="36" y="32"/>
                    </a:lnTo>
                    <a:lnTo>
                      <a:pt x="40" y="28"/>
                    </a:lnTo>
                    <a:lnTo>
                      <a:pt x="40" y="28"/>
                    </a:lnTo>
                    <a:lnTo>
                      <a:pt x="40" y="24"/>
                    </a:lnTo>
                    <a:lnTo>
                      <a:pt x="43" y="24"/>
                    </a:lnTo>
                    <a:lnTo>
                      <a:pt x="43" y="24"/>
                    </a:lnTo>
                    <a:lnTo>
                      <a:pt x="47" y="20"/>
                    </a:lnTo>
                    <a:lnTo>
                      <a:pt x="51" y="20"/>
                    </a:lnTo>
                    <a:lnTo>
                      <a:pt x="51" y="16"/>
                    </a:lnTo>
                    <a:lnTo>
                      <a:pt x="51" y="16"/>
                    </a:lnTo>
                    <a:lnTo>
                      <a:pt x="51" y="16"/>
                    </a:lnTo>
                    <a:lnTo>
                      <a:pt x="51" y="16"/>
                    </a:lnTo>
                    <a:lnTo>
                      <a:pt x="51" y="16"/>
                    </a:lnTo>
                    <a:lnTo>
                      <a:pt x="51" y="12"/>
                    </a:lnTo>
                    <a:lnTo>
                      <a:pt x="55" y="12"/>
                    </a:lnTo>
                    <a:lnTo>
                      <a:pt x="55" y="8"/>
                    </a:lnTo>
                    <a:lnTo>
                      <a:pt x="55" y="8"/>
                    </a:lnTo>
                    <a:lnTo>
                      <a:pt x="55" y="8"/>
                    </a:lnTo>
                    <a:lnTo>
                      <a:pt x="55" y="8"/>
                    </a:lnTo>
                    <a:lnTo>
                      <a:pt x="55" y="8"/>
                    </a:lnTo>
                    <a:lnTo>
                      <a:pt x="59" y="4"/>
                    </a:lnTo>
                    <a:lnTo>
                      <a:pt x="59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3" y="4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67" y="4"/>
                    </a:lnTo>
                    <a:lnTo>
                      <a:pt x="67" y="0"/>
                    </a:lnTo>
                    <a:lnTo>
                      <a:pt x="71" y="4"/>
                    </a:lnTo>
                    <a:lnTo>
                      <a:pt x="75" y="4"/>
                    </a:lnTo>
                    <a:lnTo>
                      <a:pt x="75" y="4"/>
                    </a:lnTo>
                    <a:lnTo>
                      <a:pt x="75" y="4"/>
                    </a:lnTo>
                    <a:lnTo>
                      <a:pt x="75" y="4"/>
                    </a:lnTo>
                    <a:lnTo>
                      <a:pt x="75" y="4"/>
                    </a:lnTo>
                    <a:lnTo>
                      <a:pt x="75" y="4"/>
                    </a:lnTo>
                    <a:lnTo>
                      <a:pt x="75" y="8"/>
                    </a:lnTo>
                    <a:lnTo>
                      <a:pt x="83" y="8"/>
                    </a:lnTo>
                    <a:lnTo>
                      <a:pt x="87" y="8"/>
                    </a:lnTo>
                    <a:lnTo>
                      <a:pt x="87" y="8"/>
                    </a:lnTo>
                    <a:lnTo>
                      <a:pt x="91" y="8"/>
                    </a:lnTo>
                    <a:lnTo>
                      <a:pt x="91" y="8"/>
                    </a:lnTo>
                    <a:lnTo>
                      <a:pt x="91" y="12"/>
                    </a:lnTo>
                    <a:lnTo>
                      <a:pt x="91" y="12"/>
                    </a:lnTo>
                    <a:lnTo>
                      <a:pt x="91" y="12"/>
                    </a:lnTo>
                    <a:lnTo>
                      <a:pt x="91" y="12"/>
                    </a:lnTo>
                    <a:lnTo>
                      <a:pt x="95" y="12"/>
                    </a:lnTo>
                    <a:lnTo>
                      <a:pt x="95" y="12"/>
                    </a:lnTo>
                    <a:lnTo>
                      <a:pt x="95" y="12"/>
                    </a:lnTo>
                    <a:lnTo>
                      <a:pt x="95" y="12"/>
                    </a:lnTo>
                    <a:lnTo>
                      <a:pt x="95" y="12"/>
                    </a:lnTo>
                    <a:lnTo>
                      <a:pt x="99" y="12"/>
                    </a:lnTo>
                    <a:lnTo>
                      <a:pt x="99" y="16"/>
                    </a:lnTo>
                    <a:lnTo>
                      <a:pt x="99" y="16"/>
                    </a:lnTo>
                    <a:lnTo>
                      <a:pt x="99" y="16"/>
                    </a:lnTo>
                    <a:lnTo>
                      <a:pt x="103" y="16"/>
                    </a:lnTo>
                    <a:lnTo>
                      <a:pt x="103" y="16"/>
                    </a:lnTo>
                    <a:lnTo>
                      <a:pt x="103" y="16"/>
                    </a:lnTo>
                    <a:lnTo>
                      <a:pt x="103" y="16"/>
                    </a:lnTo>
                    <a:lnTo>
                      <a:pt x="103" y="16"/>
                    </a:lnTo>
                    <a:lnTo>
                      <a:pt x="107" y="16"/>
                    </a:lnTo>
                    <a:lnTo>
                      <a:pt x="107" y="16"/>
                    </a:lnTo>
                    <a:lnTo>
                      <a:pt x="107" y="16"/>
                    </a:lnTo>
                    <a:lnTo>
                      <a:pt x="107" y="20"/>
                    </a:lnTo>
                    <a:lnTo>
                      <a:pt x="111" y="20"/>
                    </a:lnTo>
                    <a:lnTo>
                      <a:pt x="111" y="20"/>
                    </a:lnTo>
                    <a:lnTo>
                      <a:pt x="111" y="24"/>
                    </a:lnTo>
                    <a:lnTo>
                      <a:pt x="111" y="24"/>
                    </a:lnTo>
                    <a:lnTo>
                      <a:pt x="111" y="24"/>
                    </a:lnTo>
                    <a:lnTo>
                      <a:pt x="115" y="24"/>
                    </a:lnTo>
                    <a:lnTo>
                      <a:pt x="115" y="24"/>
                    </a:lnTo>
                    <a:lnTo>
                      <a:pt x="115" y="24"/>
                    </a:lnTo>
                    <a:lnTo>
                      <a:pt x="115" y="24"/>
                    </a:lnTo>
                    <a:lnTo>
                      <a:pt x="115" y="24"/>
                    </a:lnTo>
                    <a:lnTo>
                      <a:pt x="115" y="24"/>
                    </a:lnTo>
                    <a:lnTo>
                      <a:pt x="115" y="24"/>
                    </a:lnTo>
                    <a:lnTo>
                      <a:pt x="115" y="24"/>
                    </a:lnTo>
                    <a:lnTo>
                      <a:pt x="115" y="24"/>
                    </a:lnTo>
                    <a:lnTo>
                      <a:pt x="115" y="24"/>
                    </a:lnTo>
                    <a:lnTo>
                      <a:pt x="115" y="28"/>
                    </a:lnTo>
                    <a:lnTo>
                      <a:pt x="115" y="28"/>
                    </a:lnTo>
                    <a:lnTo>
                      <a:pt x="115" y="28"/>
                    </a:lnTo>
                    <a:lnTo>
                      <a:pt x="115" y="32"/>
                    </a:lnTo>
                    <a:lnTo>
                      <a:pt x="115" y="32"/>
                    </a:lnTo>
                    <a:lnTo>
                      <a:pt x="115" y="32"/>
                    </a:lnTo>
                    <a:lnTo>
                      <a:pt x="115" y="32"/>
                    </a:lnTo>
                    <a:lnTo>
                      <a:pt x="115" y="32"/>
                    </a:lnTo>
                    <a:lnTo>
                      <a:pt x="115" y="32"/>
                    </a:lnTo>
                    <a:lnTo>
                      <a:pt x="115" y="32"/>
                    </a:lnTo>
                    <a:lnTo>
                      <a:pt x="115" y="36"/>
                    </a:lnTo>
                    <a:lnTo>
                      <a:pt x="115" y="36"/>
                    </a:lnTo>
                    <a:lnTo>
                      <a:pt x="115" y="36"/>
                    </a:lnTo>
                    <a:lnTo>
                      <a:pt x="115" y="40"/>
                    </a:lnTo>
                    <a:lnTo>
                      <a:pt x="115" y="40"/>
                    </a:lnTo>
                    <a:lnTo>
                      <a:pt x="115" y="40"/>
                    </a:lnTo>
                    <a:lnTo>
                      <a:pt x="115" y="40"/>
                    </a:lnTo>
                    <a:lnTo>
                      <a:pt x="115" y="40"/>
                    </a:lnTo>
                    <a:lnTo>
                      <a:pt x="115" y="44"/>
                    </a:lnTo>
                    <a:lnTo>
                      <a:pt x="115" y="44"/>
                    </a:lnTo>
                    <a:lnTo>
                      <a:pt x="115" y="48"/>
                    </a:lnTo>
                    <a:lnTo>
                      <a:pt x="115" y="48"/>
                    </a:lnTo>
                    <a:lnTo>
                      <a:pt x="115" y="48"/>
                    </a:lnTo>
                    <a:lnTo>
                      <a:pt x="115" y="48"/>
                    </a:lnTo>
                    <a:lnTo>
                      <a:pt x="115" y="48"/>
                    </a:lnTo>
                    <a:lnTo>
                      <a:pt x="115" y="52"/>
                    </a:lnTo>
                    <a:lnTo>
                      <a:pt x="115" y="52"/>
                    </a:lnTo>
                    <a:lnTo>
                      <a:pt x="115" y="52"/>
                    </a:lnTo>
                    <a:lnTo>
                      <a:pt x="115" y="52"/>
                    </a:lnTo>
                    <a:lnTo>
                      <a:pt x="119" y="52"/>
                    </a:lnTo>
                    <a:lnTo>
                      <a:pt x="115" y="56"/>
                    </a:lnTo>
                    <a:lnTo>
                      <a:pt x="115" y="56"/>
                    </a:lnTo>
                    <a:lnTo>
                      <a:pt x="115" y="56"/>
                    </a:lnTo>
                    <a:lnTo>
                      <a:pt x="115" y="56"/>
                    </a:lnTo>
                    <a:lnTo>
                      <a:pt x="115" y="56"/>
                    </a:lnTo>
                    <a:lnTo>
                      <a:pt x="115" y="56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5" y="60"/>
                    </a:lnTo>
                    <a:lnTo>
                      <a:pt x="111" y="60"/>
                    </a:lnTo>
                    <a:lnTo>
                      <a:pt x="111" y="64"/>
                    </a:lnTo>
                    <a:lnTo>
                      <a:pt x="111" y="64"/>
                    </a:lnTo>
                    <a:lnTo>
                      <a:pt x="111" y="64"/>
                    </a:lnTo>
                    <a:lnTo>
                      <a:pt x="111" y="64"/>
                    </a:lnTo>
                    <a:lnTo>
                      <a:pt x="111" y="64"/>
                    </a:lnTo>
                    <a:lnTo>
                      <a:pt x="115" y="64"/>
                    </a:lnTo>
                    <a:lnTo>
                      <a:pt x="115" y="68"/>
                    </a:lnTo>
                    <a:lnTo>
                      <a:pt x="115" y="72"/>
                    </a:lnTo>
                    <a:lnTo>
                      <a:pt x="115" y="72"/>
                    </a:lnTo>
                    <a:lnTo>
                      <a:pt x="111" y="72"/>
                    </a:lnTo>
                    <a:lnTo>
                      <a:pt x="111" y="76"/>
                    </a:lnTo>
                    <a:lnTo>
                      <a:pt x="115" y="76"/>
                    </a:lnTo>
                    <a:lnTo>
                      <a:pt x="115" y="76"/>
                    </a:lnTo>
                    <a:lnTo>
                      <a:pt x="115" y="76"/>
                    </a:lnTo>
                    <a:lnTo>
                      <a:pt x="115" y="76"/>
                    </a:lnTo>
                    <a:lnTo>
                      <a:pt x="115" y="80"/>
                    </a:lnTo>
                    <a:lnTo>
                      <a:pt x="115" y="80"/>
                    </a:lnTo>
                    <a:lnTo>
                      <a:pt x="115" y="84"/>
                    </a:lnTo>
                    <a:lnTo>
                      <a:pt x="115" y="84"/>
                    </a:lnTo>
                    <a:lnTo>
                      <a:pt x="115" y="88"/>
                    </a:lnTo>
                    <a:lnTo>
                      <a:pt x="115" y="88"/>
                    </a:lnTo>
                    <a:lnTo>
                      <a:pt x="115" y="88"/>
                    </a:lnTo>
                    <a:lnTo>
                      <a:pt x="115" y="88"/>
                    </a:lnTo>
                    <a:lnTo>
                      <a:pt x="111" y="92"/>
                    </a:lnTo>
                    <a:lnTo>
                      <a:pt x="111" y="96"/>
                    </a:lnTo>
                    <a:lnTo>
                      <a:pt x="111" y="96"/>
                    </a:lnTo>
                    <a:lnTo>
                      <a:pt x="107" y="96"/>
                    </a:lnTo>
                    <a:lnTo>
                      <a:pt x="107" y="96"/>
                    </a:lnTo>
                    <a:lnTo>
                      <a:pt x="107" y="100"/>
                    </a:lnTo>
                    <a:lnTo>
                      <a:pt x="107" y="100"/>
                    </a:lnTo>
                    <a:lnTo>
                      <a:pt x="107" y="100"/>
                    </a:lnTo>
                    <a:lnTo>
                      <a:pt x="107" y="104"/>
                    </a:lnTo>
                    <a:lnTo>
                      <a:pt x="107" y="104"/>
                    </a:lnTo>
                    <a:lnTo>
                      <a:pt x="107" y="104"/>
                    </a:lnTo>
                    <a:lnTo>
                      <a:pt x="107" y="108"/>
                    </a:lnTo>
                    <a:lnTo>
                      <a:pt x="107" y="108"/>
                    </a:lnTo>
                    <a:lnTo>
                      <a:pt x="107" y="108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98" name="Freeform 186">
                <a:extLst>
                  <a:ext uri="{FF2B5EF4-FFF2-40B4-BE49-F238E27FC236}">
                    <a16:creationId xmlns:a16="http://schemas.microsoft.com/office/drawing/2014/main" id="{BF733321-EC3C-4E25-A034-4F3BF5BFBC16}"/>
                  </a:ext>
                </a:extLst>
              </p:cNvPr>
              <p:cNvSpPr>
                <a:spLocks noEditPoints="1"/>
              </p:cNvSpPr>
              <p:nvPr>
                <p:custDataLst>
                  <p:tags r:id="rId88"/>
                </p:custDataLst>
              </p:nvPr>
            </p:nvSpPr>
            <p:spPr bwMode="gray">
              <a:xfrm>
                <a:off x="4109435" y="6481249"/>
                <a:ext cx="407175" cy="634083"/>
              </a:xfrm>
              <a:custGeom>
                <a:avLst/>
                <a:gdLst/>
                <a:ahLst/>
                <a:cxnLst>
                  <a:cxn ang="0">
                    <a:pos x="12" y="123"/>
                  </a:cxn>
                  <a:cxn ang="0">
                    <a:pos x="28" y="131"/>
                  </a:cxn>
                  <a:cxn ang="0">
                    <a:pos x="44" y="123"/>
                  </a:cxn>
                  <a:cxn ang="0">
                    <a:pos x="52" y="99"/>
                  </a:cxn>
                  <a:cxn ang="0">
                    <a:pos x="52" y="60"/>
                  </a:cxn>
                  <a:cxn ang="0">
                    <a:pos x="60" y="64"/>
                  </a:cxn>
                  <a:cxn ang="0">
                    <a:pos x="64" y="83"/>
                  </a:cxn>
                  <a:cxn ang="0">
                    <a:pos x="72" y="91"/>
                  </a:cxn>
                  <a:cxn ang="0">
                    <a:pos x="84" y="80"/>
                  </a:cxn>
                  <a:cxn ang="0">
                    <a:pos x="96" y="64"/>
                  </a:cxn>
                  <a:cxn ang="0">
                    <a:pos x="116" y="68"/>
                  </a:cxn>
                  <a:cxn ang="0">
                    <a:pos x="128" y="72"/>
                  </a:cxn>
                  <a:cxn ang="0">
                    <a:pos x="136" y="64"/>
                  </a:cxn>
                  <a:cxn ang="0">
                    <a:pos x="152" y="48"/>
                  </a:cxn>
                  <a:cxn ang="0">
                    <a:pos x="156" y="28"/>
                  </a:cxn>
                  <a:cxn ang="0">
                    <a:pos x="175" y="12"/>
                  </a:cxn>
                  <a:cxn ang="0">
                    <a:pos x="191" y="0"/>
                  </a:cxn>
                  <a:cxn ang="0">
                    <a:pos x="211" y="4"/>
                  </a:cxn>
                  <a:cxn ang="0">
                    <a:pos x="227" y="24"/>
                  </a:cxn>
                  <a:cxn ang="0">
                    <a:pos x="231" y="44"/>
                  </a:cxn>
                  <a:cxn ang="0">
                    <a:pos x="231" y="64"/>
                  </a:cxn>
                  <a:cxn ang="0">
                    <a:pos x="223" y="68"/>
                  </a:cxn>
                  <a:cxn ang="0">
                    <a:pos x="215" y="87"/>
                  </a:cxn>
                  <a:cxn ang="0">
                    <a:pos x="219" y="99"/>
                  </a:cxn>
                  <a:cxn ang="0">
                    <a:pos x="235" y="91"/>
                  </a:cxn>
                  <a:cxn ang="0">
                    <a:pos x="243" y="103"/>
                  </a:cxn>
                  <a:cxn ang="0">
                    <a:pos x="239" y="123"/>
                  </a:cxn>
                  <a:cxn ang="0">
                    <a:pos x="223" y="139"/>
                  </a:cxn>
                  <a:cxn ang="0">
                    <a:pos x="215" y="159"/>
                  </a:cxn>
                  <a:cxn ang="0">
                    <a:pos x="203" y="179"/>
                  </a:cxn>
                  <a:cxn ang="0">
                    <a:pos x="191" y="191"/>
                  </a:cxn>
                  <a:cxn ang="0">
                    <a:pos x="175" y="207"/>
                  </a:cxn>
                  <a:cxn ang="0">
                    <a:pos x="160" y="219"/>
                  </a:cxn>
                  <a:cxn ang="0">
                    <a:pos x="144" y="227"/>
                  </a:cxn>
                  <a:cxn ang="0">
                    <a:pos x="132" y="231"/>
                  </a:cxn>
                  <a:cxn ang="0">
                    <a:pos x="104" y="231"/>
                  </a:cxn>
                  <a:cxn ang="0">
                    <a:pos x="84" y="235"/>
                  </a:cxn>
                  <a:cxn ang="0">
                    <a:pos x="64" y="239"/>
                  </a:cxn>
                  <a:cxn ang="0">
                    <a:pos x="44" y="247"/>
                  </a:cxn>
                  <a:cxn ang="0">
                    <a:pos x="32" y="235"/>
                  </a:cxn>
                  <a:cxn ang="0">
                    <a:pos x="28" y="239"/>
                  </a:cxn>
                  <a:cxn ang="0">
                    <a:pos x="28" y="227"/>
                  </a:cxn>
                  <a:cxn ang="0">
                    <a:pos x="24" y="207"/>
                  </a:cxn>
                  <a:cxn ang="0">
                    <a:pos x="24" y="191"/>
                  </a:cxn>
                  <a:cxn ang="0">
                    <a:pos x="16" y="175"/>
                  </a:cxn>
                  <a:cxn ang="0">
                    <a:pos x="8" y="151"/>
                  </a:cxn>
                  <a:cxn ang="0">
                    <a:pos x="0" y="127"/>
                  </a:cxn>
                  <a:cxn ang="0">
                    <a:pos x="191" y="143"/>
                  </a:cxn>
                  <a:cxn ang="0">
                    <a:pos x="187" y="127"/>
                  </a:cxn>
                  <a:cxn ang="0">
                    <a:pos x="172" y="131"/>
                  </a:cxn>
                  <a:cxn ang="0">
                    <a:pos x="160" y="147"/>
                  </a:cxn>
                  <a:cxn ang="0">
                    <a:pos x="168" y="163"/>
                  </a:cxn>
                  <a:cxn ang="0">
                    <a:pos x="183" y="155"/>
                  </a:cxn>
                  <a:cxn ang="0">
                    <a:pos x="319" y="503"/>
                  </a:cxn>
                </a:cxnLst>
                <a:rect l="0" t="0" r="r" b="b"/>
                <a:pathLst>
                  <a:path w="323" h="503">
                    <a:moveTo>
                      <a:pt x="8" y="115"/>
                    </a:moveTo>
                    <a:lnTo>
                      <a:pt x="8" y="119"/>
                    </a:lnTo>
                    <a:lnTo>
                      <a:pt x="12" y="119"/>
                    </a:lnTo>
                    <a:lnTo>
                      <a:pt x="12" y="115"/>
                    </a:lnTo>
                    <a:lnTo>
                      <a:pt x="12" y="119"/>
                    </a:lnTo>
                    <a:lnTo>
                      <a:pt x="12" y="123"/>
                    </a:lnTo>
                    <a:lnTo>
                      <a:pt x="12" y="127"/>
                    </a:lnTo>
                    <a:lnTo>
                      <a:pt x="16" y="127"/>
                    </a:lnTo>
                    <a:lnTo>
                      <a:pt x="20" y="127"/>
                    </a:lnTo>
                    <a:lnTo>
                      <a:pt x="20" y="131"/>
                    </a:lnTo>
                    <a:lnTo>
                      <a:pt x="24" y="131"/>
                    </a:lnTo>
                    <a:lnTo>
                      <a:pt x="28" y="131"/>
                    </a:lnTo>
                    <a:lnTo>
                      <a:pt x="32" y="127"/>
                    </a:lnTo>
                    <a:lnTo>
                      <a:pt x="36" y="131"/>
                    </a:lnTo>
                    <a:lnTo>
                      <a:pt x="40" y="131"/>
                    </a:lnTo>
                    <a:lnTo>
                      <a:pt x="40" y="127"/>
                    </a:lnTo>
                    <a:lnTo>
                      <a:pt x="44" y="127"/>
                    </a:lnTo>
                    <a:lnTo>
                      <a:pt x="44" y="123"/>
                    </a:lnTo>
                    <a:lnTo>
                      <a:pt x="48" y="123"/>
                    </a:lnTo>
                    <a:lnTo>
                      <a:pt x="52" y="119"/>
                    </a:lnTo>
                    <a:lnTo>
                      <a:pt x="52" y="115"/>
                    </a:lnTo>
                    <a:lnTo>
                      <a:pt x="52" y="111"/>
                    </a:lnTo>
                    <a:lnTo>
                      <a:pt x="52" y="103"/>
                    </a:lnTo>
                    <a:lnTo>
                      <a:pt x="52" y="99"/>
                    </a:lnTo>
                    <a:lnTo>
                      <a:pt x="52" y="95"/>
                    </a:lnTo>
                    <a:lnTo>
                      <a:pt x="52" y="83"/>
                    </a:lnTo>
                    <a:lnTo>
                      <a:pt x="52" y="72"/>
                    </a:lnTo>
                    <a:lnTo>
                      <a:pt x="52" y="68"/>
                    </a:lnTo>
                    <a:lnTo>
                      <a:pt x="52" y="64"/>
                    </a:lnTo>
                    <a:lnTo>
                      <a:pt x="52" y="60"/>
                    </a:lnTo>
                    <a:lnTo>
                      <a:pt x="52" y="56"/>
                    </a:lnTo>
                    <a:lnTo>
                      <a:pt x="52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60" y="60"/>
                    </a:lnTo>
                    <a:lnTo>
                      <a:pt x="60" y="64"/>
                    </a:lnTo>
                    <a:lnTo>
                      <a:pt x="64" y="68"/>
                    </a:lnTo>
                    <a:lnTo>
                      <a:pt x="60" y="68"/>
                    </a:lnTo>
                    <a:lnTo>
                      <a:pt x="64" y="72"/>
                    </a:lnTo>
                    <a:lnTo>
                      <a:pt x="64" y="76"/>
                    </a:lnTo>
                    <a:lnTo>
                      <a:pt x="64" y="80"/>
                    </a:lnTo>
                    <a:lnTo>
                      <a:pt x="64" y="83"/>
                    </a:lnTo>
                    <a:lnTo>
                      <a:pt x="60" y="83"/>
                    </a:lnTo>
                    <a:lnTo>
                      <a:pt x="60" y="87"/>
                    </a:lnTo>
                    <a:lnTo>
                      <a:pt x="60" y="91"/>
                    </a:lnTo>
                    <a:lnTo>
                      <a:pt x="64" y="91"/>
                    </a:lnTo>
                    <a:lnTo>
                      <a:pt x="68" y="91"/>
                    </a:lnTo>
                    <a:lnTo>
                      <a:pt x="72" y="91"/>
                    </a:lnTo>
                    <a:lnTo>
                      <a:pt x="76" y="91"/>
                    </a:lnTo>
                    <a:lnTo>
                      <a:pt x="80" y="91"/>
                    </a:lnTo>
                    <a:lnTo>
                      <a:pt x="80" y="87"/>
                    </a:lnTo>
                    <a:lnTo>
                      <a:pt x="84" y="87"/>
                    </a:lnTo>
                    <a:lnTo>
                      <a:pt x="84" y="83"/>
                    </a:lnTo>
                    <a:lnTo>
                      <a:pt x="84" y="80"/>
                    </a:lnTo>
                    <a:lnTo>
                      <a:pt x="88" y="80"/>
                    </a:lnTo>
                    <a:lnTo>
                      <a:pt x="92" y="76"/>
                    </a:lnTo>
                    <a:lnTo>
                      <a:pt x="92" y="72"/>
                    </a:lnTo>
                    <a:lnTo>
                      <a:pt x="92" y="68"/>
                    </a:lnTo>
                    <a:lnTo>
                      <a:pt x="96" y="68"/>
                    </a:lnTo>
                    <a:lnTo>
                      <a:pt x="96" y="64"/>
                    </a:lnTo>
                    <a:lnTo>
                      <a:pt x="96" y="60"/>
                    </a:lnTo>
                    <a:lnTo>
                      <a:pt x="100" y="60"/>
                    </a:lnTo>
                    <a:lnTo>
                      <a:pt x="104" y="60"/>
                    </a:lnTo>
                    <a:lnTo>
                      <a:pt x="108" y="64"/>
                    </a:lnTo>
                    <a:lnTo>
                      <a:pt x="112" y="68"/>
                    </a:lnTo>
                    <a:lnTo>
                      <a:pt x="116" y="68"/>
                    </a:lnTo>
                    <a:lnTo>
                      <a:pt x="116" y="72"/>
                    </a:lnTo>
                    <a:lnTo>
                      <a:pt x="120" y="72"/>
                    </a:lnTo>
                    <a:lnTo>
                      <a:pt x="120" y="68"/>
                    </a:lnTo>
                    <a:lnTo>
                      <a:pt x="120" y="72"/>
                    </a:lnTo>
                    <a:lnTo>
                      <a:pt x="124" y="72"/>
                    </a:lnTo>
                    <a:lnTo>
                      <a:pt x="128" y="72"/>
                    </a:lnTo>
                    <a:lnTo>
                      <a:pt x="128" y="68"/>
                    </a:lnTo>
                    <a:lnTo>
                      <a:pt x="128" y="72"/>
                    </a:lnTo>
                    <a:lnTo>
                      <a:pt x="132" y="72"/>
                    </a:lnTo>
                    <a:lnTo>
                      <a:pt x="132" y="68"/>
                    </a:lnTo>
                    <a:lnTo>
                      <a:pt x="136" y="68"/>
                    </a:lnTo>
                    <a:lnTo>
                      <a:pt x="136" y="64"/>
                    </a:lnTo>
                    <a:lnTo>
                      <a:pt x="140" y="60"/>
                    </a:lnTo>
                    <a:lnTo>
                      <a:pt x="140" y="56"/>
                    </a:lnTo>
                    <a:lnTo>
                      <a:pt x="140" y="52"/>
                    </a:lnTo>
                    <a:lnTo>
                      <a:pt x="144" y="48"/>
                    </a:lnTo>
                    <a:lnTo>
                      <a:pt x="148" y="48"/>
                    </a:lnTo>
                    <a:lnTo>
                      <a:pt x="152" y="48"/>
                    </a:lnTo>
                    <a:lnTo>
                      <a:pt x="152" y="44"/>
                    </a:lnTo>
                    <a:lnTo>
                      <a:pt x="156" y="44"/>
                    </a:lnTo>
                    <a:lnTo>
                      <a:pt x="156" y="40"/>
                    </a:lnTo>
                    <a:lnTo>
                      <a:pt x="156" y="36"/>
                    </a:lnTo>
                    <a:lnTo>
                      <a:pt x="156" y="32"/>
                    </a:lnTo>
                    <a:lnTo>
                      <a:pt x="156" y="28"/>
                    </a:lnTo>
                    <a:lnTo>
                      <a:pt x="160" y="28"/>
                    </a:lnTo>
                    <a:lnTo>
                      <a:pt x="164" y="24"/>
                    </a:lnTo>
                    <a:lnTo>
                      <a:pt x="168" y="24"/>
                    </a:lnTo>
                    <a:lnTo>
                      <a:pt x="168" y="20"/>
                    </a:lnTo>
                    <a:lnTo>
                      <a:pt x="172" y="16"/>
                    </a:lnTo>
                    <a:lnTo>
                      <a:pt x="175" y="12"/>
                    </a:lnTo>
                    <a:lnTo>
                      <a:pt x="175" y="8"/>
                    </a:lnTo>
                    <a:lnTo>
                      <a:pt x="179" y="8"/>
                    </a:lnTo>
                    <a:lnTo>
                      <a:pt x="183" y="8"/>
                    </a:lnTo>
                    <a:lnTo>
                      <a:pt x="187" y="8"/>
                    </a:lnTo>
                    <a:lnTo>
                      <a:pt x="187" y="4"/>
                    </a:lnTo>
                    <a:lnTo>
                      <a:pt x="191" y="0"/>
                    </a:lnTo>
                    <a:lnTo>
                      <a:pt x="195" y="0"/>
                    </a:lnTo>
                    <a:lnTo>
                      <a:pt x="199" y="0"/>
                    </a:lnTo>
                    <a:lnTo>
                      <a:pt x="203" y="0"/>
                    </a:lnTo>
                    <a:lnTo>
                      <a:pt x="203" y="4"/>
                    </a:lnTo>
                    <a:lnTo>
                      <a:pt x="207" y="4"/>
                    </a:lnTo>
                    <a:lnTo>
                      <a:pt x="211" y="4"/>
                    </a:lnTo>
                    <a:lnTo>
                      <a:pt x="215" y="4"/>
                    </a:lnTo>
                    <a:lnTo>
                      <a:pt x="219" y="4"/>
                    </a:lnTo>
                    <a:lnTo>
                      <a:pt x="223" y="4"/>
                    </a:lnTo>
                    <a:lnTo>
                      <a:pt x="223" y="8"/>
                    </a:lnTo>
                    <a:lnTo>
                      <a:pt x="227" y="20"/>
                    </a:lnTo>
                    <a:lnTo>
                      <a:pt x="227" y="24"/>
                    </a:lnTo>
                    <a:lnTo>
                      <a:pt x="227" y="28"/>
                    </a:lnTo>
                    <a:lnTo>
                      <a:pt x="227" y="32"/>
                    </a:lnTo>
                    <a:lnTo>
                      <a:pt x="231" y="32"/>
                    </a:lnTo>
                    <a:lnTo>
                      <a:pt x="231" y="36"/>
                    </a:lnTo>
                    <a:lnTo>
                      <a:pt x="231" y="40"/>
                    </a:lnTo>
                    <a:lnTo>
                      <a:pt x="231" y="44"/>
                    </a:lnTo>
                    <a:lnTo>
                      <a:pt x="235" y="44"/>
                    </a:lnTo>
                    <a:lnTo>
                      <a:pt x="231" y="48"/>
                    </a:lnTo>
                    <a:lnTo>
                      <a:pt x="231" y="52"/>
                    </a:lnTo>
                    <a:lnTo>
                      <a:pt x="231" y="56"/>
                    </a:lnTo>
                    <a:lnTo>
                      <a:pt x="235" y="56"/>
                    </a:lnTo>
                    <a:lnTo>
                      <a:pt x="231" y="64"/>
                    </a:lnTo>
                    <a:lnTo>
                      <a:pt x="231" y="68"/>
                    </a:lnTo>
                    <a:lnTo>
                      <a:pt x="231" y="72"/>
                    </a:lnTo>
                    <a:lnTo>
                      <a:pt x="231" y="76"/>
                    </a:lnTo>
                    <a:lnTo>
                      <a:pt x="231" y="72"/>
                    </a:lnTo>
                    <a:lnTo>
                      <a:pt x="227" y="72"/>
                    </a:lnTo>
                    <a:lnTo>
                      <a:pt x="223" y="68"/>
                    </a:lnTo>
                    <a:lnTo>
                      <a:pt x="219" y="72"/>
                    </a:lnTo>
                    <a:lnTo>
                      <a:pt x="219" y="76"/>
                    </a:lnTo>
                    <a:lnTo>
                      <a:pt x="219" y="80"/>
                    </a:lnTo>
                    <a:lnTo>
                      <a:pt x="215" y="80"/>
                    </a:lnTo>
                    <a:lnTo>
                      <a:pt x="215" y="83"/>
                    </a:lnTo>
                    <a:lnTo>
                      <a:pt x="215" y="87"/>
                    </a:lnTo>
                    <a:lnTo>
                      <a:pt x="215" y="91"/>
                    </a:lnTo>
                    <a:lnTo>
                      <a:pt x="215" y="87"/>
                    </a:lnTo>
                    <a:lnTo>
                      <a:pt x="215" y="91"/>
                    </a:lnTo>
                    <a:lnTo>
                      <a:pt x="219" y="91"/>
                    </a:lnTo>
                    <a:lnTo>
                      <a:pt x="219" y="95"/>
                    </a:lnTo>
                    <a:lnTo>
                      <a:pt x="219" y="99"/>
                    </a:lnTo>
                    <a:lnTo>
                      <a:pt x="223" y="99"/>
                    </a:lnTo>
                    <a:lnTo>
                      <a:pt x="227" y="99"/>
                    </a:lnTo>
                    <a:lnTo>
                      <a:pt x="231" y="99"/>
                    </a:lnTo>
                    <a:lnTo>
                      <a:pt x="231" y="95"/>
                    </a:lnTo>
                    <a:lnTo>
                      <a:pt x="231" y="91"/>
                    </a:lnTo>
                    <a:lnTo>
                      <a:pt x="235" y="91"/>
                    </a:lnTo>
                    <a:lnTo>
                      <a:pt x="239" y="91"/>
                    </a:lnTo>
                    <a:lnTo>
                      <a:pt x="243" y="91"/>
                    </a:lnTo>
                    <a:lnTo>
                      <a:pt x="247" y="91"/>
                    </a:lnTo>
                    <a:lnTo>
                      <a:pt x="247" y="95"/>
                    </a:lnTo>
                    <a:lnTo>
                      <a:pt x="243" y="99"/>
                    </a:lnTo>
                    <a:lnTo>
                      <a:pt x="243" y="103"/>
                    </a:lnTo>
                    <a:lnTo>
                      <a:pt x="243" y="107"/>
                    </a:lnTo>
                    <a:lnTo>
                      <a:pt x="243" y="111"/>
                    </a:lnTo>
                    <a:lnTo>
                      <a:pt x="243" y="115"/>
                    </a:lnTo>
                    <a:lnTo>
                      <a:pt x="239" y="115"/>
                    </a:lnTo>
                    <a:lnTo>
                      <a:pt x="239" y="119"/>
                    </a:lnTo>
                    <a:lnTo>
                      <a:pt x="239" y="123"/>
                    </a:lnTo>
                    <a:lnTo>
                      <a:pt x="235" y="127"/>
                    </a:lnTo>
                    <a:lnTo>
                      <a:pt x="235" y="131"/>
                    </a:lnTo>
                    <a:lnTo>
                      <a:pt x="231" y="131"/>
                    </a:lnTo>
                    <a:lnTo>
                      <a:pt x="227" y="131"/>
                    </a:lnTo>
                    <a:lnTo>
                      <a:pt x="227" y="135"/>
                    </a:lnTo>
                    <a:lnTo>
                      <a:pt x="223" y="139"/>
                    </a:lnTo>
                    <a:lnTo>
                      <a:pt x="219" y="143"/>
                    </a:lnTo>
                    <a:lnTo>
                      <a:pt x="219" y="147"/>
                    </a:lnTo>
                    <a:lnTo>
                      <a:pt x="219" y="151"/>
                    </a:lnTo>
                    <a:lnTo>
                      <a:pt x="215" y="151"/>
                    </a:lnTo>
                    <a:lnTo>
                      <a:pt x="215" y="155"/>
                    </a:lnTo>
                    <a:lnTo>
                      <a:pt x="215" y="159"/>
                    </a:lnTo>
                    <a:lnTo>
                      <a:pt x="211" y="159"/>
                    </a:lnTo>
                    <a:lnTo>
                      <a:pt x="211" y="167"/>
                    </a:lnTo>
                    <a:lnTo>
                      <a:pt x="207" y="167"/>
                    </a:lnTo>
                    <a:lnTo>
                      <a:pt x="207" y="171"/>
                    </a:lnTo>
                    <a:lnTo>
                      <a:pt x="203" y="175"/>
                    </a:lnTo>
                    <a:lnTo>
                      <a:pt x="203" y="179"/>
                    </a:lnTo>
                    <a:lnTo>
                      <a:pt x="199" y="179"/>
                    </a:lnTo>
                    <a:lnTo>
                      <a:pt x="199" y="183"/>
                    </a:lnTo>
                    <a:lnTo>
                      <a:pt x="195" y="183"/>
                    </a:lnTo>
                    <a:lnTo>
                      <a:pt x="195" y="187"/>
                    </a:lnTo>
                    <a:lnTo>
                      <a:pt x="191" y="187"/>
                    </a:lnTo>
                    <a:lnTo>
                      <a:pt x="191" y="191"/>
                    </a:lnTo>
                    <a:lnTo>
                      <a:pt x="187" y="191"/>
                    </a:lnTo>
                    <a:lnTo>
                      <a:pt x="187" y="195"/>
                    </a:lnTo>
                    <a:lnTo>
                      <a:pt x="183" y="199"/>
                    </a:lnTo>
                    <a:lnTo>
                      <a:pt x="179" y="203"/>
                    </a:lnTo>
                    <a:lnTo>
                      <a:pt x="179" y="207"/>
                    </a:lnTo>
                    <a:lnTo>
                      <a:pt x="175" y="207"/>
                    </a:lnTo>
                    <a:lnTo>
                      <a:pt x="175" y="211"/>
                    </a:lnTo>
                    <a:lnTo>
                      <a:pt x="172" y="211"/>
                    </a:lnTo>
                    <a:lnTo>
                      <a:pt x="168" y="211"/>
                    </a:lnTo>
                    <a:lnTo>
                      <a:pt x="168" y="215"/>
                    </a:lnTo>
                    <a:lnTo>
                      <a:pt x="164" y="219"/>
                    </a:lnTo>
                    <a:lnTo>
                      <a:pt x="160" y="219"/>
                    </a:lnTo>
                    <a:lnTo>
                      <a:pt x="160" y="223"/>
                    </a:lnTo>
                    <a:lnTo>
                      <a:pt x="156" y="223"/>
                    </a:lnTo>
                    <a:lnTo>
                      <a:pt x="152" y="223"/>
                    </a:lnTo>
                    <a:lnTo>
                      <a:pt x="152" y="227"/>
                    </a:lnTo>
                    <a:lnTo>
                      <a:pt x="148" y="227"/>
                    </a:lnTo>
                    <a:lnTo>
                      <a:pt x="144" y="227"/>
                    </a:lnTo>
                    <a:lnTo>
                      <a:pt x="140" y="227"/>
                    </a:lnTo>
                    <a:lnTo>
                      <a:pt x="136" y="227"/>
                    </a:lnTo>
                    <a:lnTo>
                      <a:pt x="136" y="231"/>
                    </a:lnTo>
                    <a:lnTo>
                      <a:pt x="140" y="231"/>
                    </a:lnTo>
                    <a:lnTo>
                      <a:pt x="136" y="231"/>
                    </a:lnTo>
                    <a:lnTo>
                      <a:pt x="132" y="231"/>
                    </a:lnTo>
                    <a:lnTo>
                      <a:pt x="128" y="231"/>
                    </a:lnTo>
                    <a:lnTo>
                      <a:pt x="124" y="235"/>
                    </a:lnTo>
                    <a:lnTo>
                      <a:pt x="120" y="235"/>
                    </a:lnTo>
                    <a:lnTo>
                      <a:pt x="112" y="231"/>
                    </a:lnTo>
                    <a:lnTo>
                      <a:pt x="108" y="231"/>
                    </a:lnTo>
                    <a:lnTo>
                      <a:pt x="104" y="231"/>
                    </a:lnTo>
                    <a:lnTo>
                      <a:pt x="100" y="231"/>
                    </a:lnTo>
                    <a:lnTo>
                      <a:pt x="96" y="231"/>
                    </a:lnTo>
                    <a:lnTo>
                      <a:pt x="92" y="231"/>
                    </a:lnTo>
                    <a:lnTo>
                      <a:pt x="88" y="231"/>
                    </a:lnTo>
                    <a:lnTo>
                      <a:pt x="84" y="231"/>
                    </a:lnTo>
                    <a:lnTo>
                      <a:pt x="84" y="235"/>
                    </a:lnTo>
                    <a:lnTo>
                      <a:pt x="80" y="235"/>
                    </a:lnTo>
                    <a:lnTo>
                      <a:pt x="80" y="239"/>
                    </a:lnTo>
                    <a:lnTo>
                      <a:pt x="76" y="239"/>
                    </a:lnTo>
                    <a:lnTo>
                      <a:pt x="72" y="239"/>
                    </a:lnTo>
                    <a:lnTo>
                      <a:pt x="68" y="239"/>
                    </a:lnTo>
                    <a:lnTo>
                      <a:pt x="64" y="239"/>
                    </a:lnTo>
                    <a:lnTo>
                      <a:pt x="60" y="239"/>
                    </a:lnTo>
                    <a:lnTo>
                      <a:pt x="60" y="243"/>
                    </a:lnTo>
                    <a:lnTo>
                      <a:pt x="56" y="243"/>
                    </a:lnTo>
                    <a:lnTo>
                      <a:pt x="52" y="247"/>
                    </a:lnTo>
                    <a:lnTo>
                      <a:pt x="48" y="247"/>
                    </a:lnTo>
                    <a:lnTo>
                      <a:pt x="44" y="247"/>
                    </a:lnTo>
                    <a:lnTo>
                      <a:pt x="44" y="243"/>
                    </a:lnTo>
                    <a:lnTo>
                      <a:pt x="40" y="243"/>
                    </a:lnTo>
                    <a:lnTo>
                      <a:pt x="40" y="239"/>
                    </a:lnTo>
                    <a:lnTo>
                      <a:pt x="36" y="239"/>
                    </a:lnTo>
                    <a:lnTo>
                      <a:pt x="32" y="239"/>
                    </a:lnTo>
                    <a:lnTo>
                      <a:pt x="32" y="235"/>
                    </a:lnTo>
                    <a:lnTo>
                      <a:pt x="36" y="235"/>
                    </a:lnTo>
                    <a:lnTo>
                      <a:pt x="32" y="235"/>
                    </a:lnTo>
                    <a:lnTo>
                      <a:pt x="32" y="231"/>
                    </a:lnTo>
                    <a:lnTo>
                      <a:pt x="28" y="231"/>
                    </a:lnTo>
                    <a:lnTo>
                      <a:pt x="28" y="235"/>
                    </a:lnTo>
                    <a:lnTo>
                      <a:pt x="28" y="239"/>
                    </a:lnTo>
                    <a:lnTo>
                      <a:pt x="28" y="235"/>
                    </a:lnTo>
                    <a:lnTo>
                      <a:pt x="24" y="231"/>
                    </a:lnTo>
                    <a:lnTo>
                      <a:pt x="28" y="231"/>
                    </a:lnTo>
                    <a:lnTo>
                      <a:pt x="28" y="227"/>
                    </a:lnTo>
                    <a:lnTo>
                      <a:pt x="28" y="231"/>
                    </a:lnTo>
                    <a:lnTo>
                      <a:pt x="28" y="227"/>
                    </a:lnTo>
                    <a:lnTo>
                      <a:pt x="28" y="223"/>
                    </a:lnTo>
                    <a:lnTo>
                      <a:pt x="24" y="219"/>
                    </a:lnTo>
                    <a:lnTo>
                      <a:pt x="24" y="215"/>
                    </a:lnTo>
                    <a:lnTo>
                      <a:pt x="20" y="211"/>
                    </a:lnTo>
                    <a:lnTo>
                      <a:pt x="20" y="207"/>
                    </a:lnTo>
                    <a:lnTo>
                      <a:pt x="24" y="207"/>
                    </a:lnTo>
                    <a:lnTo>
                      <a:pt x="24" y="203"/>
                    </a:lnTo>
                    <a:lnTo>
                      <a:pt x="28" y="203"/>
                    </a:lnTo>
                    <a:lnTo>
                      <a:pt x="28" y="199"/>
                    </a:lnTo>
                    <a:lnTo>
                      <a:pt x="28" y="195"/>
                    </a:lnTo>
                    <a:lnTo>
                      <a:pt x="24" y="195"/>
                    </a:lnTo>
                    <a:lnTo>
                      <a:pt x="24" y="191"/>
                    </a:lnTo>
                    <a:lnTo>
                      <a:pt x="24" y="187"/>
                    </a:lnTo>
                    <a:lnTo>
                      <a:pt x="24" y="183"/>
                    </a:lnTo>
                    <a:lnTo>
                      <a:pt x="20" y="183"/>
                    </a:lnTo>
                    <a:lnTo>
                      <a:pt x="20" y="179"/>
                    </a:lnTo>
                    <a:lnTo>
                      <a:pt x="20" y="175"/>
                    </a:lnTo>
                    <a:lnTo>
                      <a:pt x="16" y="175"/>
                    </a:lnTo>
                    <a:lnTo>
                      <a:pt x="16" y="171"/>
                    </a:lnTo>
                    <a:lnTo>
                      <a:pt x="12" y="167"/>
                    </a:lnTo>
                    <a:lnTo>
                      <a:pt x="12" y="163"/>
                    </a:lnTo>
                    <a:lnTo>
                      <a:pt x="12" y="159"/>
                    </a:lnTo>
                    <a:lnTo>
                      <a:pt x="8" y="155"/>
                    </a:lnTo>
                    <a:lnTo>
                      <a:pt x="8" y="151"/>
                    </a:lnTo>
                    <a:lnTo>
                      <a:pt x="8" y="147"/>
                    </a:lnTo>
                    <a:lnTo>
                      <a:pt x="8" y="143"/>
                    </a:lnTo>
                    <a:lnTo>
                      <a:pt x="4" y="139"/>
                    </a:lnTo>
                    <a:lnTo>
                      <a:pt x="4" y="135"/>
                    </a:lnTo>
                    <a:lnTo>
                      <a:pt x="0" y="131"/>
                    </a:lnTo>
                    <a:lnTo>
                      <a:pt x="0" y="127"/>
                    </a:lnTo>
                    <a:lnTo>
                      <a:pt x="0" y="123"/>
                    </a:lnTo>
                    <a:lnTo>
                      <a:pt x="4" y="123"/>
                    </a:lnTo>
                    <a:lnTo>
                      <a:pt x="4" y="119"/>
                    </a:lnTo>
                    <a:lnTo>
                      <a:pt x="4" y="115"/>
                    </a:lnTo>
                    <a:lnTo>
                      <a:pt x="8" y="115"/>
                    </a:lnTo>
                    <a:close/>
                    <a:moveTo>
                      <a:pt x="191" y="143"/>
                    </a:moveTo>
                    <a:lnTo>
                      <a:pt x="191" y="139"/>
                    </a:lnTo>
                    <a:lnTo>
                      <a:pt x="195" y="139"/>
                    </a:lnTo>
                    <a:lnTo>
                      <a:pt x="191" y="135"/>
                    </a:lnTo>
                    <a:lnTo>
                      <a:pt x="191" y="131"/>
                    </a:lnTo>
                    <a:lnTo>
                      <a:pt x="187" y="131"/>
                    </a:lnTo>
                    <a:lnTo>
                      <a:pt x="187" y="127"/>
                    </a:lnTo>
                    <a:lnTo>
                      <a:pt x="183" y="127"/>
                    </a:lnTo>
                    <a:lnTo>
                      <a:pt x="183" y="123"/>
                    </a:lnTo>
                    <a:lnTo>
                      <a:pt x="179" y="123"/>
                    </a:lnTo>
                    <a:lnTo>
                      <a:pt x="179" y="127"/>
                    </a:lnTo>
                    <a:lnTo>
                      <a:pt x="175" y="127"/>
                    </a:lnTo>
                    <a:lnTo>
                      <a:pt x="172" y="131"/>
                    </a:lnTo>
                    <a:lnTo>
                      <a:pt x="168" y="131"/>
                    </a:lnTo>
                    <a:lnTo>
                      <a:pt x="168" y="135"/>
                    </a:lnTo>
                    <a:lnTo>
                      <a:pt x="164" y="139"/>
                    </a:lnTo>
                    <a:lnTo>
                      <a:pt x="164" y="143"/>
                    </a:lnTo>
                    <a:lnTo>
                      <a:pt x="160" y="143"/>
                    </a:lnTo>
                    <a:lnTo>
                      <a:pt x="160" y="147"/>
                    </a:lnTo>
                    <a:lnTo>
                      <a:pt x="160" y="151"/>
                    </a:lnTo>
                    <a:lnTo>
                      <a:pt x="164" y="151"/>
                    </a:lnTo>
                    <a:lnTo>
                      <a:pt x="164" y="155"/>
                    </a:lnTo>
                    <a:lnTo>
                      <a:pt x="164" y="159"/>
                    </a:lnTo>
                    <a:lnTo>
                      <a:pt x="168" y="159"/>
                    </a:lnTo>
                    <a:lnTo>
                      <a:pt x="168" y="163"/>
                    </a:lnTo>
                    <a:lnTo>
                      <a:pt x="172" y="163"/>
                    </a:lnTo>
                    <a:lnTo>
                      <a:pt x="175" y="163"/>
                    </a:lnTo>
                    <a:lnTo>
                      <a:pt x="175" y="159"/>
                    </a:lnTo>
                    <a:lnTo>
                      <a:pt x="175" y="155"/>
                    </a:lnTo>
                    <a:lnTo>
                      <a:pt x="179" y="155"/>
                    </a:lnTo>
                    <a:lnTo>
                      <a:pt x="183" y="155"/>
                    </a:lnTo>
                    <a:lnTo>
                      <a:pt x="187" y="151"/>
                    </a:lnTo>
                    <a:lnTo>
                      <a:pt x="191" y="151"/>
                    </a:lnTo>
                    <a:lnTo>
                      <a:pt x="191" y="147"/>
                    </a:lnTo>
                    <a:lnTo>
                      <a:pt x="191" y="143"/>
                    </a:lnTo>
                    <a:close/>
                    <a:moveTo>
                      <a:pt x="323" y="503"/>
                    </a:moveTo>
                    <a:lnTo>
                      <a:pt x="319" y="503"/>
                    </a:lnTo>
                    <a:lnTo>
                      <a:pt x="319" y="499"/>
                    </a:lnTo>
                    <a:lnTo>
                      <a:pt x="323" y="499"/>
                    </a:lnTo>
                    <a:lnTo>
                      <a:pt x="323" y="503"/>
                    </a:lnTo>
                    <a:close/>
                  </a:path>
                </a:pathLst>
              </a:custGeom>
              <a:solidFill>
                <a:srgbClr val="97D700"/>
              </a:solidFill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grpSp>
            <p:nvGrpSpPr>
              <p:cNvPr id="99" name="Group 464">
                <a:extLst>
                  <a:ext uri="{FF2B5EF4-FFF2-40B4-BE49-F238E27FC236}">
                    <a16:creationId xmlns:a16="http://schemas.microsoft.com/office/drawing/2014/main" id="{255A9CBB-2140-4782-916B-C76BFA48DD7E}"/>
                  </a:ext>
                </a:extLst>
              </p:cNvPr>
              <p:cNvGrpSpPr/>
              <p:nvPr>
                <p:custDataLst>
                  <p:tags r:id="rId89"/>
                </p:custDataLst>
              </p:nvPr>
            </p:nvGrpSpPr>
            <p:grpSpPr bwMode="gray">
              <a:xfrm>
                <a:off x="4038844" y="4815990"/>
                <a:ext cx="935368" cy="1217743"/>
                <a:chOff x="4818063" y="3268663"/>
                <a:chExt cx="1177924" cy="1533525"/>
              </a:xfrm>
              <a:grpFill/>
            </p:grpSpPr>
            <p:grpSp>
              <p:nvGrpSpPr>
                <p:cNvPr id="105" name="Group 195">
                  <a:extLst>
                    <a:ext uri="{FF2B5EF4-FFF2-40B4-BE49-F238E27FC236}">
                      <a16:creationId xmlns:a16="http://schemas.microsoft.com/office/drawing/2014/main" id="{F132043B-E282-4E5E-B675-A2F64AD6E466}"/>
                    </a:ext>
                  </a:extLst>
                </p:cNvPr>
                <p:cNvGrpSpPr>
                  <a:grpSpLocks/>
                </p:cNvGrpSpPr>
                <p:nvPr>
                  <p:custDataLst>
                    <p:tags r:id="rId90"/>
                  </p:custDataLst>
                </p:nvPr>
              </p:nvGrpSpPr>
              <p:grpSpPr bwMode="gray">
                <a:xfrm>
                  <a:off x="4818063" y="4294188"/>
                  <a:ext cx="525462" cy="508000"/>
                  <a:chOff x="3035" y="2705"/>
                  <a:chExt cx="331" cy="320"/>
                </a:xfrm>
                <a:grpFill/>
              </p:grpSpPr>
              <p:sp>
                <p:nvSpPr>
                  <p:cNvPr id="108" name="Freeform 196">
                    <a:extLst>
                      <a:ext uri="{FF2B5EF4-FFF2-40B4-BE49-F238E27FC236}">
                        <a16:creationId xmlns:a16="http://schemas.microsoft.com/office/drawing/2014/main" id="{7DC741AD-4F29-425F-A0C8-6665E7663AA4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035" y="2705"/>
                    <a:ext cx="36" cy="36"/>
                  </a:xfrm>
                  <a:custGeom>
                    <a:avLst/>
                    <a:gdLst/>
                    <a:ahLst/>
                    <a:cxnLst>
                      <a:cxn ang="0">
                        <a:pos x="4" y="8"/>
                      </a:cxn>
                      <a:cxn ang="0">
                        <a:pos x="4" y="8"/>
                      </a:cxn>
                      <a:cxn ang="0">
                        <a:pos x="0" y="8"/>
                      </a:cxn>
                      <a:cxn ang="0">
                        <a:pos x="4" y="4"/>
                      </a:cxn>
                      <a:cxn ang="0">
                        <a:pos x="8" y="0"/>
                      </a:cxn>
                      <a:cxn ang="0">
                        <a:pos x="12" y="0"/>
                      </a:cxn>
                      <a:cxn ang="0">
                        <a:pos x="12" y="4"/>
                      </a:cxn>
                      <a:cxn ang="0">
                        <a:pos x="16" y="4"/>
                      </a:cxn>
                      <a:cxn ang="0">
                        <a:pos x="20" y="8"/>
                      </a:cxn>
                      <a:cxn ang="0">
                        <a:pos x="20" y="8"/>
                      </a:cxn>
                      <a:cxn ang="0">
                        <a:pos x="20" y="8"/>
                      </a:cxn>
                      <a:cxn ang="0">
                        <a:pos x="20" y="12"/>
                      </a:cxn>
                      <a:cxn ang="0">
                        <a:pos x="20" y="16"/>
                      </a:cxn>
                      <a:cxn ang="0">
                        <a:pos x="20" y="16"/>
                      </a:cxn>
                      <a:cxn ang="0">
                        <a:pos x="24" y="16"/>
                      </a:cxn>
                      <a:cxn ang="0">
                        <a:pos x="24" y="16"/>
                      </a:cxn>
                      <a:cxn ang="0">
                        <a:pos x="28" y="16"/>
                      </a:cxn>
                      <a:cxn ang="0">
                        <a:pos x="32" y="20"/>
                      </a:cxn>
                      <a:cxn ang="0">
                        <a:pos x="36" y="20"/>
                      </a:cxn>
                      <a:cxn ang="0">
                        <a:pos x="36" y="20"/>
                      </a:cxn>
                      <a:cxn ang="0">
                        <a:pos x="36" y="20"/>
                      </a:cxn>
                      <a:cxn ang="0">
                        <a:pos x="36" y="24"/>
                      </a:cxn>
                      <a:cxn ang="0">
                        <a:pos x="36" y="24"/>
                      </a:cxn>
                      <a:cxn ang="0">
                        <a:pos x="36" y="24"/>
                      </a:cxn>
                      <a:cxn ang="0">
                        <a:pos x="36" y="24"/>
                      </a:cxn>
                      <a:cxn ang="0">
                        <a:pos x="32" y="28"/>
                      </a:cxn>
                      <a:cxn ang="0">
                        <a:pos x="32" y="28"/>
                      </a:cxn>
                      <a:cxn ang="0">
                        <a:pos x="28" y="28"/>
                      </a:cxn>
                      <a:cxn ang="0">
                        <a:pos x="24" y="28"/>
                      </a:cxn>
                      <a:cxn ang="0">
                        <a:pos x="24" y="28"/>
                      </a:cxn>
                      <a:cxn ang="0">
                        <a:pos x="24" y="28"/>
                      </a:cxn>
                      <a:cxn ang="0">
                        <a:pos x="24" y="28"/>
                      </a:cxn>
                      <a:cxn ang="0">
                        <a:pos x="24" y="32"/>
                      </a:cxn>
                      <a:cxn ang="0">
                        <a:pos x="24" y="32"/>
                      </a:cxn>
                      <a:cxn ang="0">
                        <a:pos x="20" y="32"/>
                      </a:cxn>
                      <a:cxn ang="0">
                        <a:pos x="20" y="32"/>
                      </a:cxn>
                      <a:cxn ang="0">
                        <a:pos x="20" y="32"/>
                      </a:cxn>
                      <a:cxn ang="0">
                        <a:pos x="20" y="36"/>
                      </a:cxn>
                      <a:cxn ang="0">
                        <a:pos x="20" y="36"/>
                      </a:cxn>
                      <a:cxn ang="0">
                        <a:pos x="20" y="36"/>
                      </a:cxn>
                      <a:cxn ang="0">
                        <a:pos x="20" y="36"/>
                      </a:cxn>
                      <a:cxn ang="0">
                        <a:pos x="20" y="36"/>
                      </a:cxn>
                      <a:cxn ang="0">
                        <a:pos x="16" y="36"/>
                      </a:cxn>
                      <a:cxn ang="0">
                        <a:pos x="16" y="36"/>
                      </a:cxn>
                      <a:cxn ang="0">
                        <a:pos x="16" y="32"/>
                      </a:cxn>
                      <a:cxn ang="0">
                        <a:pos x="12" y="24"/>
                      </a:cxn>
                      <a:cxn ang="0">
                        <a:pos x="8" y="20"/>
                      </a:cxn>
                      <a:cxn ang="0">
                        <a:pos x="8" y="20"/>
                      </a:cxn>
                      <a:cxn ang="0">
                        <a:pos x="8" y="20"/>
                      </a:cxn>
                    </a:cxnLst>
                    <a:rect l="0" t="0" r="r" b="b"/>
                    <a:pathLst>
                      <a:path w="36" h="36">
                        <a:moveTo>
                          <a:pt x="8" y="12"/>
                        </a:moveTo>
                        <a:lnTo>
                          <a:pt x="8" y="12"/>
                        </a:lnTo>
                        <a:lnTo>
                          <a:pt x="4" y="12"/>
                        </a:lnTo>
                        <a:lnTo>
                          <a:pt x="4" y="8"/>
                        </a:lnTo>
                        <a:lnTo>
                          <a:pt x="4" y="8"/>
                        </a:lnTo>
                        <a:lnTo>
                          <a:pt x="4" y="8"/>
                        </a:lnTo>
                        <a:lnTo>
                          <a:pt x="4" y="8"/>
                        </a:lnTo>
                        <a:lnTo>
                          <a:pt x="4" y="8"/>
                        </a:lnTo>
                        <a:lnTo>
                          <a:pt x="4" y="8"/>
                        </a:lnTo>
                        <a:lnTo>
                          <a:pt x="4" y="8"/>
                        </a:lnTo>
                        <a:lnTo>
                          <a:pt x="4" y="8"/>
                        </a:lnTo>
                        <a:lnTo>
                          <a:pt x="0" y="8"/>
                        </a:lnTo>
                        <a:lnTo>
                          <a:pt x="0" y="4"/>
                        </a:lnTo>
                        <a:lnTo>
                          <a:pt x="0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4" y="4"/>
                        </a:lnTo>
                        <a:lnTo>
                          <a:pt x="8" y="4"/>
                        </a:lnTo>
                        <a:lnTo>
                          <a:pt x="8" y="0"/>
                        </a:lnTo>
                        <a:lnTo>
                          <a:pt x="8" y="0"/>
                        </a:lnTo>
                        <a:lnTo>
                          <a:pt x="8" y="0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12" y="0"/>
                        </a:lnTo>
                        <a:lnTo>
                          <a:pt x="12" y="4"/>
                        </a:lnTo>
                        <a:lnTo>
                          <a:pt x="16" y="4"/>
                        </a:lnTo>
                        <a:lnTo>
                          <a:pt x="16" y="4"/>
                        </a:lnTo>
                        <a:lnTo>
                          <a:pt x="16" y="4"/>
                        </a:lnTo>
                        <a:lnTo>
                          <a:pt x="16" y="4"/>
                        </a:lnTo>
                        <a:lnTo>
                          <a:pt x="16" y="4"/>
                        </a:lnTo>
                        <a:lnTo>
                          <a:pt x="16" y="4"/>
                        </a:lnTo>
                        <a:lnTo>
                          <a:pt x="16" y="4"/>
                        </a:lnTo>
                        <a:lnTo>
                          <a:pt x="20" y="8"/>
                        </a:lnTo>
                        <a:lnTo>
                          <a:pt x="20" y="8"/>
                        </a:lnTo>
                        <a:lnTo>
                          <a:pt x="20" y="8"/>
                        </a:lnTo>
                        <a:lnTo>
                          <a:pt x="20" y="8"/>
                        </a:lnTo>
                        <a:lnTo>
                          <a:pt x="20" y="8"/>
                        </a:lnTo>
                        <a:lnTo>
                          <a:pt x="20" y="8"/>
                        </a:lnTo>
                        <a:lnTo>
                          <a:pt x="20" y="8"/>
                        </a:lnTo>
                        <a:lnTo>
                          <a:pt x="20" y="8"/>
                        </a:lnTo>
                        <a:lnTo>
                          <a:pt x="20" y="8"/>
                        </a:lnTo>
                        <a:lnTo>
                          <a:pt x="20" y="8"/>
                        </a:lnTo>
                        <a:lnTo>
                          <a:pt x="20" y="12"/>
                        </a:lnTo>
                        <a:lnTo>
                          <a:pt x="20" y="12"/>
                        </a:lnTo>
                        <a:lnTo>
                          <a:pt x="20" y="12"/>
                        </a:lnTo>
                        <a:lnTo>
                          <a:pt x="20" y="12"/>
                        </a:lnTo>
                        <a:lnTo>
                          <a:pt x="20" y="16"/>
                        </a:lnTo>
                        <a:lnTo>
                          <a:pt x="20" y="16"/>
                        </a:lnTo>
                        <a:lnTo>
                          <a:pt x="20" y="16"/>
                        </a:lnTo>
                        <a:lnTo>
                          <a:pt x="20" y="16"/>
                        </a:lnTo>
                        <a:lnTo>
                          <a:pt x="20" y="16"/>
                        </a:lnTo>
                        <a:lnTo>
                          <a:pt x="20" y="16"/>
                        </a:lnTo>
                        <a:lnTo>
                          <a:pt x="20" y="16"/>
                        </a:lnTo>
                        <a:lnTo>
                          <a:pt x="24" y="16"/>
                        </a:lnTo>
                        <a:lnTo>
                          <a:pt x="24" y="16"/>
                        </a:lnTo>
                        <a:lnTo>
                          <a:pt x="24" y="16"/>
                        </a:lnTo>
                        <a:lnTo>
                          <a:pt x="24" y="16"/>
                        </a:lnTo>
                        <a:lnTo>
                          <a:pt x="24" y="16"/>
                        </a:lnTo>
                        <a:lnTo>
                          <a:pt x="24" y="16"/>
                        </a:lnTo>
                        <a:lnTo>
                          <a:pt x="24" y="16"/>
                        </a:lnTo>
                        <a:lnTo>
                          <a:pt x="24" y="16"/>
                        </a:lnTo>
                        <a:lnTo>
                          <a:pt x="28" y="16"/>
                        </a:lnTo>
                        <a:lnTo>
                          <a:pt x="28" y="16"/>
                        </a:lnTo>
                        <a:lnTo>
                          <a:pt x="28" y="16"/>
                        </a:lnTo>
                        <a:lnTo>
                          <a:pt x="28" y="16"/>
                        </a:lnTo>
                        <a:lnTo>
                          <a:pt x="28" y="16"/>
                        </a:lnTo>
                        <a:lnTo>
                          <a:pt x="32" y="16"/>
                        </a:lnTo>
                        <a:lnTo>
                          <a:pt x="32" y="16"/>
                        </a:lnTo>
                        <a:lnTo>
                          <a:pt x="32" y="20"/>
                        </a:lnTo>
                        <a:lnTo>
                          <a:pt x="32" y="20"/>
                        </a:lnTo>
                        <a:lnTo>
                          <a:pt x="32" y="20"/>
                        </a:lnTo>
                        <a:lnTo>
                          <a:pt x="32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0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4"/>
                        </a:lnTo>
                        <a:lnTo>
                          <a:pt x="36" y="28"/>
                        </a:lnTo>
                        <a:lnTo>
                          <a:pt x="32" y="28"/>
                        </a:lnTo>
                        <a:lnTo>
                          <a:pt x="32" y="28"/>
                        </a:lnTo>
                        <a:lnTo>
                          <a:pt x="32" y="28"/>
                        </a:lnTo>
                        <a:lnTo>
                          <a:pt x="32" y="28"/>
                        </a:lnTo>
                        <a:lnTo>
                          <a:pt x="32" y="28"/>
                        </a:lnTo>
                        <a:lnTo>
                          <a:pt x="32" y="28"/>
                        </a:lnTo>
                        <a:lnTo>
                          <a:pt x="32" y="28"/>
                        </a:lnTo>
                        <a:lnTo>
                          <a:pt x="32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8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28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4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2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20" y="36"/>
                        </a:lnTo>
                        <a:lnTo>
                          <a:pt x="16" y="36"/>
                        </a:lnTo>
                        <a:lnTo>
                          <a:pt x="16" y="36"/>
                        </a:lnTo>
                        <a:lnTo>
                          <a:pt x="16" y="36"/>
                        </a:lnTo>
                        <a:lnTo>
                          <a:pt x="16" y="36"/>
                        </a:lnTo>
                        <a:lnTo>
                          <a:pt x="16" y="36"/>
                        </a:lnTo>
                        <a:lnTo>
                          <a:pt x="16" y="36"/>
                        </a:lnTo>
                        <a:lnTo>
                          <a:pt x="16" y="32"/>
                        </a:lnTo>
                        <a:lnTo>
                          <a:pt x="16" y="32"/>
                        </a:lnTo>
                        <a:lnTo>
                          <a:pt x="16" y="32"/>
                        </a:lnTo>
                        <a:lnTo>
                          <a:pt x="16" y="32"/>
                        </a:lnTo>
                        <a:lnTo>
                          <a:pt x="16" y="28"/>
                        </a:lnTo>
                        <a:lnTo>
                          <a:pt x="12" y="28"/>
                        </a:lnTo>
                        <a:lnTo>
                          <a:pt x="12" y="24"/>
                        </a:lnTo>
                        <a:lnTo>
                          <a:pt x="12" y="24"/>
                        </a:lnTo>
                        <a:lnTo>
                          <a:pt x="12" y="24"/>
                        </a:lnTo>
                        <a:lnTo>
                          <a:pt x="12" y="24"/>
                        </a:lnTo>
                        <a:lnTo>
                          <a:pt x="8" y="24"/>
                        </a:lnTo>
                        <a:lnTo>
                          <a:pt x="8" y="20"/>
                        </a:lnTo>
                        <a:lnTo>
                          <a:pt x="8" y="20"/>
                        </a:lnTo>
                        <a:lnTo>
                          <a:pt x="8" y="20"/>
                        </a:lnTo>
                        <a:lnTo>
                          <a:pt x="8" y="20"/>
                        </a:lnTo>
                        <a:lnTo>
                          <a:pt x="8" y="20"/>
                        </a:lnTo>
                        <a:lnTo>
                          <a:pt x="8" y="20"/>
                        </a:lnTo>
                        <a:lnTo>
                          <a:pt x="8" y="20"/>
                        </a:lnTo>
                        <a:lnTo>
                          <a:pt x="8" y="20"/>
                        </a:lnTo>
                        <a:lnTo>
                          <a:pt x="8" y="20"/>
                        </a:lnTo>
                        <a:lnTo>
                          <a:pt x="8" y="16"/>
                        </a:lnTo>
                        <a:lnTo>
                          <a:pt x="8" y="12"/>
                        </a:lnTo>
                        <a:lnTo>
                          <a:pt x="8" y="12"/>
                        </a:lnTo>
                        <a:close/>
                      </a:path>
                    </a:pathLst>
                  </a:custGeom>
                  <a:grpFill/>
                  <a:ln w="9525" cmpd="sng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lIns="37783" tIns="37783" rIns="37783" bIns="37783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ill Sans M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109" name="Freeform 197">
                    <a:extLst>
                      <a:ext uri="{FF2B5EF4-FFF2-40B4-BE49-F238E27FC236}">
                        <a16:creationId xmlns:a16="http://schemas.microsoft.com/office/drawing/2014/main" id="{BB61DF78-B227-405A-9528-E5A5E4B380C3}"/>
                      </a:ext>
                    </a:extLst>
                  </p:cNvPr>
                  <p:cNvSpPr>
                    <a:spLocks/>
                  </p:cNvSpPr>
                  <p:nvPr/>
                </p:nvSpPr>
                <p:spPr bwMode="gray">
                  <a:xfrm>
                    <a:off x="3318" y="2965"/>
                    <a:ext cx="48" cy="60"/>
                  </a:xfrm>
                  <a:custGeom>
                    <a:avLst/>
                    <a:gdLst/>
                    <a:ahLst/>
                    <a:cxnLst>
                      <a:cxn ang="0">
                        <a:pos x="28" y="0"/>
                      </a:cxn>
                      <a:cxn ang="0">
                        <a:pos x="32" y="0"/>
                      </a:cxn>
                      <a:cxn ang="0">
                        <a:pos x="36" y="4"/>
                      </a:cxn>
                      <a:cxn ang="0">
                        <a:pos x="36" y="4"/>
                      </a:cxn>
                      <a:cxn ang="0">
                        <a:pos x="40" y="8"/>
                      </a:cxn>
                      <a:cxn ang="0">
                        <a:pos x="40" y="8"/>
                      </a:cxn>
                      <a:cxn ang="0">
                        <a:pos x="44" y="12"/>
                      </a:cxn>
                      <a:cxn ang="0">
                        <a:pos x="40" y="8"/>
                      </a:cxn>
                      <a:cxn ang="0">
                        <a:pos x="48" y="8"/>
                      </a:cxn>
                      <a:cxn ang="0">
                        <a:pos x="44" y="12"/>
                      </a:cxn>
                      <a:cxn ang="0">
                        <a:pos x="40" y="16"/>
                      </a:cxn>
                      <a:cxn ang="0">
                        <a:pos x="36" y="16"/>
                      </a:cxn>
                      <a:cxn ang="0">
                        <a:pos x="40" y="24"/>
                      </a:cxn>
                      <a:cxn ang="0">
                        <a:pos x="36" y="28"/>
                      </a:cxn>
                      <a:cxn ang="0">
                        <a:pos x="36" y="32"/>
                      </a:cxn>
                      <a:cxn ang="0">
                        <a:pos x="32" y="32"/>
                      </a:cxn>
                      <a:cxn ang="0">
                        <a:pos x="32" y="40"/>
                      </a:cxn>
                      <a:cxn ang="0">
                        <a:pos x="24" y="40"/>
                      </a:cxn>
                      <a:cxn ang="0">
                        <a:pos x="28" y="44"/>
                      </a:cxn>
                      <a:cxn ang="0">
                        <a:pos x="28" y="44"/>
                      </a:cxn>
                      <a:cxn ang="0">
                        <a:pos x="32" y="44"/>
                      </a:cxn>
                      <a:cxn ang="0">
                        <a:pos x="28" y="48"/>
                      </a:cxn>
                      <a:cxn ang="0">
                        <a:pos x="24" y="52"/>
                      </a:cxn>
                      <a:cxn ang="0">
                        <a:pos x="20" y="48"/>
                      </a:cxn>
                      <a:cxn ang="0">
                        <a:pos x="20" y="56"/>
                      </a:cxn>
                      <a:cxn ang="0">
                        <a:pos x="16" y="60"/>
                      </a:cxn>
                      <a:cxn ang="0">
                        <a:pos x="20" y="56"/>
                      </a:cxn>
                      <a:cxn ang="0">
                        <a:pos x="16" y="52"/>
                      </a:cxn>
                      <a:cxn ang="0">
                        <a:pos x="16" y="52"/>
                      </a:cxn>
                      <a:cxn ang="0">
                        <a:pos x="12" y="48"/>
                      </a:cxn>
                      <a:cxn ang="0">
                        <a:pos x="8" y="52"/>
                      </a:cxn>
                      <a:cxn ang="0">
                        <a:pos x="4" y="56"/>
                      </a:cxn>
                      <a:cxn ang="0">
                        <a:pos x="4" y="52"/>
                      </a:cxn>
                      <a:cxn ang="0">
                        <a:pos x="0" y="48"/>
                      </a:cxn>
                      <a:cxn ang="0">
                        <a:pos x="0" y="40"/>
                      </a:cxn>
                      <a:cxn ang="0">
                        <a:pos x="0" y="32"/>
                      </a:cxn>
                      <a:cxn ang="0">
                        <a:pos x="4" y="28"/>
                      </a:cxn>
                      <a:cxn ang="0">
                        <a:pos x="0" y="20"/>
                      </a:cxn>
                      <a:cxn ang="0">
                        <a:pos x="4" y="12"/>
                      </a:cxn>
                      <a:cxn ang="0">
                        <a:pos x="8" y="8"/>
                      </a:cxn>
                      <a:cxn ang="0">
                        <a:pos x="12" y="4"/>
                      </a:cxn>
                      <a:cxn ang="0">
                        <a:pos x="16" y="0"/>
                      </a:cxn>
                      <a:cxn ang="0">
                        <a:pos x="20" y="4"/>
                      </a:cxn>
                      <a:cxn ang="0">
                        <a:pos x="24" y="0"/>
                      </a:cxn>
                    </a:cxnLst>
                    <a:rect l="0" t="0" r="r" b="b"/>
                    <a:pathLst>
                      <a:path w="48" h="60">
                        <a:moveTo>
                          <a:pt x="24" y="0"/>
                        </a:moveTo>
                        <a:lnTo>
                          <a:pt x="28" y="0"/>
                        </a:lnTo>
                        <a:lnTo>
                          <a:pt x="28" y="4"/>
                        </a:lnTo>
                        <a:lnTo>
                          <a:pt x="32" y="0"/>
                        </a:lnTo>
                        <a:lnTo>
                          <a:pt x="32" y="4"/>
                        </a:lnTo>
                        <a:lnTo>
                          <a:pt x="36" y="4"/>
                        </a:lnTo>
                        <a:lnTo>
                          <a:pt x="36" y="0"/>
                        </a:lnTo>
                        <a:lnTo>
                          <a:pt x="36" y="4"/>
                        </a:lnTo>
                        <a:lnTo>
                          <a:pt x="36" y="8"/>
                        </a:lnTo>
                        <a:lnTo>
                          <a:pt x="40" y="8"/>
                        </a:lnTo>
                        <a:lnTo>
                          <a:pt x="36" y="8"/>
                        </a:lnTo>
                        <a:lnTo>
                          <a:pt x="40" y="8"/>
                        </a:lnTo>
                        <a:lnTo>
                          <a:pt x="40" y="12"/>
                        </a:lnTo>
                        <a:lnTo>
                          <a:pt x="44" y="12"/>
                        </a:lnTo>
                        <a:lnTo>
                          <a:pt x="40" y="12"/>
                        </a:lnTo>
                        <a:lnTo>
                          <a:pt x="40" y="8"/>
                        </a:lnTo>
                        <a:lnTo>
                          <a:pt x="44" y="8"/>
                        </a:lnTo>
                        <a:lnTo>
                          <a:pt x="48" y="8"/>
                        </a:lnTo>
                        <a:lnTo>
                          <a:pt x="48" y="12"/>
                        </a:lnTo>
                        <a:lnTo>
                          <a:pt x="44" y="12"/>
                        </a:lnTo>
                        <a:lnTo>
                          <a:pt x="44" y="16"/>
                        </a:lnTo>
                        <a:lnTo>
                          <a:pt x="40" y="16"/>
                        </a:lnTo>
                        <a:lnTo>
                          <a:pt x="40" y="12"/>
                        </a:lnTo>
                        <a:lnTo>
                          <a:pt x="36" y="16"/>
                        </a:lnTo>
                        <a:lnTo>
                          <a:pt x="36" y="20"/>
                        </a:lnTo>
                        <a:lnTo>
                          <a:pt x="40" y="24"/>
                        </a:lnTo>
                        <a:lnTo>
                          <a:pt x="36" y="24"/>
                        </a:lnTo>
                        <a:lnTo>
                          <a:pt x="36" y="28"/>
                        </a:lnTo>
                        <a:lnTo>
                          <a:pt x="32" y="32"/>
                        </a:lnTo>
                        <a:lnTo>
                          <a:pt x="36" y="32"/>
                        </a:lnTo>
                        <a:lnTo>
                          <a:pt x="36" y="36"/>
                        </a:lnTo>
                        <a:lnTo>
                          <a:pt x="32" y="32"/>
                        </a:lnTo>
                        <a:lnTo>
                          <a:pt x="32" y="36"/>
                        </a:lnTo>
                        <a:lnTo>
                          <a:pt x="32" y="40"/>
                        </a:lnTo>
                        <a:lnTo>
                          <a:pt x="28" y="40"/>
                        </a:lnTo>
                        <a:lnTo>
                          <a:pt x="24" y="40"/>
                        </a:lnTo>
                        <a:lnTo>
                          <a:pt x="28" y="40"/>
                        </a:lnTo>
                        <a:lnTo>
                          <a:pt x="28" y="44"/>
                        </a:lnTo>
                        <a:lnTo>
                          <a:pt x="24" y="44"/>
                        </a:lnTo>
                        <a:lnTo>
                          <a:pt x="28" y="44"/>
                        </a:lnTo>
                        <a:lnTo>
                          <a:pt x="32" y="48"/>
                        </a:lnTo>
                        <a:lnTo>
                          <a:pt x="32" y="44"/>
                        </a:lnTo>
                        <a:lnTo>
                          <a:pt x="32" y="48"/>
                        </a:lnTo>
                        <a:lnTo>
                          <a:pt x="28" y="48"/>
                        </a:lnTo>
                        <a:lnTo>
                          <a:pt x="28" y="52"/>
                        </a:lnTo>
                        <a:lnTo>
                          <a:pt x="24" y="52"/>
                        </a:lnTo>
                        <a:lnTo>
                          <a:pt x="24" y="48"/>
                        </a:lnTo>
                        <a:lnTo>
                          <a:pt x="20" y="48"/>
                        </a:lnTo>
                        <a:lnTo>
                          <a:pt x="20" y="52"/>
                        </a:lnTo>
                        <a:lnTo>
                          <a:pt x="20" y="56"/>
                        </a:lnTo>
                        <a:lnTo>
                          <a:pt x="20" y="60"/>
                        </a:lnTo>
                        <a:lnTo>
                          <a:pt x="16" y="60"/>
                        </a:lnTo>
                        <a:lnTo>
                          <a:pt x="20" y="60"/>
                        </a:lnTo>
                        <a:lnTo>
                          <a:pt x="20" y="56"/>
                        </a:lnTo>
                        <a:lnTo>
                          <a:pt x="20" y="52"/>
                        </a:lnTo>
                        <a:lnTo>
                          <a:pt x="16" y="52"/>
                        </a:lnTo>
                        <a:lnTo>
                          <a:pt x="16" y="48"/>
                        </a:lnTo>
                        <a:lnTo>
                          <a:pt x="16" y="52"/>
                        </a:lnTo>
                        <a:lnTo>
                          <a:pt x="12" y="52"/>
                        </a:lnTo>
                        <a:lnTo>
                          <a:pt x="12" y="48"/>
                        </a:lnTo>
                        <a:lnTo>
                          <a:pt x="8" y="48"/>
                        </a:lnTo>
                        <a:lnTo>
                          <a:pt x="8" y="52"/>
                        </a:lnTo>
                        <a:lnTo>
                          <a:pt x="4" y="52"/>
                        </a:lnTo>
                        <a:lnTo>
                          <a:pt x="4" y="56"/>
                        </a:lnTo>
                        <a:lnTo>
                          <a:pt x="0" y="52"/>
                        </a:lnTo>
                        <a:lnTo>
                          <a:pt x="4" y="52"/>
                        </a:lnTo>
                        <a:lnTo>
                          <a:pt x="4" y="48"/>
                        </a:lnTo>
                        <a:lnTo>
                          <a:pt x="0" y="48"/>
                        </a:lnTo>
                        <a:lnTo>
                          <a:pt x="0" y="44"/>
                        </a:lnTo>
                        <a:lnTo>
                          <a:pt x="0" y="40"/>
                        </a:lnTo>
                        <a:lnTo>
                          <a:pt x="0" y="36"/>
                        </a:lnTo>
                        <a:lnTo>
                          <a:pt x="0" y="32"/>
                        </a:lnTo>
                        <a:lnTo>
                          <a:pt x="4" y="32"/>
                        </a:lnTo>
                        <a:lnTo>
                          <a:pt x="4" y="28"/>
                        </a:lnTo>
                        <a:lnTo>
                          <a:pt x="4" y="24"/>
                        </a:lnTo>
                        <a:lnTo>
                          <a:pt x="0" y="20"/>
                        </a:lnTo>
                        <a:lnTo>
                          <a:pt x="4" y="16"/>
                        </a:lnTo>
                        <a:lnTo>
                          <a:pt x="4" y="12"/>
                        </a:lnTo>
                        <a:lnTo>
                          <a:pt x="4" y="8"/>
                        </a:lnTo>
                        <a:lnTo>
                          <a:pt x="8" y="8"/>
                        </a:lnTo>
                        <a:lnTo>
                          <a:pt x="12" y="8"/>
                        </a:lnTo>
                        <a:lnTo>
                          <a:pt x="12" y="4"/>
                        </a:lnTo>
                        <a:lnTo>
                          <a:pt x="16" y="4"/>
                        </a:lnTo>
                        <a:lnTo>
                          <a:pt x="16" y="0"/>
                        </a:lnTo>
                        <a:lnTo>
                          <a:pt x="16" y="4"/>
                        </a:lnTo>
                        <a:lnTo>
                          <a:pt x="20" y="4"/>
                        </a:lnTo>
                        <a:lnTo>
                          <a:pt x="24" y="4"/>
                        </a:lnTo>
                        <a:lnTo>
                          <a:pt x="24" y="0"/>
                        </a:lnTo>
                        <a:close/>
                      </a:path>
                    </a:pathLst>
                  </a:custGeom>
                  <a:grpFill/>
                  <a:ln w="9525" cmpd="sng">
                    <a:solidFill>
                      <a:schemeClr val="bg1"/>
                    </a:solidFill>
                    <a:round/>
                    <a:headEnd/>
                    <a:tailEnd/>
                  </a:ln>
                </p:spPr>
                <p:txBody>
                  <a:bodyPr lIns="37783" tIns="37783" rIns="37783" bIns="37783"/>
                  <a:lstStyle/>
                  <a:p>
                    <a:pPr marL="0" marR="0" lvl="0" indent="0" algn="l" defTabSz="914400" rtl="0" eaLnBrk="1" fontAlgn="auto" latinLnBrk="0" hangingPunct="1">
                      <a:lnSpc>
                        <a:spcPct val="100000"/>
                      </a:lnSpc>
                      <a:spcBef>
                        <a:spcPts val="0"/>
                      </a:spcBef>
                      <a:spcAft>
                        <a:spcPts val="0"/>
                      </a:spcAft>
                      <a:buClrTx/>
                      <a:buSzTx/>
                      <a:buFontTx/>
                      <a:buNone/>
                      <a:tabLst/>
                      <a:defRPr/>
                    </a:pPr>
                    <a:endParaRPr kumimoji="0" lang="en-US" sz="1400" b="0" i="0" u="none" strike="noStrike" kern="1200" cap="none" spc="0" normalizeH="0" baseline="0" noProof="0">
                      <a:ln>
                        <a:noFill/>
                      </a:ln>
                      <a:solidFill>
                        <a:prstClr val="black"/>
                      </a:solidFill>
                      <a:effectLst/>
                      <a:uLnTx/>
                      <a:uFillTx/>
                      <a:latin typeface="Gill Sans MT"/>
                      <a:ea typeface="+mn-ea"/>
                      <a:cs typeface="+mn-cs"/>
                    </a:endParaRPr>
                  </a:p>
                </p:txBody>
              </p:sp>
            </p:grpSp>
            <p:sp>
              <p:nvSpPr>
                <p:cNvPr id="106" name="Freeform 207">
                  <a:extLst>
                    <a:ext uri="{FF2B5EF4-FFF2-40B4-BE49-F238E27FC236}">
                      <a16:creationId xmlns:a16="http://schemas.microsoft.com/office/drawing/2014/main" id="{C15DB304-05B0-4C32-9F6F-0075FD955DC1}"/>
                    </a:ext>
                  </a:extLst>
                </p:cNvPr>
                <p:cNvSpPr>
                  <a:spLocks/>
                </p:cNvSpPr>
                <p:nvPr>
                  <p:custDataLst>
                    <p:tags r:id="rId91"/>
                  </p:custDataLst>
                </p:nvPr>
              </p:nvSpPr>
              <p:spPr bwMode="gray">
                <a:xfrm>
                  <a:off x="5629275" y="3268663"/>
                  <a:ext cx="195262" cy="347663"/>
                </a:xfrm>
                <a:custGeom>
                  <a:avLst/>
                  <a:gdLst/>
                  <a:ahLst/>
                  <a:cxnLst>
                    <a:cxn ang="0">
                      <a:pos x="40" y="155"/>
                    </a:cxn>
                    <a:cxn ang="0">
                      <a:pos x="52" y="143"/>
                    </a:cxn>
                    <a:cxn ang="0">
                      <a:pos x="48" y="139"/>
                    </a:cxn>
                    <a:cxn ang="0">
                      <a:pos x="40" y="127"/>
                    </a:cxn>
                    <a:cxn ang="0">
                      <a:pos x="32" y="115"/>
                    </a:cxn>
                    <a:cxn ang="0">
                      <a:pos x="24" y="99"/>
                    </a:cxn>
                    <a:cxn ang="0">
                      <a:pos x="16" y="88"/>
                    </a:cxn>
                    <a:cxn ang="0">
                      <a:pos x="12" y="80"/>
                    </a:cxn>
                    <a:cxn ang="0">
                      <a:pos x="12" y="68"/>
                    </a:cxn>
                    <a:cxn ang="0">
                      <a:pos x="12" y="72"/>
                    </a:cxn>
                    <a:cxn ang="0">
                      <a:pos x="4" y="56"/>
                    </a:cxn>
                    <a:cxn ang="0">
                      <a:pos x="8" y="48"/>
                    </a:cxn>
                    <a:cxn ang="0">
                      <a:pos x="12" y="32"/>
                    </a:cxn>
                    <a:cxn ang="0">
                      <a:pos x="16" y="28"/>
                    </a:cxn>
                    <a:cxn ang="0">
                      <a:pos x="32" y="24"/>
                    </a:cxn>
                    <a:cxn ang="0">
                      <a:pos x="40" y="16"/>
                    </a:cxn>
                    <a:cxn ang="0">
                      <a:pos x="48" y="12"/>
                    </a:cxn>
                    <a:cxn ang="0">
                      <a:pos x="64" y="4"/>
                    </a:cxn>
                    <a:cxn ang="0">
                      <a:pos x="75" y="4"/>
                    </a:cxn>
                    <a:cxn ang="0">
                      <a:pos x="91" y="4"/>
                    </a:cxn>
                    <a:cxn ang="0">
                      <a:pos x="99" y="16"/>
                    </a:cxn>
                    <a:cxn ang="0">
                      <a:pos x="95" y="36"/>
                    </a:cxn>
                    <a:cxn ang="0">
                      <a:pos x="83" y="36"/>
                    </a:cxn>
                    <a:cxn ang="0">
                      <a:pos x="68" y="40"/>
                    </a:cxn>
                    <a:cxn ang="0">
                      <a:pos x="68" y="52"/>
                    </a:cxn>
                    <a:cxn ang="0">
                      <a:pos x="68" y="56"/>
                    </a:cxn>
                    <a:cxn ang="0">
                      <a:pos x="56" y="60"/>
                    </a:cxn>
                    <a:cxn ang="0">
                      <a:pos x="68" y="72"/>
                    </a:cxn>
                    <a:cxn ang="0">
                      <a:pos x="79" y="88"/>
                    </a:cxn>
                    <a:cxn ang="0">
                      <a:pos x="91" y="92"/>
                    </a:cxn>
                    <a:cxn ang="0">
                      <a:pos x="87" y="107"/>
                    </a:cxn>
                    <a:cxn ang="0">
                      <a:pos x="87" y="119"/>
                    </a:cxn>
                    <a:cxn ang="0">
                      <a:pos x="91" y="119"/>
                    </a:cxn>
                    <a:cxn ang="0">
                      <a:pos x="95" y="107"/>
                    </a:cxn>
                    <a:cxn ang="0">
                      <a:pos x="111" y="111"/>
                    </a:cxn>
                    <a:cxn ang="0">
                      <a:pos x="119" y="123"/>
                    </a:cxn>
                    <a:cxn ang="0">
                      <a:pos x="115" y="135"/>
                    </a:cxn>
                    <a:cxn ang="0">
                      <a:pos x="107" y="131"/>
                    </a:cxn>
                    <a:cxn ang="0">
                      <a:pos x="95" y="131"/>
                    </a:cxn>
                    <a:cxn ang="0">
                      <a:pos x="95" y="135"/>
                    </a:cxn>
                    <a:cxn ang="0">
                      <a:pos x="91" y="151"/>
                    </a:cxn>
                    <a:cxn ang="0">
                      <a:pos x="95" y="151"/>
                    </a:cxn>
                    <a:cxn ang="0">
                      <a:pos x="107" y="155"/>
                    </a:cxn>
                    <a:cxn ang="0">
                      <a:pos x="99" y="159"/>
                    </a:cxn>
                    <a:cxn ang="0">
                      <a:pos x="107" y="167"/>
                    </a:cxn>
                    <a:cxn ang="0">
                      <a:pos x="107" y="183"/>
                    </a:cxn>
                    <a:cxn ang="0">
                      <a:pos x="111" y="203"/>
                    </a:cxn>
                    <a:cxn ang="0">
                      <a:pos x="103" y="215"/>
                    </a:cxn>
                    <a:cxn ang="0">
                      <a:pos x="107" y="211"/>
                    </a:cxn>
                    <a:cxn ang="0">
                      <a:pos x="87" y="215"/>
                    </a:cxn>
                    <a:cxn ang="0">
                      <a:pos x="72" y="215"/>
                    </a:cxn>
                    <a:cxn ang="0">
                      <a:pos x="56" y="203"/>
                    </a:cxn>
                    <a:cxn ang="0">
                      <a:pos x="36" y="199"/>
                    </a:cxn>
                    <a:cxn ang="0">
                      <a:pos x="32" y="175"/>
                    </a:cxn>
                    <a:cxn ang="0">
                      <a:pos x="36" y="171"/>
                    </a:cxn>
                  </a:cxnLst>
                  <a:rect l="0" t="0" r="r" b="b"/>
                  <a:pathLst>
                    <a:path w="123" h="219">
                      <a:moveTo>
                        <a:pt x="40" y="167"/>
                      </a:moveTo>
                      <a:lnTo>
                        <a:pt x="40" y="163"/>
                      </a:lnTo>
                      <a:lnTo>
                        <a:pt x="44" y="163"/>
                      </a:lnTo>
                      <a:lnTo>
                        <a:pt x="40" y="159"/>
                      </a:lnTo>
                      <a:lnTo>
                        <a:pt x="40" y="155"/>
                      </a:lnTo>
                      <a:lnTo>
                        <a:pt x="44" y="151"/>
                      </a:lnTo>
                      <a:lnTo>
                        <a:pt x="44" y="147"/>
                      </a:lnTo>
                      <a:lnTo>
                        <a:pt x="44" y="143"/>
                      </a:lnTo>
                      <a:lnTo>
                        <a:pt x="48" y="143"/>
                      </a:lnTo>
                      <a:lnTo>
                        <a:pt x="52" y="143"/>
                      </a:lnTo>
                      <a:lnTo>
                        <a:pt x="56" y="143"/>
                      </a:lnTo>
                      <a:lnTo>
                        <a:pt x="56" y="139"/>
                      </a:lnTo>
                      <a:lnTo>
                        <a:pt x="52" y="135"/>
                      </a:lnTo>
                      <a:lnTo>
                        <a:pt x="48" y="135"/>
                      </a:lnTo>
                      <a:lnTo>
                        <a:pt x="48" y="139"/>
                      </a:lnTo>
                      <a:lnTo>
                        <a:pt x="48" y="135"/>
                      </a:lnTo>
                      <a:lnTo>
                        <a:pt x="44" y="135"/>
                      </a:lnTo>
                      <a:lnTo>
                        <a:pt x="44" y="131"/>
                      </a:lnTo>
                      <a:lnTo>
                        <a:pt x="40" y="131"/>
                      </a:lnTo>
                      <a:lnTo>
                        <a:pt x="40" y="127"/>
                      </a:lnTo>
                      <a:lnTo>
                        <a:pt x="40" y="123"/>
                      </a:lnTo>
                      <a:lnTo>
                        <a:pt x="36" y="123"/>
                      </a:lnTo>
                      <a:lnTo>
                        <a:pt x="36" y="119"/>
                      </a:lnTo>
                      <a:lnTo>
                        <a:pt x="36" y="115"/>
                      </a:lnTo>
                      <a:lnTo>
                        <a:pt x="32" y="115"/>
                      </a:lnTo>
                      <a:lnTo>
                        <a:pt x="32" y="111"/>
                      </a:lnTo>
                      <a:lnTo>
                        <a:pt x="28" y="111"/>
                      </a:lnTo>
                      <a:lnTo>
                        <a:pt x="28" y="107"/>
                      </a:lnTo>
                      <a:lnTo>
                        <a:pt x="24" y="107"/>
                      </a:lnTo>
                      <a:lnTo>
                        <a:pt x="24" y="99"/>
                      </a:lnTo>
                      <a:lnTo>
                        <a:pt x="20" y="99"/>
                      </a:lnTo>
                      <a:lnTo>
                        <a:pt x="20" y="96"/>
                      </a:lnTo>
                      <a:lnTo>
                        <a:pt x="16" y="96"/>
                      </a:lnTo>
                      <a:lnTo>
                        <a:pt x="16" y="92"/>
                      </a:lnTo>
                      <a:lnTo>
                        <a:pt x="16" y="88"/>
                      </a:lnTo>
                      <a:lnTo>
                        <a:pt x="12" y="88"/>
                      </a:lnTo>
                      <a:lnTo>
                        <a:pt x="12" y="84"/>
                      </a:lnTo>
                      <a:lnTo>
                        <a:pt x="12" y="80"/>
                      </a:lnTo>
                      <a:lnTo>
                        <a:pt x="16" y="80"/>
                      </a:lnTo>
                      <a:lnTo>
                        <a:pt x="12" y="80"/>
                      </a:lnTo>
                      <a:lnTo>
                        <a:pt x="12" y="76"/>
                      </a:lnTo>
                      <a:lnTo>
                        <a:pt x="12" y="72"/>
                      </a:lnTo>
                      <a:lnTo>
                        <a:pt x="16" y="72"/>
                      </a:lnTo>
                      <a:lnTo>
                        <a:pt x="16" y="68"/>
                      </a:lnTo>
                      <a:lnTo>
                        <a:pt x="12" y="68"/>
                      </a:lnTo>
                      <a:lnTo>
                        <a:pt x="12" y="72"/>
                      </a:lnTo>
                      <a:lnTo>
                        <a:pt x="12" y="76"/>
                      </a:lnTo>
                      <a:lnTo>
                        <a:pt x="12" y="72"/>
                      </a:lnTo>
                      <a:lnTo>
                        <a:pt x="12" y="76"/>
                      </a:lnTo>
                      <a:lnTo>
                        <a:pt x="12" y="72"/>
                      </a:lnTo>
                      <a:lnTo>
                        <a:pt x="12" y="68"/>
                      </a:lnTo>
                      <a:lnTo>
                        <a:pt x="12" y="64"/>
                      </a:lnTo>
                      <a:lnTo>
                        <a:pt x="8" y="64"/>
                      </a:lnTo>
                      <a:lnTo>
                        <a:pt x="8" y="60"/>
                      </a:lnTo>
                      <a:lnTo>
                        <a:pt x="4" y="56"/>
                      </a:lnTo>
                      <a:lnTo>
                        <a:pt x="0" y="56"/>
                      </a:lnTo>
                      <a:lnTo>
                        <a:pt x="0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8" y="48"/>
                      </a:lnTo>
                      <a:lnTo>
                        <a:pt x="8" y="44"/>
                      </a:lnTo>
                      <a:lnTo>
                        <a:pt x="12" y="40"/>
                      </a:lnTo>
                      <a:lnTo>
                        <a:pt x="12" y="36"/>
                      </a:lnTo>
                      <a:lnTo>
                        <a:pt x="16" y="32"/>
                      </a:lnTo>
                      <a:lnTo>
                        <a:pt x="12" y="32"/>
                      </a:lnTo>
                      <a:lnTo>
                        <a:pt x="12" y="28"/>
                      </a:lnTo>
                      <a:lnTo>
                        <a:pt x="16" y="32"/>
                      </a:lnTo>
                      <a:lnTo>
                        <a:pt x="16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20" y="32"/>
                      </a:lnTo>
                      <a:lnTo>
                        <a:pt x="20" y="28"/>
                      </a:lnTo>
                      <a:lnTo>
                        <a:pt x="24" y="28"/>
                      </a:lnTo>
                      <a:lnTo>
                        <a:pt x="28" y="24"/>
                      </a:lnTo>
                      <a:lnTo>
                        <a:pt x="32" y="24"/>
                      </a:lnTo>
                      <a:lnTo>
                        <a:pt x="32" y="28"/>
                      </a:lnTo>
                      <a:lnTo>
                        <a:pt x="32" y="24"/>
                      </a:lnTo>
                      <a:lnTo>
                        <a:pt x="32" y="20"/>
                      </a:lnTo>
                      <a:lnTo>
                        <a:pt x="36" y="20"/>
                      </a:lnTo>
                      <a:lnTo>
                        <a:pt x="40" y="16"/>
                      </a:lnTo>
                      <a:lnTo>
                        <a:pt x="40" y="12"/>
                      </a:lnTo>
                      <a:lnTo>
                        <a:pt x="40" y="16"/>
                      </a:lnTo>
                      <a:lnTo>
                        <a:pt x="40" y="12"/>
                      </a:lnTo>
                      <a:lnTo>
                        <a:pt x="44" y="12"/>
                      </a:lnTo>
                      <a:lnTo>
                        <a:pt x="48" y="12"/>
                      </a:lnTo>
                      <a:lnTo>
                        <a:pt x="52" y="8"/>
                      </a:lnTo>
                      <a:lnTo>
                        <a:pt x="56" y="8"/>
                      </a:lnTo>
                      <a:lnTo>
                        <a:pt x="56" y="4"/>
                      </a:lnTo>
                      <a:lnTo>
                        <a:pt x="60" y="4"/>
                      </a:lnTo>
                      <a:lnTo>
                        <a:pt x="64" y="4"/>
                      </a:lnTo>
                      <a:lnTo>
                        <a:pt x="64" y="0"/>
                      </a:lnTo>
                      <a:lnTo>
                        <a:pt x="68" y="0"/>
                      </a:lnTo>
                      <a:lnTo>
                        <a:pt x="72" y="0"/>
                      </a:lnTo>
                      <a:lnTo>
                        <a:pt x="75" y="0"/>
                      </a:lnTo>
                      <a:lnTo>
                        <a:pt x="75" y="4"/>
                      </a:lnTo>
                      <a:lnTo>
                        <a:pt x="79" y="4"/>
                      </a:lnTo>
                      <a:lnTo>
                        <a:pt x="83" y="4"/>
                      </a:lnTo>
                      <a:lnTo>
                        <a:pt x="87" y="4"/>
                      </a:lnTo>
                      <a:lnTo>
                        <a:pt x="87" y="0"/>
                      </a:lnTo>
                      <a:lnTo>
                        <a:pt x="91" y="4"/>
                      </a:lnTo>
                      <a:lnTo>
                        <a:pt x="95" y="4"/>
                      </a:lnTo>
                      <a:lnTo>
                        <a:pt x="99" y="4"/>
                      </a:lnTo>
                      <a:lnTo>
                        <a:pt x="99" y="8"/>
                      </a:lnTo>
                      <a:lnTo>
                        <a:pt x="95" y="12"/>
                      </a:lnTo>
                      <a:lnTo>
                        <a:pt x="99" y="16"/>
                      </a:lnTo>
                      <a:lnTo>
                        <a:pt x="99" y="20"/>
                      </a:lnTo>
                      <a:lnTo>
                        <a:pt x="95" y="24"/>
                      </a:lnTo>
                      <a:lnTo>
                        <a:pt x="95" y="28"/>
                      </a:lnTo>
                      <a:lnTo>
                        <a:pt x="91" y="32"/>
                      </a:lnTo>
                      <a:lnTo>
                        <a:pt x="95" y="36"/>
                      </a:lnTo>
                      <a:lnTo>
                        <a:pt x="99" y="36"/>
                      </a:lnTo>
                      <a:lnTo>
                        <a:pt x="95" y="36"/>
                      </a:lnTo>
                      <a:lnTo>
                        <a:pt x="91" y="36"/>
                      </a:lnTo>
                      <a:lnTo>
                        <a:pt x="87" y="36"/>
                      </a:lnTo>
                      <a:lnTo>
                        <a:pt x="83" y="36"/>
                      </a:lnTo>
                      <a:lnTo>
                        <a:pt x="79" y="36"/>
                      </a:lnTo>
                      <a:lnTo>
                        <a:pt x="75" y="36"/>
                      </a:lnTo>
                      <a:lnTo>
                        <a:pt x="72" y="36"/>
                      </a:lnTo>
                      <a:lnTo>
                        <a:pt x="72" y="40"/>
                      </a:lnTo>
                      <a:lnTo>
                        <a:pt x="68" y="40"/>
                      </a:lnTo>
                      <a:lnTo>
                        <a:pt x="68" y="44"/>
                      </a:lnTo>
                      <a:lnTo>
                        <a:pt x="64" y="44"/>
                      </a:lnTo>
                      <a:lnTo>
                        <a:pt x="64" y="48"/>
                      </a:lnTo>
                      <a:lnTo>
                        <a:pt x="68" y="48"/>
                      </a:lnTo>
                      <a:lnTo>
                        <a:pt x="68" y="52"/>
                      </a:lnTo>
                      <a:lnTo>
                        <a:pt x="72" y="52"/>
                      </a:lnTo>
                      <a:lnTo>
                        <a:pt x="75" y="52"/>
                      </a:lnTo>
                      <a:lnTo>
                        <a:pt x="75" y="56"/>
                      </a:lnTo>
                      <a:lnTo>
                        <a:pt x="72" y="56"/>
                      </a:lnTo>
                      <a:lnTo>
                        <a:pt x="68" y="56"/>
                      </a:lnTo>
                      <a:lnTo>
                        <a:pt x="64" y="52"/>
                      </a:lnTo>
                      <a:lnTo>
                        <a:pt x="60" y="52"/>
                      </a:lnTo>
                      <a:lnTo>
                        <a:pt x="56" y="52"/>
                      </a:lnTo>
                      <a:lnTo>
                        <a:pt x="56" y="56"/>
                      </a:lnTo>
                      <a:lnTo>
                        <a:pt x="56" y="60"/>
                      </a:lnTo>
                      <a:lnTo>
                        <a:pt x="60" y="60"/>
                      </a:lnTo>
                      <a:lnTo>
                        <a:pt x="64" y="60"/>
                      </a:lnTo>
                      <a:lnTo>
                        <a:pt x="64" y="64"/>
                      </a:lnTo>
                      <a:lnTo>
                        <a:pt x="68" y="68"/>
                      </a:lnTo>
                      <a:lnTo>
                        <a:pt x="68" y="72"/>
                      </a:lnTo>
                      <a:lnTo>
                        <a:pt x="72" y="76"/>
                      </a:lnTo>
                      <a:lnTo>
                        <a:pt x="72" y="80"/>
                      </a:lnTo>
                      <a:lnTo>
                        <a:pt x="72" y="84"/>
                      </a:lnTo>
                      <a:lnTo>
                        <a:pt x="75" y="84"/>
                      </a:lnTo>
                      <a:lnTo>
                        <a:pt x="79" y="88"/>
                      </a:lnTo>
                      <a:lnTo>
                        <a:pt x="79" y="92"/>
                      </a:lnTo>
                      <a:lnTo>
                        <a:pt x="79" y="88"/>
                      </a:lnTo>
                      <a:lnTo>
                        <a:pt x="83" y="88"/>
                      </a:lnTo>
                      <a:lnTo>
                        <a:pt x="87" y="92"/>
                      </a:lnTo>
                      <a:lnTo>
                        <a:pt x="91" y="92"/>
                      </a:lnTo>
                      <a:lnTo>
                        <a:pt x="91" y="96"/>
                      </a:lnTo>
                      <a:lnTo>
                        <a:pt x="91" y="99"/>
                      </a:lnTo>
                      <a:lnTo>
                        <a:pt x="87" y="99"/>
                      </a:lnTo>
                      <a:lnTo>
                        <a:pt x="87" y="103"/>
                      </a:lnTo>
                      <a:lnTo>
                        <a:pt x="87" y="107"/>
                      </a:lnTo>
                      <a:lnTo>
                        <a:pt x="87" y="111"/>
                      </a:lnTo>
                      <a:lnTo>
                        <a:pt x="87" y="115"/>
                      </a:lnTo>
                      <a:lnTo>
                        <a:pt x="91" y="115"/>
                      </a:lnTo>
                      <a:lnTo>
                        <a:pt x="87" y="115"/>
                      </a:lnTo>
                      <a:lnTo>
                        <a:pt x="87" y="119"/>
                      </a:lnTo>
                      <a:lnTo>
                        <a:pt x="91" y="119"/>
                      </a:lnTo>
                      <a:lnTo>
                        <a:pt x="91" y="123"/>
                      </a:lnTo>
                      <a:lnTo>
                        <a:pt x="95" y="127"/>
                      </a:lnTo>
                      <a:lnTo>
                        <a:pt x="95" y="123"/>
                      </a:lnTo>
                      <a:lnTo>
                        <a:pt x="91" y="119"/>
                      </a:lnTo>
                      <a:lnTo>
                        <a:pt x="95" y="119"/>
                      </a:lnTo>
                      <a:lnTo>
                        <a:pt x="95" y="115"/>
                      </a:lnTo>
                      <a:lnTo>
                        <a:pt x="91" y="115"/>
                      </a:lnTo>
                      <a:lnTo>
                        <a:pt x="95" y="111"/>
                      </a:lnTo>
                      <a:lnTo>
                        <a:pt x="95" y="107"/>
                      </a:lnTo>
                      <a:lnTo>
                        <a:pt x="99" y="107"/>
                      </a:lnTo>
                      <a:lnTo>
                        <a:pt x="103" y="103"/>
                      </a:lnTo>
                      <a:lnTo>
                        <a:pt x="107" y="103"/>
                      </a:lnTo>
                      <a:lnTo>
                        <a:pt x="111" y="107"/>
                      </a:lnTo>
                      <a:lnTo>
                        <a:pt x="111" y="111"/>
                      </a:lnTo>
                      <a:lnTo>
                        <a:pt x="111" y="115"/>
                      </a:lnTo>
                      <a:lnTo>
                        <a:pt x="111" y="119"/>
                      </a:lnTo>
                      <a:lnTo>
                        <a:pt x="115" y="119"/>
                      </a:lnTo>
                      <a:lnTo>
                        <a:pt x="115" y="123"/>
                      </a:lnTo>
                      <a:lnTo>
                        <a:pt x="119" y="123"/>
                      </a:lnTo>
                      <a:lnTo>
                        <a:pt x="123" y="127"/>
                      </a:lnTo>
                      <a:lnTo>
                        <a:pt x="123" y="131"/>
                      </a:lnTo>
                      <a:lnTo>
                        <a:pt x="119" y="131"/>
                      </a:lnTo>
                      <a:lnTo>
                        <a:pt x="115" y="131"/>
                      </a:lnTo>
                      <a:lnTo>
                        <a:pt x="115" y="135"/>
                      </a:lnTo>
                      <a:lnTo>
                        <a:pt x="119" y="135"/>
                      </a:lnTo>
                      <a:lnTo>
                        <a:pt x="115" y="135"/>
                      </a:lnTo>
                      <a:lnTo>
                        <a:pt x="111" y="135"/>
                      </a:lnTo>
                      <a:lnTo>
                        <a:pt x="107" y="135"/>
                      </a:lnTo>
                      <a:lnTo>
                        <a:pt x="107" y="131"/>
                      </a:lnTo>
                      <a:lnTo>
                        <a:pt x="103" y="131"/>
                      </a:lnTo>
                      <a:lnTo>
                        <a:pt x="103" y="135"/>
                      </a:lnTo>
                      <a:lnTo>
                        <a:pt x="103" y="131"/>
                      </a:lnTo>
                      <a:lnTo>
                        <a:pt x="99" y="131"/>
                      </a:lnTo>
                      <a:lnTo>
                        <a:pt x="95" y="131"/>
                      </a:lnTo>
                      <a:lnTo>
                        <a:pt x="95" y="127"/>
                      </a:lnTo>
                      <a:lnTo>
                        <a:pt x="95" y="131"/>
                      </a:lnTo>
                      <a:lnTo>
                        <a:pt x="95" y="135"/>
                      </a:lnTo>
                      <a:lnTo>
                        <a:pt x="91" y="135"/>
                      </a:lnTo>
                      <a:lnTo>
                        <a:pt x="95" y="135"/>
                      </a:lnTo>
                      <a:lnTo>
                        <a:pt x="91" y="135"/>
                      </a:lnTo>
                      <a:lnTo>
                        <a:pt x="91" y="139"/>
                      </a:lnTo>
                      <a:lnTo>
                        <a:pt x="91" y="143"/>
                      </a:lnTo>
                      <a:lnTo>
                        <a:pt x="91" y="147"/>
                      </a:lnTo>
                      <a:lnTo>
                        <a:pt x="91" y="151"/>
                      </a:lnTo>
                      <a:lnTo>
                        <a:pt x="95" y="151"/>
                      </a:lnTo>
                      <a:lnTo>
                        <a:pt x="95" y="155"/>
                      </a:lnTo>
                      <a:lnTo>
                        <a:pt x="95" y="151"/>
                      </a:lnTo>
                      <a:lnTo>
                        <a:pt x="95" y="147"/>
                      </a:lnTo>
                      <a:lnTo>
                        <a:pt x="95" y="151"/>
                      </a:lnTo>
                      <a:lnTo>
                        <a:pt x="99" y="151"/>
                      </a:lnTo>
                      <a:lnTo>
                        <a:pt x="103" y="147"/>
                      </a:lnTo>
                      <a:lnTo>
                        <a:pt x="103" y="151"/>
                      </a:lnTo>
                      <a:lnTo>
                        <a:pt x="103" y="155"/>
                      </a:lnTo>
                      <a:lnTo>
                        <a:pt x="107" y="155"/>
                      </a:lnTo>
                      <a:lnTo>
                        <a:pt x="107" y="159"/>
                      </a:lnTo>
                      <a:lnTo>
                        <a:pt x="103" y="159"/>
                      </a:lnTo>
                      <a:lnTo>
                        <a:pt x="99" y="159"/>
                      </a:lnTo>
                      <a:lnTo>
                        <a:pt x="99" y="155"/>
                      </a:lnTo>
                      <a:lnTo>
                        <a:pt x="99" y="159"/>
                      </a:lnTo>
                      <a:lnTo>
                        <a:pt x="99" y="163"/>
                      </a:lnTo>
                      <a:lnTo>
                        <a:pt x="99" y="167"/>
                      </a:lnTo>
                      <a:lnTo>
                        <a:pt x="99" y="163"/>
                      </a:lnTo>
                      <a:lnTo>
                        <a:pt x="103" y="163"/>
                      </a:lnTo>
                      <a:lnTo>
                        <a:pt x="107" y="167"/>
                      </a:lnTo>
                      <a:lnTo>
                        <a:pt x="111" y="171"/>
                      </a:lnTo>
                      <a:lnTo>
                        <a:pt x="111" y="175"/>
                      </a:lnTo>
                      <a:lnTo>
                        <a:pt x="107" y="175"/>
                      </a:lnTo>
                      <a:lnTo>
                        <a:pt x="107" y="179"/>
                      </a:lnTo>
                      <a:lnTo>
                        <a:pt x="107" y="183"/>
                      </a:lnTo>
                      <a:lnTo>
                        <a:pt x="107" y="187"/>
                      </a:lnTo>
                      <a:lnTo>
                        <a:pt x="107" y="191"/>
                      </a:lnTo>
                      <a:lnTo>
                        <a:pt x="107" y="195"/>
                      </a:lnTo>
                      <a:lnTo>
                        <a:pt x="107" y="199"/>
                      </a:lnTo>
                      <a:lnTo>
                        <a:pt x="111" y="203"/>
                      </a:lnTo>
                      <a:lnTo>
                        <a:pt x="111" y="207"/>
                      </a:lnTo>
                      <a:lnTo>
                        <a:pt x="111" y="211"/>
                      </a:lnTo>
                      <a:lnTo>
                        <a:pt x="111" y="215"/>
                      </a:lnTo>
                      <a:lnTo>
                        <a:pt x="107" y="215"/>
                      </a:lnTo>
                      <a:lnTo>
                        <a:pt x="103" y="215"/>
                      </a:lnTo>
                      <a:lnTo>
                        <a:pt x="107" y="211"/>
                      </a:lnTo>
                      <a:lnTo>
                        <a:pt x="107" y="215"/>
                      </a:lnTo>
                      <a:lnTo>
                        <a:pt x="107" y="211"/>
                      </a:lnTo>
                      <a:lnTo>
                        <a:pt x="111" y="211"/>
                      </a:lnTo>
                      <a:lnTo>
                        <a:pt x="107" y="211"/>
                      </a:lnTo>
                      <a:lnTo>
                        <a:pt x="103" y="211"/>
                      </a:lnTo>
                      <a:lnTo>
                        <a:pt x="99" y="215"/>
                      </a:lnTo>
                      <a:lnTo>
                        <a:pt x="95" y="215"/>
                      </a:lnTo>
                      <a:lnTo>
                        <a:pt x="91" y="215"/>
                      </a:lnTo>
                      <a:lnTo>
                        <a:pt x="87" y="215"/>
                      </a:lnTo>
                      <a:lnTo>
                        <a:pt x="83" y="219"/>
                      </a:lnTo>
                      <a:lnTo>
                        <a:pt x="79" y="219"/>
                      </a:lnTo>
                      <a:lnTo>
                        <a:pt x="75" y="219"/>
                      </a:lnTo>
                      <a:lnTo>
                        <a:pt x="72" y="219"/>
                      </a:lnTo>
                      <a:lnTo>
                        <a:pt x="72" y="215"/>
                      </a:lnTo>
                      <a:lnTo>
                        <a:pt x="68" y="215"/>
                      </a:lnTo>
                      <a:lnTo>
                        <a:pt x="64" y="215"/>
                      </a:lnTo>
                      <a:lnTo>
                        <a:pt x="60" y="211"/>
                      </a:lnTo>
                      <a:lnTo>
                        <a:pt x="56" y="207"/>
                      </a:lnTo>
                      <a:lnTo>
                        <a:pt x="56" y="203"/>
                      </a:lnTo>
                      <a:lnTo>
                        <a:pt x="52" y="203"/>
                      </a:lnTo>
                      <a:lnTo>
                        <a:pt x="48" y="203"/>
                      </a:lnTo>
                      <a:lnTo>
                        <a:pt x="44" y="199"/>
                      </a:lnTo>
                      <a:lnTo>
                        <a:pt x="40" y="199"/>
                      </a:lnTo>
                      <a:lnTo>
                        <a:pt x="36" y="199"/>
                      </a:lnTo>
                      <a:lnTo>
                        <a:pt x="36" y="195"/>
                      </a:lnTo>
                      <a:lnTo>
                        <a:pt x="36" y="191"/>
                      </a:lnTo>
                      <a:lnTo>
                        <a:pt x="32" y="183"/>
                      </a:lnTo>
                      <a:lnTo>
                        <a:pt x="32" y="179"/>
                      </a:lnTo>
                      <a:lnTo>
                        <a:pt x="32" y="175"/>
                      </a:lnTo>
                      <a:lnTo>
                        <a:pt x="36" y="171"/>
                      </a:lnTo>
                      <a:lnTo>
                        <a:pt x="36" y="167"/>
                      </a:lnTo>
                      <a:lnTo>
                        <a:pt x="40" y="167"/>
                      </a:lnTo>
                      <a:lnTo>
                        <a:pt x="36" y="167"/>
                      </a:lnTo>
                      <a:lnTo>
                        <a:pt x="36" y="171"/>
                      </a:lnTo>
                      <a:lnTo>
                        <a:pt x="40" y="171"/>
                      </a:lnTo>
                      <a:lnTo>
                        <a:pt x="40" y="167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  <p:sp>
              <p:nvSpPr>
                <p:cNvPr id="107" name="Freeform 208">
                  <a:extLst>
                    <a:ext uri="{FF2B5EF4-FFF2-40B4-BE49-F238E27FC236}">
                      <a16:creationId xmlns:a16="http://schemas.microsoft.com/office/drawing/2014/main" id="{CF69317B-9C07-431E-A6F8-BF04A78B18FA}"/>
                    </a:ext>
                  </a:extLst>
                </p:cNvPr>
                <p:cNvSpPr>
                  <a:spLocks/>
                </p:cNvSpPr>
                <p:nvPr>
                  <p:custDataLst>
                    <p:tags r:id="rId92"/>
                  </p:custDataLst>
                </p:nvPr>
              </p:nvSpPr>
              <p:spPr bwMode="gray">
                <a:xfrm>
                  <a:off x="5907087" y="3275013"/>
                  <a:ext cx="88900" cy="120650"/>
                </a:xfrm>
                <a:custGeom>
                  <a:avLst/>
                  <a:gdLst/>
                  <a:ahLst/>
                  <a:cxnLst>
                    <a:cxn ang="0">
                      <a:pos x="44" y="20"/>
                    </a:cxn>
                    <a:cxn ang="0">
                      <a:pos x="40" y="24"/>
                    </a:cxn>
                    <a:cxn ang="0">
                      <a:pos x="44" y="28"/>
                    </a:cxn>
                    <a:cxn ang="0">
                      <a:pos x="48" y="24"/>
                    </a:cxn>
                    <a:cxn ang="0">
                      <a:pos x="44" y="28"/>
                    </a:cxn>
                    <a:cxn ang="0">
                      <a:pos x="48" y="36"/>
                    </a:cxn>
                    <a:cxn ang="0">
                      <a:pos x="56" y="36"/>
                    </a:cxn>
                    <a:cxn ang="0">
                      <a:pos x="52" y="40"/>
                    </a:cxn>
                    <a:cxn ang="0">
                      <a:pos x="52" y="44"/>
                    </a:cxn>
                    <a:cxn ang="0">
                      <a:pos x="48" y="48"/>
                    </a:cxn>
                    <a:cxn ang="0">
                      <a:pos x="44" y="52"/>
                    </a:cxn>
                    <a:cxn ang="0">
                      <a:pos x="44" y="52"/>
                    </a:cxn>
                    <a:cxn ang="0">
                      <a:pos x="44" y="60"/>
                    </a:cxn>
                    <a:cxn ang="0">
                      <a:pos x="40" y="56"/>
                    </a:cxn>
                    <a:cxn ang="0">
                      <a:pos x="36" y="60"/>
                    </a:cxn>
                    <a:cxn ang="0">
                      <a:pos x="40" y="64"/>
                    </a:cxn>
                    <a:cxn ang="0">
                      <a:pos x="44" y="68"/>
                    </a:cxn>
                    <a:cxn ang="0">
                      <a:pos x="36" y="72"/>
                    </a:cxn>
                    <a:cxn ang="0">
                      <a:pos x="32" y="68"/>
                    </a:cxn>
                    <a:cxn ang="0">
                      <a:pos x="28" y="72"/>
                    </a:cxn>
                    <a:cxn ang="0">
                      <a:pos x="24" y="76"/>
                    </a:cxn>
                    <a:cxn ang="0">
                      <a:pos x="20" y="72"/>
                    </a:cxn>
                    <a:cxn ang="0">
                      <a:pos x="20" y="68"/>
                    </a:cxn>
                    <a:cxn ang="0">
                      <a:pos x="16" y="64"/>
                    </a:cxn>
                    <a:cxn ang="0">
                      <a:pos x="12" y="68"/>
                    </a:cxn>
                    <a:cxn ang="0">
                      <a:pos x="8" y="64"/>
                    </a:cxn>
                    <a:cxn ang="0">
                      <a:pos x="8" y="64"/>
                    </a:cxn>
                    <a:cxn ang="0">
                      <a:pos x="12" y="68"/>
                    </a:cxn>
                    <a:cxn ang="0">
                      <a:pos x="4" y="68"/>
                    </a:cxn>
                    <a:cxn ang="0">
                      <a:pos x="0" y="64"/>
                    </a:cxn>
                    <a:cxn ang="0">
                      <a:pos x="0" y="56"/>
                    </a:cxn>
                    <a:cxn ang="0">
                      <a:pos x="0" y="48"/>
                    </a:cxn>
                    <a:cxn ang="0">
                      <a:pos x="0" y="40"/>
                    </a:cxn>
                    <a:cxn ang="0">
                      <a:pos x="4" y="32"/>
                    </a:cxn>
                    <a:cxn ang="0">
                      <a:pos x="4" y="24"/>
                    </a:cxn>
                    <a:cxn ang="0">
                      <a:pos x="8" y="20"/>
                    </a:cxn>
                    <a:cxn ang="0">
                      <a:pos x="16" y="20"/>
                    </a:cxn>
                    <a:cxn ang="0">
                      <a:pos x="16" y="20"/>
                    </a:cxn>
                    <a:cxn ang="0">
                      <a:pos x="16" y="20"/>
                    </a:cxn>
                    <a:cxn ang="0">
                      <a:pos x="20" y="24"/>
                    </a:cxn>
                    <a:cxn ang="0">
                      <a:pos x="20" y="16"/>
                    </a:cxn>
                    <a:cxn ang="0">
                      <a:pos x="24" y="12"/>
                    </a:cxn>
                    <a:cxn ang="0">
                      <a:pos x="28" y="16"/>
                    </a:cxn>
                    <a:cxn ang="0">
                      <a:pos x="24" y="12"/>
                    </a:cxn>
                    <a:cxn ang="0">
                      <a:pos x="24" y="4"/>
                    </a:cxn>
                    <a:cxn ang="0">
                      <a:pos x="32" y="4"/>
                    </a:cxn>
                    <a:cxn ang="0">
                      <a:pos x="36" y="4"/>
                    </a:cxn>
                    <a:cxn ang="0">
                      <a:pos x="36" y="0"/>
                    </a:cxn>
                    <a:cxn ang="0">
                      <a:pos x="40" y="4"/>
                    </a:cxn>
                    <a:cxn ang="0">
                      <a:pos x="44" y="8"/>
                    </a:cxn>
                    <a:cxn ang="0">
                      <a:pos x="48" y="4"/>
                    </a:cxn>
                    <a:cxn ang="0">
                      <a:pos x="52" y="0"/>
                    </a:cxn>
                    <a:cxn ang="0">
                      <a:pos x="52" y="8"/>
                    </a:cxn>
                    <a:cxn ang="0">
                      <a:pos x="44" y="12"/>
                    </a:cxn>
                    <a:cxn ang="0">
                      <a:pos x="40" y="16"/>
                    </a:cxn>
                  </a:cxnLst>
                  <a:rect l="0" t="0" r="r" b="b"/>
                  <a:pathLst>
                    <a:path w="56" h="76">
                      <a:moveTo>
                        <a:pt x="40" y="16"/>
                      </a:moveTo>
                      <a:lnTo>
                        <a:pt x="44" y="20"/>
                      </a:lnTo>
                      <a:lnTo>
                        <a:pt x="44" y="24"/>
                      </a:lnTo>
                      <a:lnTo>
                        <a:pt x="40" y="24"/>
                      </a:lnTo>
                      <a:lnTo>
                        <a:pt x="40" y="28"/>
                      </a:lnTo>
                      <a:lnTo>
                        <a:pt x="44" y="28"/>
                      </a:lnTo>
                      <a:lnTo>
                        <a:pt x="44" y="24"/>
                      </a:lnTo>
                      <a:lnTo>
                        <a:pt x="48" y="24"/>
                      </a:lnTo>
                      <a:lnTo>
                        <a:pt x="48" y="28"/>
                      </a:lnTo>
                      <a:lnTo>
                        <a:pt x="44" y="28"/>
                      </a:lnTo>
                      <a:lnTo>
                        <a:pt x="48" y="32"/>
                      </a:lnTo>
                      <a:lnTo>
                        <a:pt x="48" y="36"/>
                      </a:lnTo>
                      <a:lnTo>
                        <a:pt x="52" y="36"/>
                      </a:lnTo>
                      <a:lnTo>
                        <a:pt x="56" y="36"/>
                      </a:lnTo>
                      <a:lnTo>
                        <a:pt x="52" y="36"/>
                      </a:lnTo>
                      <a:lnTo>
                        <a:pt x="52" y="40"/>
                      </a:lnTo>
                      <a:lnTo>
                        <a:pt x="56" y="40"/>
                      </a:lnTo>
                      <a:lnTo>
                        <a:pt x="52" y="44"/>
                      </a:lnTo>
                      <a:lnTo>
                        <a:pt x="48" y="44"/>
                      </a:lnTo>
                      <a:lnTo>
                        <a:pt x="48" y="48"/>
                      </a:lnTo>
                      <a:lnTo>
                        <a:pt x="44" y="48"/>
                      </a:lnTo>
                      <a:lnTo>
                        <a:pt x="44" y="52"/>
                      </a:lnTo>
                      <a:lnTo>
                        <a:pt x="44" y="56"/>
                      </a:lnTo>
                      <a:lnTo>
                        <a:pt x="44" y="52"/>
                      </a:lnTo>
                      <a:lnTo>
                        <a:pt x="44" y="56"/>
                      </a:lnTo>
                      <a:lnTo>
                        <a:pt x="44" y="60"/>
                      </a:lnTo>
                      <a:lnTo>
                        <a:pt x="44" y="56"/>
                      </a:lnTo>
                      <a:lnTo>
                        <a:pt x="40" y="56"/>
                      </a:lnTo>
                      <a:lnTo>
                        <a:pt x="40" y="60"/>
                      </a:lnTo>
                      <a:lnTo>
                        <a:pt x="36" y="60"/>
                      </a:lnTo>
                      <a:lnTo>
                        <a:pt x="36" y="64"/>
                      </a:lnTo>
                      <a:lnTo>
                        <a:pt x="40" y="64"/>
                      </a:lnTo>
                      <a:lnTo>
                        <a:pt x="44" y="64"/>
                      </a:lnTo>
                      <a:lnTo>
                        <a:pt x="44" y="68"/>
                      </a:lnTo>
                      <a:lnTo>
                        <a:pt x="40" y="68"/>
                      </a:lnTo>
                      <a:lnTo>
                        <a:pt x="36" y="72"/>
                      </a:lnTo>
                      <a:lnTo>
                        <a:pt x="36" y="68"/>
                      </a:lnTo>
                      <a:lnTo>
                        <a:pt x="32" y="68"/>
                      </a:lnTo>
                      <a:lnTo>
                        <a:pt x="32" y="72"/>
                      </a:lnTo>
                      <a:lnTo>
                        <a:pt x="28" y="72"/>
                      </a:lnTo>
                      <a:lnTo>
                        <a:pt x="24" y="72"/>
                      </a:lnTo>
                      <a:lnTo>
                        <a:pt x="24" y="76"/>
                      </a:lnTo>
                      <a:lnTo>
                        <a:pt x="24" y="72"/>
                      </a:lnTo>
                      <a:lnTo>
                        <a:pt x="20" y="72"/>
                      </a:lnTo>
                      <a:lnTo>
                        <a:pt x="24" y="68"/>
                      </a:lnTo>
                      <a:lnTo>
                        <a:pt x="20" y="68"/>
                      </a:lnTo>
                      <a:lnTo>
                        <a:pt x="16" y="68"/>
                      </a:lnTo>
                      <a:lnTo>
                        <a:pt x="16" y="64"/>
                      </a:lnTo>
                      <a:lnTo>
                        <a:pt x="16" y="68"/>
                      </a:lnTo>
                      <a:lnTo>
                        <a:pt x="12" y="68"/>
                      </a:lnTo>
                      <a:lnTo>
                        <a:pt x="12" y="64"/>
                      </a:lnTo>
                      <a:lnTo>
                        <a:pt x="8" y="64"/>
                      </a:lnTo>
                      <a:lnTo>
                        <a:pt x="12" y="64"/>
                      </a:lnTo>
                      <a:lnTo>
                        <a:pt x="8" y="64"/>
                      </a:lnTo>
                      <a:lnTo>
                        <a:pt x="12" y="64"/>
                      </a:lnTo>
                      <a:lnTo>
                        <a:pt x="12" y="68"/>
                      </a:lnTo>
                      <a:lnTo>
                        <a:pt x="8" y="68"/>
                      </a:lnTo>
                      <a:lnTo>
                        <a:pt x="4" y="68"/>
                      </a:lnTo>
                      <a:lnTo>
                        <a:pt x="0" y="68"/>
                      </a:lnTo>
                      <a:lnTo>
                        <a:pt x="0" y="64"/>
                      </a:lnTo>
                      <a:lnTo>
                        <a:pt x="4" y="60"/>
                      </a:lnTo>
                      <a:lnTo>
                        <a:pt x="0" y="56"/>
                      </a:lnTo>
                      <a:lnTo>
                        <a:pt x="0" y="52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6"/>
                      </a:lnTo>
                      <a:lnTo>
                        <a:pt x="4" y="32"/>
                      </a:lnTo>
                      <a:lnTo>
                        <a:pt x="4" y="28"/>
                      </a:lnTo>
                      <a:lnTo>
                        <a:pt x="4" y="24"/>
                      </a:lnTo>
                      <a:lnTo>
                        <a:pt x="8" y="24"/>
                      </a:lnTo>
                      <a:lnTo>
                        <a:pt x="8" y="20"/>
                      </a:lnTo>
                      <a:lnTo>
                        <a:pt x="12" y="20"/>
                      </a:lnTo>
                      <a:lnTo>
                        <a:pt x="16" y="20"/>
                      </a:lnTo>
                      <a:lnTo>
                        <a:pt x="16" y="16"/>
                      </a:lnTo>
                      <a:lnTo>
                        <a:pt x="16" y="20"/>
                      </a:lnTo>
                      <a:lnTo>
                        <a:pt x="20" y="20"/>
                      </a:lnTo>
                      <a:lnTo>
                        <a:pt x="16" y="20"/>
                      </a:lnTo>
                      <a:lnTo>
                        <a:pt x="16" y="24"/>
                      </a:lnTo>
                      <a:lnTo>
                        <a:pt x="20" y="24"/>
                      </a:lnTo>
                      <a:lnTo>
                        <a:pt x="20" y="20"/>
                      </a:lnTo>
                      <a:lnTo>
                        <a:pt x="20" y="16"/>
                      </a:lnTo>
                      <a:lnTo>
                        <a:pt x="20" y="12"/>
                      </a:lnTo>
                      <a:lnTo>
                        <a:pt x="24" y="12"/>
                      </a:lnTo>
                      <a:lnTo>
                        <a:pt x="24" y="16"/>
                      </a:lnTo>
                      <a:lnTo>
                        <a:pt x="28" y="16"/>
                      </a:lnTo>
                      <a:lnTo>
                        <a:pt x="28" y="12"/>
                      </a:lnTo>
                      <a:lnTo>
                        <a:pt x="24" y="12"/>
                      </a:lnTo>
                      <a:lnTo>
                        <a:pt x="24" y="8"/>
                      </a:lnTo>
                      <a:lnTo>
                        <a:pt x="24" y="4"/>
                      </a:lnTo>
                      <a:lnTo>
                        <a:pt x="28" y="4"/>
                      </a:lnTo>
                      <a:lnTo>
                        <a:pt x="32" y="4"/>
                      </a:lnTo>
                      <a:lnTo>
                        <a:pt x="36" y="8"/>
                      </a:lnTo>
                      <a:lnTo>
                        <a:pt x="36" y="4"/>
                      </a:lnTo>
                      <a:lnTo>
                        <a:pt x="32" y="4"/>
                      </a:lnTo>
                      <a:lnTo>
                        <a:pt x="36" y="0"/>
                      </a:lnTo>
                      <a:lnTo>
                        <a:pt x="40" y="0"/>
                      </a:lnTo>
                      <a:lnTo>
                        <a:pt x="40" y="4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4" y="4"/>
                      </a:lnTo>
                      <a:lnTo>
                        <a:pt x="48" y="4"/>
                      </a:lnTo>
                      <a:lnTo>
                        <a:pt x="48" y="0"/>
                      </a:lnTo>
                      <a:lnTo>
                        <a:pt x="52" y="0"/>
                      </a:lnTo>
                      <a:lnTo>
                        <a:pt x="52" y="4"/>
                      </a:lnTo>
                      <a:lnTo>
                        <a:pt x="52" y="8"/>
                      </a:lnTo>
                      <a:lnTo>
                        <a:pt x="48" y="12"/>
                      </a:lnTo>
                      <a:lnTo>
                        <a:pt x="44" y="12"/>
                      </a:lnTo>
                      <a:lnTo>
                        <a:pt x="44" y="16"/>
                      </a:lnTo>
                      <a:lnTo>
                        <a:pt x="40" y="16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0" name="Freeform 198">
                <a:extLst>
                  <a:ext uri="{FF2B5EF4-FFF2-40B4-BE49-F238E27FC236}">
                    <a16:creationId xmlns:a16="http://schemas.microsoft.com/office/drawing/2014/main" id="{D438DDEE-62CB-4F88-A388-134DE4A5A8A8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064053" y="5158875"/>
                <a:ext cx="5042" cy="5042"/>
              </a:xfrm>
              <a:custGeom>
                <a:avLst/>
                <a:gdLst/>
                <a:ahLst/>
                <a:cxnLst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0" y="4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0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  <a:cxn ang="0">
                    <a:pos x="4" y="4"/>
                  </a:cxn>
                </a:cxnLst>
                <a:rect l="0" t="0" r="r" b="b"/>
                <a:pathLst>
                  <a:path w="4" h="4">
                    <a:moveTo>
                      <a:pt x="4" y="4"/>
                    </a:move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0" y="4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0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lnTo>
                      <a:pt x="4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01" name="Freeform 265">
                <a:extLst>
                  <a:ext uri="{FF2B5EF4-FFF2-40B4-BE49-F238E27FC236}">
                    <a16:creationId xmlns:a16="http://schemas.microsoft.com/office/drawing/2014/main" id="{355C0297-1715-404A-BB5A-20E341371417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5175906" y="6185007"/>
                <a:ext cx="1261" cy="5042"/>
              </a:xfrm>
              <a:custGeom>
                <a:avLst/>
                <a:gdLst/>
                <a:ahLst/>
                <a:cxnLst>
                  <a:cxn ang="0">
                    <a:pos x="0" y="4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4"/>
                  </a:cxn>
                  <a:cxn ang="0">
                    <a:pos x="0" y="4"/>
                  </a:cxn>
                </a:cxnLst>
                <a:rect l="0" t="0" r="r" b="b"/>
                <a:pathLst>
                  <a:path h="4">
                    <a:moveTo>
                      <a:pt x="0" y="4"/>
                    </a:move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4"/>
                    </a:lnTo>
                    <a:lnTo>
                      <a:pt x="0" y="4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02" name="Freeform 336">
                <a:extLst>
                  <a:ext uri="{FF2B5EF4-FFF2-40B4-BE49-F238E27FC236}">
                    <a16:creationId xmlns:a16="http://schemas.microsoft.com/office/drawing/2014/main" id="{A0A9B98F-95F1-4898-BB71-F4F37CF0810A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3692175" y="5153833"/>
                <a:ext cx="1261" cy="12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03" name="Freeform 337">
                <a:extLst>
                  <a:ext uri="{FF2B5EF4-FFF2-40B4-BE49-F238E27FC236}">
                    <a16:creationId xmlns:a16="http://schemas.microsoft.com/office/drawing/2014/main" id="{C8AF39A4-815D-4DDC-9547-D6806F5D1F12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93094" y="6285856"/>
                <a:ext cx="5042" cy="12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4" y="0"/>
                  </a:cxn>
                  <a:cxn ang="0">
                    <a:pos x="0" y="0"/>
                  </a:cxn>
                </a:cxnLst>
                <a:rect l="0" t="0" r="r" b="b"/>
                <a:pathLst>
                  <a:path w="4"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4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04" name="Freeform 338">
                <a:extLst>
                  <a:ext uri="{FF2B5EF4-FFF2-40B4-BE49-F238E27FC236}">
                    <a16:creationId xmlns:a16="http://schemas.microsoft.com/office/drawing/2014/main" id="{630E717D-3861-4817-8AF7-CC4A30A93BAE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4607373" y="6411916"/>
                <a:ext cx="1261" cy="1261"/>
              </a:xfrm>
              <a:custGeom>
                <a:avLst/>
                <a:gdLst/>
                <a:ahLst/>
                <a:cxnLst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  <a:cxn ang="0">
                    <a:pos x="0" y="0"/>
                  </a:cxn>
                </a:cxnLst>
                <a:rect l="0" t="0" r="r" b="b"/>
                <a:pathLst>
                  <a:path>
                    <a:moveTo>
                      <a:pt x="0" y="0"/>
                    </a:move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9525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</p:grp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115CE591-5F25-436B-99DB-65211D125E0C}"/>
                </a:ext>
              </a:extLst>
            </p:cNvPr>
            <p:cNvSpPr txBox="1"/>
            <p:nvPr/>
          </p:nvSpPr>
          <p:spPr>
            <a:xfrm>
              <a:off x="3326579" y="3430479"/>
              <a:ext cx="940085" cy="1545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1" i="1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Trebuchet MS" panose="020B0703020202090204" pitchFamily="34" charset="0"/>
                  <a:ea typeface="+mn-ea"/>
                  <a:cs typeface="Arial" panose="020B0604020202020204" pitchFamily="34" charset="0"/>
                </a:rPr>
                <a:t>  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Arial" panose="020B0604020202020204" pitchFamily="34" charset="0"/>
                </a:rPr>
                <a:t>Kisumu, Kenya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7B6C3DCC-C6B3-4C8D-A2DD-44025E4AC055}"/>
                </a:ext>
              </a:extLst>
            </p:cNvPr>
            <p:cNvSpPr txBox="1"/>
            <p:nvPr/>
          </p:nvSpPr>
          <p:spPr>
            <a:xfrm>
              <a:off x="3192352" y="4413661"/>
              <a:ext cx="1310044" cy="1545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Arial" panose="020B0604020202020204" pitchFamily="34" charset="0"/>
                </a:rPr>
                <a:t>Manhiça</a:t>
              </a: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Arial" panose="020B0604020202020204" pitchFamily="34" charset="0"/>
                </a:rPr>
                <a:t>, Mozambique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9D2FE542-69E7-45CC-9BB3-A119F6C5A20E}"/>
                </a:ext>
              </a:extLst>
            </p:cNvPr>
            <p:cNvSpPr txBox="1"/>
            <p:nvPr/>
          </p:nvSpPr>
          <p:spPr>
            <a:xfrm>
              <a:off x="2998386" y="4626738"/>
              <a:ext cx="1175156" cy="154538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Arial" panose="020B0604020202020204" pitchFamily="34" charset="0"/>
                </a:rPr>
                <a:t>Soweto, South Africa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5D884FC-778F-43C3-A9EB-EB5C69896616}"/>
                </a:ext>
              </a:extLst>
            </p:cNvPr>
            <p:cNvSpPr txBox="1"/>
            <p:nvPr/>
          </p:nvSpPr>
          <p:spPr>
            <a:xfrm>
              <a:off x="3485411" y="2981064"/>
              <a:ext cx="1495686" cy="154538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 marL="203200" marR="0" lvl="0" indent="-203200" algn="l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Pct val="125000"/>
                <a:buFont typeface="Arial"/>
                <a:buChar char="•"/>
                <a:tabLst/>
                <a:defRPr/>
              </a:pPr>
              <a:r>
                <a:rPr kumimoji="0" lang="en-US" sz="14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Arial" panose="020B0604020202020204" pitchFamily="34" charset="0"/>
                </a:rPr>
                <a:t>Harar/Kersa, Ethiopia</a:t>
              </a:r>
            </a:p>
          </p:txBody>
        </p:sp>
      </p:grpSp>
      <p:sp>
        <p:nvSpPr>
          <p:cNvPr id="110" name="TextBox 109">
            <a:extLst>
              <a:ext uri="{FF2B5EF4-FFF2-40B4-BE49-F238E27FC236}">
                <a16:creationId xmlns:a16="http://schemas.microsoft.com/office/drawing/2014/main" id="{E1308046-C3B4-485D-9414-AD3442BD364C}"/>
              </a:ext>
            </a:extLst>
          </p:cNvPr>
          <p:cNvSpPr txBox="1"/>
          <p:nvPr/>
        </p:nvSpPr>
        <p:spPr>
          <a:xfrm>
            <a:off x="7641986" y="2389615"/>
            <a:ext cx="212077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 typeface="Arial"/>
              <a:buChar char="•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anose="020B0604020202020204" pitchFamily="34" charset="0"/>
              </a:rPr>
              <a:t>Baliakandi, Bangladesh</a:t>
            </a:r>
          </a:p>
        </p:txBody>
      </p:sp>
      <p:grpSp>
        <p:nvGrpSpPr>
          <p:cNvPr id="111" name="Group 110">
            <a:extLst>
              <a:ext uri="{FF2B5EF4-FFF2-40B4-BE49-F238E27FC236}">
                <a16:creationId xmlns:a16="http://schemas.microsoft.com/office/drawing/2014/main" id="{29EF39C7-0B89-4B06-A8F2-E9E424A6DA89}"/>
              </a:ext>
            </a:extLst>
          </p:cNvPr>
          <p:cNvGrpSpPr/>
          <p:nvPr/>
        </p:nvGrpSpPr>
        <p:grpSpPr>
          <a:xfrm>
            <a:off x="7840261" y="3160844"/>
            <a:ext cx="3576653" cy="337873"/>
            <a:chOff x="8195280" y="3491061"/>
            <a:chExt cx="2906511" cy="319509"/>
          </a:xfrm>
        </p:grpSpPr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645216A0-8333-4F44-803E-9FA6F7C9E9B9}"/>
                </a:ext>
              </a:extLst>
            </p:cNvPr>
            <p:cNvSpPr txBox="1"/>
            <p:nvPr/>
          </p:nvSpPr>
          <p:spPr>
            <a:xfrm>
              <a:off x="8195280" y="3523241"/>
              <a:ext cx="415633" cy="265232"/>
            </a:xfrm>
            <a:prstGeom prst="rect">
              <a:avLst/>
            </a:prstGeom>
            <a:solidFill>
              <a:srgbClr val="97D700"/>
            </a:solidFill>
            <a:ln w="1270">
              <a:noFill/>
              <a:prstDash val="solid"/>
              <a:round/>
              <a:headEnd/>
              <a:tailEnd/>
            </a:ln>
          </p:spPr>
          <p:txBody>
            <a:bodyPr/>
            <a:lstStyle>
              <a:defPPr>
                <a:defRPr lang="en-US"/>
              </a:defPPr>
            </a:lstStyle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13" name="Salmon Color Legend">
              <a:extLst>
                <a:ext uri="{FF2B5EF4-FFF2-40B4-BE49-F238E27FC236}">
                  <a16:creationId xmlns:a16="http://schemas.microsoft.com/office/drawing/2014/main" id="{5CF7535E-795B-4665-B6D6-1E60530ECA3B}"/>
                </a:ext>
              </a:extLst>
            </p:cNvPr>
            <p:cNvSpPr txBox="1"/>
            <p:nvPr/>
          </p:nvSpPr>
          <p:spPr>
            <a:xfrm>
              <a:off x="8815083" y="3491061"/>
              <a:ext cx="2286708" cy="319509"/>
            </a:xfrm>
            <a:prstGeom prst="rect">
              <a:avLst/>
            </a:prstGeom>
            <a:noFill/>
          </p:spPr>
          <p:txBody>
            <a:bodyPr wrap="square" lIns="0" tIns="0" rIns="0" bIns="0" rtlCol="0" anchor="ctr" anchorCtr="0">
              <a:no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90000"/>
                </a:lnSpc>
                <a:spcBef>
                  <a:spcPct val="20000"/>
                </a:spcBef>
                <a:spcAft>
                  <a:spcPts val="0"/>
                </a:spcAft>
                <a:buClr>
                  <a:srgbClr val="CE6B28"/>
                </a:buClr>
                <a:buSzTx/>
                <a:buFontTx/>
                <a:buNone/>
                <a:tabLst/>
                <a:defRPr/>
              </a:pPr>
              <a:r>
                <a: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 pitchFamily="34" charset="77"/>
                  <a:ea typeface="+mn-ea"/>
                  <a:cs typeface="Arial" panose="020B0604020202020204" pitchFamily="34" charset="0"/>
                </a:rPr>
                <a:t>Existing sites</a:t>
              </a:r>
            </a:p>
          </p:txBody>
        </p:sp>
      </p:grpSp>
      <p:sp>
        <p:nvSpPr>
          <p:cNvPr id="120" name="TextBox 119">
            <a:extLst>
              <a:ext uri="{FF2B5EF4-FFF2-40B4-BE49-F238E27FC236}">
                <a16:creationId xmlns:a16="http://schemas.microsoft.com/office/drawing/2014/main" id="{5B1728D0-604B-4676-9F1A-2EABE17EA191}"/>
              </a:ext>
            </a:extLst>
          </p:cNvPr>
          <p:cNvSpPr txBox="1"/>
          <p:nvPr/>
        </p:nvSpPr>
        <p:spPr>
          <a:xfrm>
            <a:off x="1894525" y="3017596"/>
            <a:ext cx="288541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 typeface="Arial"/>
              <a:buChar char="•"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 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3C77E07C-D892-4677-8A43-DA52B676B67F}"/>
              </a:ext>
            </a:extLst>
          </p:cNvPr>
          <p:cNvSpPr txBox="1"/>
          <p:nvPr/>
        </p:nvSpPr>
        <p:spPr>
          <a:xfrm>
            <a:off x="1624183" y="3300495"/>
            <a:ext cx="314189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 typeface="Arial"/>
              <a:buChar char="•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 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AE205A29-36CD-4FCC-84B1-9C24E0545112}"/>
              </a:ext>
            </a:extLst>
          </p:cNvPr>
          <p:cNvSpPr txBox="1"/>
          <p:nvPr/>
        </p:nvSpPr>
        <p:spPr>
          <a:xfrm>
            <a:off x="4596223" y="4866490"/>
            <a:ext cx="2340179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3200" marR="0" lvl="0" indent="-20320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buFont typeface="Arial"/>
              <a:buChar char="•"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anose="020B0604020202020204" pitchFamily="34" charset="0"/>
              </a:rPr>
              <a:t>Quelimane, Mozambique</a:t>
            </a:r>
          </a:p>
        </p:txBody>
      </p:sp>
      <p:sp>
        <p:nvSpPr>
          <p:cNvPr id="122" name="TextBox 121">
            <a:extLst>
              <a:ext uri="{FF2B5EF4-FFF2-40B4-BE49-F238E27FC236}">
                <a16:creationId xmlns:a16="http://schemas.microsoft.com/office/drawing/2014/main" id="{55F1854D-F760-44C9-8294-C469E17D88A6}"/>
              </a:ext>
            </a:extLst>
          </p:cNvPr>
          <p:cNvSpPr txBox="1"/>
          <p:nvPr/>
        </p:nvSpPr>
        <p:spPr>
          <a:xfrm>
            <a:off x="7865077" y="3664370"/>
            <a:ext cx="477176" cy="264865"/>
          </a:xfrm>
          <a:prstGeom prst="rect">
            <a:avLst/>
          </a:prstGeom>
          <a:solidFill>
            <a:schemeClr val="accent4"/>
          </a:solidFill>
          <a:ln w="1270">
            <a:noFill/>
            <a:prstDash val="solid"/>
            <a:round/>
            <a:headEnd/>
            <a:tailEnd/>
          </a:ln>
        </p:spPr>
        <p:txBody>
          <a:bodyPr/>
          <a:lstStyle>
            <a:defPPr>
              <a:defRPr lang="en-US"/>
            </a:def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123" name="Tan Color Legend">
            <a:extLst>
              <a:ext uri="{FF2B5EF4-FFF2-40B4-BE49-F238E27FC236}">
                <a16:creationId xmlns:a16="http://schemas.microsoft.com/office/drawing/2014/main" id="{4BB98628-3742-4502-A998-6DB1B8BBF8B2}"/>
              </a:ext>
            </a:extLst>
          </p:cNvPr>
          <p:cNvSpPr txBox="1"/>
          <p:nvPr/>
        </p:nvSpPr>
        <p:spPr>
          <a:xfrm>
            <a:off x="8602967" y="3616533"/>
            <a:ext cx="3336090" cy="444400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90000"/>
              </a:lnSpc>
              <a:spcBef>
                <a:spcPct val="20000"/>
              </a:spcBef>
              <a:spcAft>
                <a:spcPts val="0"/>
              </a:spcAft>
              <a:buClr>
                <a:srgbClr val="CE6B28"/>
              </a:buClr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Contract initiation</a:t>
            </a: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77"/>
              <a:ea typeface="+mn-ea"/>
              <a:cs typeface="Arial" panose="020B0604020202020204" pitchFamily="34" charset="0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A3A766D6-4D54-419D-BFED-61D1F2690882}"/>
              </a:ext>
            </a:extLst>
          </p:cNvPr>
          <p:cNvSpPr txBox="1"/>
          <p:nvPr/>
        </p:nvSpPr>
        <p:spPr>
          <a:xfrm>
            <a:off x="602975" y="3011979"/>
            <a:ext cx="1147750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tabLst/>
              <a:defRPr/>
            </a:pPr>
            <a:r>
              <a:rPr kumimoji="0" lang="en-US" sz="14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  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anose="020B0604020202020204" pitchFamily="34" charset="0"/>
              </a:rPr>
              <a:t>Bamako, Mali</a:t>
            </a: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B4587CEF-950F-4394-A935-94ADEBA8BF3E}"/>
              </a:ext>
            </a:extLst>
          </p:cNvPr>
          <p:cNvSpPr txBox="1"/>
          <p:nvPr/>
        </p:nvSpPr>
        <p:spPr>
          <a:xfrm>
            <a:off x="104083" y="3464410"/>
            <a:ext cx="1768113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Tx/>
              <a:buSzPct val="125000"/>
              <a:tabLst/>
              <a:defRPr/>
            </a:pPr>
            <a:r>
              <a:rPr kumimoji="0" lang="en-US" sz="1400" b="1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rebuchet MS" panose="020B0703020202090204" pitchFamily="34" charset="0"/>
                <a:ea typeface="+mn-ea"/>
                <a:cs typeface="+mn-cs"/>
              </a:rPr>
              <a:t>  </a:t>
            </a:r>
            <a:r>
              <a:rPr kumimoji="0" lang="en-US" sz="1400" b="0" i="0" u="none" strike="noStrike" kern="1200" cap="none" spc="0" normalizeH="0" baseline="0" noProof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anose="020B0604020202020204" pitchFamily="34" charset="0"/>
              </a:rPr>
              <a:t>Makeni</a:t>
            </a: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Arial" panose="020B0604020202020204" pitchFamily="34" charset="0"/>
              </a:rPr>
              <a:t>, Sierra Leon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1086A4B4-01F9-42F9-BAB9-6B71A2F29EAF}"/>
              </a:ext>
            </a:extLst>
          </p:cNvPr>
          <p:cNvSpPr txBox="1"/>
          <p:nvPr/>
        </p:nvSpPr>
        <p:spPr>
          <a:xfrm>
            <a:off x="2725362" y="3140513"/>
            <a:ext cx="420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 </a:t>
            </a:r>
            <a:endParaRPr lang="en-US"/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DAC3DD78-84A6-4F93-9DFB-7B79D477F15C}"/>
              </a:ext>
            </a:extLst>
          </p:cNvPr>
          <p:cNvSpPr txBox="1"/>
          <p:nvPr/>
        </p:nvSpPr>
        <p:spPr>
          <a:xfrm>
            <a:off x="2594540" y="3450079"/>
            <a:ext cx="420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 </a:t>
            </a:r>
            <a:endParaRPr lang="en-US"/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EFC9369A-B80B-4F09-8EC7-EA5E3F561809}"/>
              </a:ext>
            </a:extLst>
          </p:cNvPr>
          <p:cNvSpPr txBox="1"/>
          <p:nvPr/>
        </p:nvSpPr>
        <p:spPr>
          <a:xfrm>
            <a:off x="6186625" y="2220633"/>
            <a:ext cx="420746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kumimoji="0" lang="en-US" sz="1800" b="0" i="1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77"/>
                <a:ea typeface="+mn-ea"/>
                <a:cs typeface="+mn-cs"/>
              </a:rPr>
              <a:t> 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3938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AA19DABF-7CC0-42DA-9014-22E646E93724}"/>
              </a:ext>
            </a:extLst>
          </p:cNvPr>
          <p:cNvPicPr>
            <a:picLocks noGrp="1" noChangeAspect="1"/>
          </p:cNvPicPr>
          <p:nvPr>
            <p:ph type="pic" sz="quarter" idx="10"/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6939106" y="2600833"/>
            <a:ext cx="5614448" cy="5614448"/>
          </a:xfr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4764F07-F478-F240-A4A9-B3934883E67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7866" y="3429000"/>
            <a:ext cx="9039790" cy="922807"/>
          </a:xfrm>
        </p:spPr>
        <p:txBody>
          <a:bodyPr>
            <a:noAutofit/>
          </a:bodyPr>
          <a:lstStyle/>
          <a:p>
            <a:r>
              <a:rPr lang="en-US" sz="6000" dirty="0">
                <a:latin typeface="Lato" panose="020F0502020204030203" pitchFamily="34" charset="0"/>
              </a:rPr>
              <a:t>CHAMPS Methods</a:t>
            </a:r>
          </a:p>
        </p:txBody>
      </p:sp>
    </p:spTree>
    <p:extLst>
      <p:ext uri="{BB962C8B-B14F-4D97-AF65-F5344CB8AC3E}">
        <p14:creationId xmlns:p14="http://schemas.microsoft.com/office/powerpoint/2010/main" val="409634769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52823-194A-2A4A-8016-646E43715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684" y="352727"/>
            <a:ext cx="11029616" cy="669445"/>
          </a:xfrm>
        </p:spPr>
        <p:txBody>
          <a:bodyPr>
            <a:noAutofit/>
          </a:bodyPr>
          <a:lstStyle/>
          <a:p>
            <a:r>
              <a:rPr lang="en-US" dirty="0">
                <a:latin typeface="Lato" panose="020F0502020204030203" pitchFamily="34" charset="0"/>
              </a:rPr>
              <a:t>CHAMPS Aims to Deepen Understanding of Causes and Contributors to Under-5 Death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CE21796-36ED-3C43-96D9-4DE54095F149}"/>
              </a:ext>
            </a:extLst>
          </p:cNvPr>
          <p:cNvGrpSpPr>
            <a:grpSpLocks noChangeAspect="1"/>
          </p:cNvGrpSpPr>
          <p:nvPr/>
        </p:nvGrpSpPr>
        <p:grpSpPr>
          <a:xfrm>
            <a:off x="-2943" y="2463124"/>
            <a:ext cx="3046638" cy="2654256"/>
            <a:chOff x="3310212" y="4815990"/>
            <a:chExt cx="2345552" cy="2299342"/>
          </a:xfrm>
          <a:solidFill>
            <a:srgbClr val="C0C0C0"/>
          </a:solidFill>
        </p:grpSpPr>
        <p:sp>
          <p:nvSpPr>
            <p:cNvPr id="11" name="Freeform 441">
              <a:extLst>
                <a:ext uri="{FF2B5EF4-FFF2-40B4-BE49-F238E27FC236}">
                  <a16:creationId xmlns:a16="http://schemas.microsoft.com/office/drawing/2014/main" id="{8BE52E04-B02B-504C-8CCB-A542A6941777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4242060" y="5695748"/>
              <a:ext cx="240769" cy="197554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7783" tIns="37783" rIns="37783" bIns="37783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2" name="Freeform 441">
              <a:extLst>
                <a:ext uri="{FF2B5EF4-FFF2-40B4-BE49-F238E27FC236}">
                  <a16:creationId xmlns:a16="http://schemas.microsoft.com/office/drawing/2014/main" id="{F83F1EF9-DD13-D946-9347-1B3A61EE5A95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211040" y="5419819"/>
              <a:ext cx="322210" cy="346528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7783" tIns="37783" rIns="37783" bIns="37783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3" name="Freeform 4">
              <a:extLst>
                <a:ext uri="{FF2B5EF4-FFF2-40B4-BE49-F238E27FC236}">
                  <a16:creationId xmlns:a16="http://schemas.microsoft.com/office/drawing/2014/main" id="{BE8F53AB-FC28-894F-AAAA-26067F094CA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948998" y="5041639"/>
              <a:ext cx="271030" cy="231951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FA0B371-5277-494E-886B-B1ED2CF2BA11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gray">
            <a:xfrm>
              <a:off x="4622501" y="4971045"/>
              <a:ext cx="60509" cy="60509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2D1ACE1-AD6E-9A4B-8C70-2F14A3BA8D60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gray">
            <a:xfrm>
              <a:off x="4647713" y="4931967"/>
              <a:ext cx="129842" cy="114715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ACA827-D9D6-CF4D-92E2-0F7386EFB0D9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gray">
            <a:xfrm>
              <a:off x="4753604" y="5349226"/>
              <a:ext cx="10085" cy="1512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363DE32D-28BA-C64A-8BF6-79439B3D549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gray">
            <a:xfrm>
              <a:off x="5472148" y="5339142"/>
              <a:ext cx="90764" cy="141188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50C443E9-8617-5D46-88A6-11E25CCFE7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5487275" y="5298802"/>
              <a:ext cx="65551" cy="40339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129D3FE0-2861-BB41-AB14-38F936F127A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405677" y="5117275"/>
              <a:ext cx="45382" cy="25212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7462D841-B0CF-2B40-B4B2-243F05B29C70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4446016" y="5218124"/>
              <a:ext cx="5042" cy="1008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3E39BFFF-24A1-F246-939D-6EC4E0DFDA8D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556949" y="4911797"/>
              <a:ext cx="126060" cy="64290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FE4678BC-E003-8A42-845D-88672879A004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5096545" y="5116313"/>
              <a:ext cx="559219" cy="694592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solidFill>
              <a:srgbClr val="EBE717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91220190-4C30-F040-BC08-050BE6337293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gray">
            <a:xfrm>
              <a:off x="4632586" y="5011384"/>
              <a:ext cx="366835" cy="368096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D2850D6E-183C-9242-994E-9045B0F80329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4531737" y="5071893"/>
              <a:ext cx="186569" cy="206739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8350CEFB-CDA8-B74E-BA4A-46B616CBC2ED}"/>
                </a:ext>
              </a:extLst>
            </p:cNvPr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4446016" y="5177784"/>
              <a:ext cx="25212" cy="90763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8C6E8E7F-B867-6B4F-9A77-F29E3A15396B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4461144" y="5172742"/>
              <a:ext cx="80679" cy="105891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5919970A-3576-7F4A-8129-FDA30234F052}"/>
                </a:ext>
              </a:extLst>
            </p:cNvPr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gray">
            <a:xfrm>
              <a:off x="4683010" y="5253420"/>
              <a:ext cx="35297" cy="40339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975CDA49-8608-5C43-868D-9B8476184EDC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5115398" y="4921882"/>
              <a:ext cx="210521" cy="104630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32E9129-5542-5D45-B65E-FF81E7995BBE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4461144" y="5142487"/>
              <a:ext cx="30255" cy="40339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CBC8DAF-78AF-F54C-B18E-9BAB519E612C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5185991" y="5801784"/>
              <a:ext cx="10085" cy="17648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0DB756C3-8EEE-3641-A620-74672D46DE35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5320876" y="5248378"/>
              <a:ext cx="156315" cy="100848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9610EF7-9B60-DE4C-B599-414E65CB7EA5}"/>
                </a:ext>
              </a:extLst>
            </p:cNvPr>
            <p:cNvSpPr>
              <a:spLocks noEditPoints="1"/>
            </p:cNvSpPr>
            <p:nvPr>
              <p:custDataLst>
                <p:tags r:id="rId22"/>
              </p:custDataLst>
            </p:nvPr>
          </p:nvSpPr>
          <p:spPr bwMode="gray">
            <a:xfrm>
              <a:off x="4782598" y="5349226"/>
              <a:ext cx="151273" cy="23069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939609C0-1ED0-9746-8D74-4E229FE2AE38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4954040" y="5081978"/>
              <a:ext cx="321454" cy="32775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4" name="Freeform 38">
              <a:extLst>
                <a:ext uri="{FF2B5EF4-FFF2-40B4-BE49-F238E27FC236}">
                  <a16:creationId xmlns:a16="http://schemas.microsoft.com/office/drawing/2014/main" id="{D05E207E-5D98-CA4A-9816-F3E3E54CCC0B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4763689" y="5354269"/>
              <a:ext cx="13866" cy="35297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5" name="Freeform 39">
              <a:extLst>
                <a:ext uri="{FF2B5EF4-FFF2-40B4-BE49-F238E27FC236}">
                  <a16:creationId xmlns:a16="http://schemas.microsoft.com/office/drawing/2014/main" id="{948FAE32-52A8-0B48-A63A-896E6A676719}"/>
                </a:ext>
              </a:extLst>
            </p:cNvPr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gray">
            <a:xfrm>
              <a:off x="4451059" y="5202996"/>
              <a:ext cx="402132" cy="381963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6" name="Freeform 43">
              <a:extLst>
                <a:ext uri="{FF2B5EF4-FFF2-40B4-BE49-F238E27FC236}">
                  <a16:creationId xmlns:a16="http://schemas.microsoft.com/office/drawing/2014/main" id="{9FDFE4C5-432E-1746-A31D-8647FC4ACA87}"/>
                </a:ext>
              </a:extLst>
            </p:cNvPr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gray">
            <a:xfrm>
              <a:off x="5310791" y="5736232"/>
              <a:ext cx="45382" cy="90763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7" name="Freeform 44">
              <a:extLst>
                <a:ext uri="{FF2B5EF4-FFF2-40B4-BE49-F238E27FC236}">
                  <a16:creationId xmlns:a16="http://schemas.microsoft.com/office/drawing/2014/main" id="{32E2BFCA-9F37-7646-BB52-D3BBB984F9A3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4471228" y="5071893"/>
              <a:ext cx="131103" cy="126060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8" name="Freeform 45">
              <a:extLst>
                <a:ext uri="{FF2B5EF4-FFF2-40B4-BE49-F238E27FC236}">
                  <a16:creationId xmlns:a16="http://schemas.microsoft.com/office/drawing/2014/main" id="{5127160E-CA62-414A-A025-82F78A656866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5080101" y="4976088"/>
              <a:ext cx="144969" cy="115976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9" name="Freeform 48">
              <a:extLst>
                <a:ext uri="{FF2B5EF4-FFF2-40B4-BE49-F238E27FC236}">
                  <a16:creationId xmlns:a16="http://schemas.microsoft.com/office/drawing/2014/main" id="{60CE7E9A-4A0F-D041-98CB-028AF4DB4E14}"/>
                </a:ext>
              </a:extLst>
            </p:cNvPr>
            <p:cNvSpPr>
              <a:spLocks noEditPoints="1"/>
            </p:cNvSpPr>
            <p:nvPr>
              <p:custDataLst>
                <p:tags r:id="rId29"/>
              </p:custDataLst>
            </p:nvPr>
          </p:nvSpPr>
          <p:spPr bwMode="gray">
            <a:xfrm>
              <a:off x="4280878" y="4945833"/>
              <a:ext cx="366835" cy="166400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0" name="Freeform 49">
              <a:extLst>
                <a:ext uri="{FF2B5EF4-FFF2-40B4-BE49-F238E27FC236}">
                  <a16:creationId xmlns:a16="http://schemas.microsoft.com/office/drawing/2014/main" id="{944490AF-8538-1546-AA9B-E2AF122928D9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4768731" y="4931967"/>
              <a:ext cx="296242" cy="195393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1" name="Freeform 50">
              <a:extLst>
                <a:ext uri="{FF2B5EF4-FFF2-40B4-BE49-F238E27FC236}">
                  <a16:creationId xmlns:a16="http://schemas.microsoft.com/office/drawing/2014/main" id="{1012BA7A-5F73-2341-A455-FBB4A85BD6FC}"/>
                </a:ext>
              </a:extLst>
            </p:cNvPr>
            <p:cNvSpPr>
              <a:spLocks noEditPoints="1"/>
            </p:cNvSpPr>
            <p:nvPr>
              <p:custDataLst>
                <p:tags r:id="rId31"/>
              </p:custDataLst>
            </p:nvPr>
          </p:nvSpPr>
          <p:spPr bwMode="gray">
            <a:xfrm>
              <a:off x="4777556" y="5354269"/>
              <a:ext cx="90764" cy="80679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2" name="Freeform 51">
              <a:extLst>
                <a:ext uri="{FF2B5EF4-FFF2-40B4-BE49-F238E27FC236}">
                  <a16:creationId xmlns:a16="http://schemas.microsoft.com/office/drawing/2014/main" id="{AAF3165F-DD41-A745-9A8C-D4D4019CD0DD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4863277" y="4856331"/>
              <a:ext cx="327757" cy="220605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3" name="Freeform 53">
              <a:extLst>
                <a:ext uri="{FF2B5EF4-FFF2-40B4-BE49-F238E27FC236}">
                  <a16:creationId xmlns:a16="http://schemas.microsoft.com/office/drawing/2014/main" id="{E90CC07B-45D8-3642-942F-CC0F9D3F6185}"/>
                </a:ext>
              </a:extLst>
            </p:cNvPr>
            <p:cNvSpPr>
              <a:spLocks noEditPoints="1"/>
            </p:cNvSpPr>
            <p:nvPr>
              <p:custDataLst>
                <p:tags r:id="rId33"/>
              </p:custDataLst>
            </p:nvPr>
          </p:nvSpPr>
          <p:spPr bwMode="gray">
            <a:xfrm>
              <a:off x="4456101" y="5192911"/>
              <a:ext cx="15127" cy="3025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4" name="Freeform 54">
              <a:extLst>
                <a:ext uri="{FF2B5EF4-FFF2-40B4-BE49-F238E27FC236}">
                  <a16:creationId xmlns:a16="http://schemas.microsoft.com/office/drawing/2014/main" id="{560963BC-7A9E-7144-BC73-DBA455B0ACCC}"/>
                </a:ext>
              </a:extLst>
            </p:cNvPr>
            <p:cNvSpPr>
              <a:spLocks noEditPoints="1"/>
            </p:cNvSpPr>
            <p:nvPr>
              <p:custDataLst>
                <p:tags r:id="rId34"/>
              </p:custDataLst>
            </p:nvPr>
          </p:nvSpPr>
          <p:spPr bwMode="gray">
            <a:xfrm>
              <a:off x="4602331" y="5524451"/>
              <a:ext cx="230690" cy="161357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5" name="Freeform 83">
              <a:extLst>
                <a:ext uri="{FF2B5EF4-FFF2-40B4-BE49-F238E27FC236}">
                  <a16:creationId xmlns:a16="http://schemas.microsoft.com/office/drawing/2014/main" id="{DAFA441E-E957-8B4B-89FD-49C6DCA006EA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4220369" y="4891627"/>
              <a:ext cx="119757" cy="79418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6" name="Freeform 92">
              <a:extLst>
                <a:ext uri="{FF2B5EF4-FFF2-40B4-BE49-F238E27FC236}">
                  <a16:creationId xmlns:a16="http://schemas.microsoft.com/office/drawing/2014/main" id="{837FCF28-0ED4-ED48-A355-CF1D7B9C2959}"/>
                </a:ext>
              </a:extLst>
            </p:cNvPr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4169944" y="4955918"/>
              <a:ext cx="160096" cy="176485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7" name="Freeform 117">
              <a:extLst>
                <a:ext uri="{FF2B5EF4-FFF2-40B4-BE49-F238E27FC236}">
                  <a16:creationId xmlns:a16="http://schemas.microsoft.com/office/drawing/2014/main" id="{0901D4DB-9104-5A44-A0BC-CE47DB2A8B96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3626624" y="5076936"/>
              <a:ext cx="392048" cy="447514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8" name="Freeform 118">
              <a:extLst>
                <a:ext uri="{FF2B5EF4-FFF2-40B4-BE49-F238E27FC236}">
                  <a16:creationId xmlns:a16="http://schemas.microsoft.com/office/drawing/2014/main" id="{F8C663D9-4084-3440-A6CE-7271483FE5B6}"/>
                </a:ext>
              </a:extLst>
            </p:cNvPr>
            <p:cNvSpPr>
              <a:spLocks noEditPoints="1"/>
            </p:cNvSpPr>
            <p:nvPr>
              <p:custDataLst>
                <p:tags r:id="rId38"/>
              </p:custDataLst>
            </p:nvPr>
          </p:nvSpPr>
          <p:spPr bwMode="gray">
            <a:xfrm>
              <a:off x="4018672" y="6067771"/>
              <a:ext cx="231951" cy="31767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9" name="Freeform 119">
              <a:extLst>
                <a:ext uri="{FF2B5EF4-FFF2-40B4-BE49-F238E27FC236}">
                  <a16:creationId xmlns:a16="http://schemas.microsoft.com/office/drawing/2014/main" id="{C98FBB53-A3C3-C04F-9C53-1E381B8237E6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3808151" y="5675723"/>
              <a:ext cx="60509" cy="146230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0" name="Freeform 120">
              <a:extLst>
                <a:ext uri="{FF2B5EF4-FFF2-40B4-BE49-F238E27FC236}">
                  <a16:creationId xmlns:a16="http://schemas.microsoft.com/office/drawing/2014/main" id="{91C055C8-CE58-7B49-9E2F-82FE2F88121E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4174987" y="6380401"/>
              <a:ext cx="175224" cy="21556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1" name="Freeform 121">
              <a:extLst>
                <a:ext uri="{FF2B5EF4-FFF2-40B4-BE49-F238E27FC236}">
                  <a16:creationId xmlns:a16="http://schemas.microsoft.com/office/drawing/2014/main" id="{C7B79F78-822E-B244-B1AF-3CB48F68D14D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3687133" y="5615214"/>
              <a:ext cx="151273" cy="131103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2" name="Freeform 122">
              <a:extLst>
                <a:ext uri="{FF2B5EF4-FFF2-40B4-BE49-F238E27FC236}">
                  <a16:creationId xmlns:a16="http://schemas.microsoft.com/office/drawing/2014/main" id="{A1BBBE44-6951-1A42-A1BB-4EAEC589ABD8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4345168" y="6018608"/>
              <a:ext cx="35297" cy="49163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3" name="Freeform 123">
              <a:extLst>
                <a:ext uri="{FF2B5EF4-FFF2-40B4-BE49-F238E27FC236}">
                  <a16:creationId xmlns:a16="http://schemas.microsoft.com/office/drawing/2014/main" id="{E0FDE1FD-3653-3641-9F08-88A91753A86F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3953120" y="5660596"/>
              <a:ext cx="151273" cy="267248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4" name="Freeform 124">
              <a:extLst>
                <a:ext uri="{FF2B5EF4-FFF2-40B4-BE49-F238E27FC236}">
                  <a16:creationId xmlns:a16="http://schemas.microsoft.com/office/drawing/2014/main" id="{F8E26D5D-806A-0E4F-A511-F8EB192DEA48}"/>
                </a:ext>
              </a:extLst>
            </p:cNvPr>
            <p:cNvSpPr>
              <a:spLocks noEditPoints="1"/>
            </p:cNvSpPr>
            <p:nvPr>
              <p:custDataLst>
                <p:tags r:id="rId44"/>
              </p:custDataLst>
            </p:nvPr>
          </p:nvSpPr>
          <p:spPr bwMode="gray">
            <a:xfrm>
              <a:off x="3310212" y="5564790"/>
              <a:ext cx="50424" cy="5546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5" name="Freeform 125">
              <a:extLst>
                <a:ext uri="{FF2B5EF4-FFF2-40B4-BE49-F238E27FC236}">
                  <a16:creationId xmlns:a16="http://schemas.microsoft.com/office/drawing/2014/main" id="{2572341E-4BB4-0044-BAA3-C57AA62F6176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4069096" y="5711020"/>
              <a:ext cx="247078" cy="201697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6" name="Freeform 126">
              <a:extLst>
                <a:ext uri="{FF2B5EF4-FFF2-40B4-BE49-F238E27FC236}">
                  <a16:creationId xmlns:a16="http://schemas.microsoft.com/office/drawing/2014/main" id="{0D647DA7-7558-0F46-87B8-D074123EB371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4048926" y="5419820"/>
              <a:ext cx="201697" cy="371878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7" name="Freeform 127">
              <a:extLst>
                <a:ext uri="{FF2B5EF4-FFF2-40B4-BE49-F238E27FC236}">
                  <a16:creationId xmlns:a16="http://schemas.microsoft.com/office/drawing/2014/main" id="{A5FE9161-6526-E949-B752-5A47BD2C1C5B}"/>
                </a:ext>
              </a:extLst>
            </p:cNvPr>
            <p:cNvSpPr>
              <a:spLocks noEditPoints="1"/>
            </p:cNvSpPr>
            <p:nvPr>
              <p:custDataLst>
                <p:tags r:id="rId47"/>
              </p:custDataLst>
            </p:nvPr>
          </p:nvSpPr>
          <p:spPr bwMode="gray">
            <a:xfrm>
              <a:off x="4617458" y="6229128"/>
              <a:ext cx="25212" cy="20170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8" name="Freeform 128">
              <a:extLst>
                <a:ext uri="{FF2B5EF4-FFF2-40B4-BE49-F238E27FC236}">
                  <a16:creationId xmlns:a16="http://schemas.microsoft.com/office/drawing/2014/main" id="{BC0E46B2-A59B-1F42-8B54-8FA34DFED3FF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4003545" y="5877420"/>
              <a:ext cx="146230" cy="200436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9" name="Freeform 129">
              <a:extLst>
                <a:ext uri="{FF2B5EF4-FFF2-40B4-BE49-F238E27FC236}">
                  <a16:creationId xmlns:a16="http://schemas.microsoft.com/office/drawing/2014/main" id="{22053432-C551-B245-A437-5C2A3A70DA84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4023714" y="5842123"/>
              <a:ext cx="366835" cy="432387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0" name="Freeform 130">
              <a:extLst>
                <a:ext uri="{FF2B5EF4-FFF2-40B4-BE49-F238E27FC236}">
                  <a16:creationId xmlns:a16="http://schemas.microsoft.com/office/drawing/2014/main" id="{AF2EA6B9-19AC-B34A-A2D7-5EF66C04011E}"/>
                </a:ext>
              </a:extLst>
            </p:cNvPr>
            <p:cNvSpPr>
              <a:spLocks noEditPoints="1"/>
            </p:cNvSpPr>
            <p:nvPr>
              <p:custDataLst>
                <p:tags r:id="rId50"/>
              </p:custDataLst>
            </p:nvPr>
          </p:nvSpPr>
          <p:spPr bwMode="gray">
            <a:xfrm>
              <a:off x="3626624" y="5716063"/>
              <a:ext cx="121018" cy="151272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1" name="Freeform 131">
              <a:extLst>
                <a:ext uri="{FF2B5EF4-FFF2-40B4-BE49-F238E27FC236}">
                  <a16:creationId xmlns:a16="http://schemas.microsoft.com/office/drawing/2014/main" id="{1A779704-B9CB-1841-B31F-FE9B40D849E0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4587204" y="5670681"/>
              <a:ext cx="35297" cy="40339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2" name="Freeform 132">
              <a:extLst>
                <a:ext uri="{FF2B5EF4-FFF2-40B4-BE49-F238E27FC236}">
                  <a16:creationId xmlns:a16="http://schemas.microsoft.com/office/drawing/2014/main" id="{5C32F717-37CD-B94A-8156-46948DC37866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4265750" y="5218124"/>
              <a:ext cx="230690" cy="231951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3" name="Freeform 133">
              <a:extLst>
                <a:ext uri="{FF2B5EF4-FFF2-40B4-BE49-F238E27FC236}">
                  <a16:creationId xmlns:a16="http://schemas.microsoft.com/office/drawing/2014/main" id="{AE499FCA-528A-3041-BA0E-BF4FA834B285}"/>
                </a:ext>
              </a:extLst>
            </p:cNvPr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gray">
            <a:xfrm>
              <a:off x="3953120" y="5877420"/>
              <a:ext cx="55467" cy="65551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4" name="Freeform 134">
              <a:extLst>
                <a:ext uri="{FF2B5EF4-FFF2-40B4-BE49-F238E27FC236}">
                  <a16:creationId xmlns:a16="http://schemas.microsoft.com/office/drawing/2014/main" id="{78F55970-34E4-134F-AB86-F799A64BF9B9}"/>
                </a:ext>
              </a:extLst>
            </p:cNvPr>
            <p:cNvSpPr>
              <a:spLocks noEditPoints="1"/>
            </p:cNvSpPr>
            <p:nvPr>
              <p:custDataLst>
                <p:tags r:id="rId54"/>
              </p:custDataLst>
            </p:nvPr>
          </p:nvSpPr>
          <p:spPr bwMode="gray">
            <a:xfrm>
              <a:off x="4486356" y="5544620"/>
              <a:ext cx="131103" cy="136145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5" name="Freeform 135">
              <a:extLst>
                <a:ext uri="{FF2B5EF4-FFF2-40B4-BE49-F238E27FC236}">
                  <a16:creationId xmlns:a16="http://schemas.microsoft.com/office/drawing/2014/main" id="{BF183FC8-3A06-7E44-874C-C6D308DDB625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4420804" y="5620257"/>
              <a:ext cx="287418" cy="267248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solidFill>
              <a:srgbClr val="92D05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6" name="Freeform 136">
              <a:extLst>
                <a:ext uri="{FF2B5EF4-FFF2-40B4-BE49-F238E27FC236}">
                  <a16:creationId xmlns:a16="http://schemas.microsoft.com/office/drawing/2014/main" id="{FF736680-DE14-9741-906F-EB10DAB3EFA9}"/>
                </a:ext>
              </a:extLst>
            </p:cNvPr>
            <p:cNvSpPr>
              <a:spLocks noEditPoints="1"/>
            </p:cNvSpPr>
            <p:nvPr>
              <p:custDataLst>
                <p:tags r:id="rId56"/>
              </p:custDataLst>
            </p:nvPr>
          </p:nvSpPr>
          <p:spPr bwMode="gray">
            <a:xfrm>
              <a:off x="3958163" y="5912717"/>
              <a:ext cx="110933" cy="139927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7" name="Freeform 137">
              <a:extLst>
                <a:ext uri="{FF2B5EF4-FFF2-40B4-BE49-F238E27FC236}">
                  <a16:creationId xmlns:a16="http://schemas.microsoft.com/office/drawing/2014/main" id="{4986BC16-B681-4342-A590-BD9B07EE5DD7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3732514" y="5705978"/>
              <a:ext cx="85721" cy="151272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8" name="Freeform 138">
              <a:extLst>
                <a:ext uri="{FF2B5EF4-FFF2-40B4-BE49-F238E27FC236}">
                  <a16:creationId xmlns:a16="http://schemas.microsoft.com/office/drawing/2014/main" id="{EAA31845-13E8-6447-9AA0-9E1123509648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3505605" y="5670681"/>
              <a:ext cx="141188" cy="131103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9" name="Freeform 139">
              <a:extLst>
                <a:ext uri="{FF2B5EF4-FFF2-40B4-BE49-F238E27FC236}">
                  <a16:creationId xmlns:a16="http://schemas.microsoft.com/office/drawing/2014/main" id="{5671FC2F-61FC-8342-A2CA-43CE56E1A475}"/>
                </a:ext>
              </a:extLst>
            </p:cNvPr>
            <p:cNvSpPr>
              <a:spLocks noEditPoints="1"/>
            </p:cNvSpPr>
            <p:nvPr>
              <p:custDataLst>
                <p:tags r:id="rId59"/>
              </p:custDataLst>
            </p:nvPr>
          </p:nvSpPr>
          <p:spPr bwMode="gray">
            <a:xfrm>
              <a:off x="3475351" y="5670681"/>
              <a:ext cx="55467" cy="40339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0" name="Freeform 140">
              <a:extLst>
                <a:ext uri="{FF2B5EF4-FFF2-40B4-BE49-F238E27FC236}">
                  <a16:creationId xmlns:a16="http://schemas.microsoft.com/office/drawing/2014/main" id="{9C469643-C12D-6D43-9D9B-B12C4D9B5714}"/>
                </a:ext>
              </a:extLst>
            </p:cNvPr>
            <p:cNvSpPr>
              <a:spLocks noEditPoints="1"/>
            </p:cNvSpPr>
            <p:nvPr>
              <p:custDataLst>
                <p:tags r:id="rId60"/>
              </p:custDataLst>
            </p:nvPr>
          </p:nvSpPr>
          <p:spPr bwMode="gray">
            <a:xfrm>
              <a:off x="4440974" y="5857250"/>
              <a:ext cx="151273" cy="21556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1" name="Freeform 141">
              <a:extLst>
                <a:ext uri="{FF2B5EF4-FFF2-40B4-BE49-F238E27FC236}">
                  <a16:creationId xmlns:a16="http://schemas.microsoft.com/office/drawing/2014/main" id="{B0401843-1F42-F744-8EFC-B9B24E06F147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4311132" y="6636304"/>
              <a:ext cx="44121" cy="50424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2" name="Freeform 142">
              <a:extLst>
                <a:ext uri="{FF2B5EF4-FFF2-40B4-BE49-F238E27FC236}">
                  <a16:creationId xmlns:a16="http://schemas.microsoft.com/office/drawing/2014/main" id="{66B54812-8376-0F41-9668-807C661F240C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3571157" y="5766487"/>
              <a:ext cx="80679" cy="100848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B4B4B4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3" name="Freeform 143">
              <a:extLst>
                <a:ext uri="{FF2B5EF4-FFF2-40B4-BE49-F238E27FC236}">
                  <a16:creationId xmlns:a16="http://schemas.microsoft.com/office/drawing/2014/main" id="{FCD14529-65CD-EE4B-B81D-4B310950A639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gray">
            <a:xfrm>
              <a:off x="3968248" y="5177784"/>
              <a:ext cx="302545" cy="331538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4" name="Freeform 144">
              <a:extLst>
                <a:ext uri="{FF2B5EF4-FFF2-40B4-BE49-F238E27FC236}">
                  <a16:creationId xmlns:a16="http://schemas.microsoft.com/office/drawing/2014/main" id="{581DC5E7-7A9D-5045-A84D-8CAFD1B6A215}"/>
                </a:ext>
              </a:extLst>
            </p:cNvPr>
            <p:cNvSpPr>
              <a:spLocks noEditPoints="1"/>
            </p:cNvSpPr>
            <p:nvPr>
              <p:custDataLst>
                <p:tags r:id="rId64"/>
              </p:custDataLst>
            </p:nvPr>
          </p:nvSpPr>
          <p:spPr bwMode="gray">
            <a:xfrm>
              <a:off x="4617458" y="6239213"/>
              <a:ext cx="141188" cy="32775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5" name="Freeform 145">
              <a:extLst>
                <a:ext uri="{FF2B5EF4-FFF2-40B4-BE49-F238E27FC236}">
                  <a16:creationId xmlns:a16="http://schemas.microsoft.com/office/drawing/2014/main" id="{7E4DA940-ED2A-DB41-96FB-4B6150BB6980}"/>
                </a:ext>
              </a:extLst>
            </p:cNvPr>
            <p:cNvSpPr>
              <a:spLocks noEditPoints="1"/>
            </p:cNvSpPr>
            <p:nvPr>
              <p:custDataLst>
                <p:tags r:id="rId65"/>
              </p:custDataLst>
            </p:nvPr>
          </p:nvSpPr>
          <p:spPr bwMode="gray">
            <a:xfrm>
              <a:off x="4415762" y="6183746"/>
              <a:ext cx="60509" cy="181527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6" name="Freeform 146">
              <a:extLst>
                <a:ext uri="{FF2B5EF4-FFF2-40B4-BE49-F238E27FC236}">
                  <a16:creationId xmlns:a16="http://schemas.microsoft.com/office/drawing/2014/main" id="{D54ED38B-FA6C-D244-9623-C0C626EEC4D6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gray">
            <a:xfrm>
              <a:off x="3561072" y="5379481"/>
              <a:ext cx="312630" cy="351708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7" name="Freeform 147">
              <a:extLst>
                <a:ext uri="{FF2B5EF4-FFF2-40B4-BE49-F238E27FC236}">
                  <a16:creationId xmlns:a16="http://schemas.microsoft.com/office/drawing/2014/main" id="{5282EED3-C7EC-314E-AC91-AA10823AADDF}"/>
                </a:ext>
              </a:extLst>
            </p:cNvPr>
            <p:cNvSpPr>
              <a:spLocks noEditPoints="1"/>
            </p:cNvSpPr>
            <p:nvPr>
              <p:custDataLst>
                <p:tags r:id="rId67"/>
              </p:custDataLst>
            </p:nvPr>
          </p:nvSpPr>
          <p:spPr bwMode="gray">
            <a:xfrm>
              <a:off x="3465266" y="5324014"/>
              <a:ext cx="236994" cy="301284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8" name="Freeform 148">
              <a:extLst>
                <a:ext uri="{FF2B5EF4-FFF2-40B4-BE49-F238E27FC236}">
                  <a16:creationId xmlns:a16="http://schemas.microsoft.com/office/drawing/2014/main" id="{A85F23BE-525B-424C-8A45-22F783A071B6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3540902" y="5107190"/>
              <a:ext cx="231951" cy="206739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9" name="Freeform 149">
              <a:extLst>
                <a:ext uri="{FF2B5EF4-FFF2-40B4-BE49-F238E27FC236}">
                  <a16:creationId xmlns:a16="http://schemas.microsoft.com/office/drawing/2014/main" id="{F4650F1E-9FFB-214E-A166-183A572EC075}"/>
                </a:ext>
              </a:extLst>
            </p:cNvPr>
            <p:cNvSpPr>
              <a:spLocks noEditPoints="1"/>
            </p:cNvSpPr>
            <p:nvPr>
              <p:custDataLst>
                <p:tags r:id="rId69"/>
              </p:custDataLst>
            </p:nvPr>
          </p:nvSpPr>
          <p:spPr bwMode="gray">
            <a:xfrm>
              <a:off x="4370380" y="6208958"/>
              <a:ext cx="201697" cy="387005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0" name="Freeform 150">
              <a:extLst>
                <a:ext uri="{FF2B5EF4-FFF2-40B4-BE49-F238E27FC236}">
                  <a16:creationId xmlns:a16="http://schemas.microsoft.com/office/drawing/2014/main" id="{563336FE-3A40-994C-960C-3FC4C408AEF3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4013629" y="6360231"/>
              <a:ext cx="262206" cy="286157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1" name="Freeform 151">
              <a:extLst>
                <a:ext uri="{FF2B5EF4-FFF2-40B4-BE49-F238E27FC236}">
                  <a16:creationId xmlns:a16="http://schemas.microsoft.com/office/drawing/2014/main" id="{AE15478D-973C-4C4F-BC3D-D14C898C80ED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gray">
            <a:xfrm>
              <a:off x="3798066" y="5414778"/>
              <a:ext cx="301284" cy="281114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2" name="Freeform 152">
              <a:extLst>
                <a:ext uri="{FF2B5EF4-FFF2-40B4-BE49-F238E27FC236}">
                  <a16:creationId xmlns:a16="http://schemas.microsoft.com/office/drawing/2014/main" id="{C2099645-FA65-AB45-8BE7-44B8B960B9B1}"/>
                </a:ext>
              </a:extLst>
            </p:cNvPr>
            <p:cNvSpPr>
              <a:spLocks noEditPoints="1"/>
            </p:cNvSpPr>
            <p:nvPr>
              <p:custDataLst>
                <p:tags r:id="rId72"/>
              </p:custDataLst>
            </p:nvPr>
          </p:nvSpPr>
          <p:spPr bwMode="gray">
            <a:xfrm>
              <a:off x="3843447" y="5645469"/>
              <a:ext cx="230690" cy="221866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solidFill>
              <a:srgbClr val="00B0F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3" name="Freeform 153">
              <a:extLst>
                <a:ext uri="{FF2B5EF4-FFF2-40B4-BE49-F238E27FC236}">
                  <a16:creationId xmlns:a16="http://schemas.microsoft.com/office/drawing/2014/main" id="{49CBBA7A-9673-A940-BED4-9F9C3FA02B0F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gray">
            <a:xfrm>
              <a:off x="4345168" y="5988353"/>
              <a:ext cx="35297" cy="403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4" name="Freeform 154">
              <a:extLst>
                <a:ext uri="{FF2B5EF4-FFF2-40B4-BE49-F238E27FC236}">
                  <a16:creationId xmlns:a16="http://schemas.microsoft.com/office/drawing/2014/main" id="{C608988A-F093-424F-98AA-7C6F1DB613B5}"/>
                </a:ext>
              </a:extLst>
            </p:cNvPr>
            <p:cNvSpPr>
              <a:spLocks noEditPoints="1"/>
            </p:cNvSpPr>
            <p:nvPr>
              <p:custDataLst>
                <p:tags r:id="rId74"/>
              </p:custDataLst>
            </p:nvPr>
          </p:nvSpPr>
          <p:spPr bwMode="gray">
            <a:xfrm>
              <a:off x="3917823" y="5927844"/>
              <a:ext cx="15127" cy="35297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5" name="Freeform 155">
              <a:extLst>
                <a:ext uri="{FF2B5EF4-FFF2-40B4-BE49-F238E27FC236}">
                  <a16:creationId xmlns:a16="http://schemas.microsoft.com/office/drawing/2014/main" id="{E2E2AF9C-2A21-D74B-9186-C2ACF9ACA97F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gray">
            <a:xfrm>
              <a:off x="3455181" y="5574875"/>
              <a:ext cx="121018" cy="105891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6" name="Freeform 156">
              <a:extLst>
                <a:ext uri="{FF2B5EF4-FFF2-40B4-BE49-F238E27FC236}">
                  <a16:creationId xmlns:a16="http://schemas.microsoft.com/office/drawing/2014/main" id="{64E25B3F-B111-4244-9BAC-8DCB95B9A70F}"/>
                </a:ext>
              </a:extLst>
            </p:cNvPr>
            <p:cNvSpPr>
              <a:spLocks noEditPoints="1"/>
            </p:cNvSpPr>
            <p:nvPr>
              <p:custDataLst>
                <p:tags r:id="rId76"/>
              </p:custDataLst>
            </p:nvPr>
          </p:nvSpPr>
          <p:spPr bwMode="gray">
            <a:xfrm>
              <a:off x="4672925" y="6067771"/>
              <a:ext cx="180266" cy="115976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7" name="Freeform 157">
              <a:extLst>
                <a:ext uri="{FF2B5EF4-FFF2-40B4-BE49-F238E27FC236}">
                  <a16:creationId xmlns:a16="http://schemas.microsoft.com/office/drawing/2014/main" id="{132CB308-C8B1-4949-8D4E-C1409DF68E91}"/>
                </a:ext>
              </a:extLst>
            </p:cNvPr>
            <p:cNvSpPr>
              <a:spLocks noEditPoints="1"/>
            </p:cNvSpPr>
            <p:nvPr>
              <p:custDataLst>
                <p:tags r:id="rId77"/>
              </p:custDataLst>
            </p:nvPr>
          </p:nvSpPr>
          <p:spPr bwMode="gray">
            <a:xfrm>
              <a:off x="3540902" y="5736232"/>
              <a:ext cx="55467" cy="70594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rgbClr val="92D05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8" name="Freeform 158">
              <a:extLst>
                <a:ext uri="{FF2B5EF4-FFF2-40B4-BE49-F238E27FC236}">
                  <a16:creationId xmlns:a16="http://schemas.microsoft.com/office/drawing/2014/main" id="{72F3BC4D-E6C7-3B4B-9EBF-78D592AAB87C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4577119" y="5685808"/>
              <a:ext cx="196654" cy="31767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9" name="Freeform 160">
              <a:extLst>
                <a:ext uri="{FF2B5EF4-FFF2-40B4-BE49-F238E27FC236}">
                  <a16:creationId xmlns:a16="http://schemas.microsoft.com/office/drawing/2014/main" id="{B2C1EEAA-4D36-B54F-B262-1D301362CC9A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gray">
            <a:xfrm>
              <a:off x="4380465" y="6566970"/>
              <a:ext cx="25212" cy="39078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0" name="Freeform 161">
              <a:extLst>
                <a:ext uri="{FF2B5EF4-FFF2-40B4-BE49-F238E27FC236}">
                  <a16:creationId xmlns:a16="http://schemas.microsoft.com/office/drawing/2014/main" id="{DDB2062F-0DEE-3F4C-93AE-14DC37168B5F}"/>
                </a:ext>
              </a:extLst>
            </p:cNvPr>
            <p:cNvSpPr>
              <a:spLocks noEditPoints="1"/>
            </p:cNvSpPr>
            <p:nvPr>
              <p:custDataLst>
                <p:tags r:id="rId80"/>
              </p:custDataLst>
            </p:nvPr>
          </p:nvSpPr>
          <p:spPr bwMode="gray">
            <a:xfrm>
              <a:off x="4350210" y="5988353"/>
              <a:ext cx="211782" cy="24581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1" name="Freeform 162">
              <a:extLst>
                <a:ext uri="{FF2B5EF4-FFF2-40B4-BE49-F238E27FC236}">
                  <a16:creationId xmlns:a16="http://schemas.microsoft.com/office/drawing/2014/main" id="{9E4614EA-76FC-864F-9797-F47D11B88ECB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3470309" y="5645469"/>
              <a:ext cx="60509" cy="1512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2" name="Freeform 163">
              <a:extLst>
                <a:ext uri="{FF2B5EF4-FFF2-40B4-BE49-F238E27FC236}">
                  <a16:creationId xmlns:a16="http://schemas.microsoft.com/office/drawing/2014/main" id="{8CDAC747-2A88-424E-95A4-0DCE6E9C4FBE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3787981" y="5705978"/>
              <a:ext cx="40339" cy="121018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3" name="Freeform 164">
              <a:extLst>
                <a:ext uri="{FF2B5EF4-FFF2-40B4-BE49-F238E27FC236}">
                  <a16:creationId xmlns:a16="http://schemas.microsoft.com/office/drawing/2014/main" id="{21426936-4673-624D-8D8F-E96A51A774E6}"/>
                </a:ext>
              </a:extLst>
            </p:cNvPr>
            <p:cNvSpPr>
              <a:spLocks noEditPoints="1"/>
            </p:cNvSpPr>
            <p:nvPr>
              <p:custDataLst>
                <p:tags r:id="rId83"/>
              </p:custDataLst>
            </p:nvPr>
          </p:nvSpPr>
          <p:spPr bwMode="gray">
            <a:xfrm>
              <a:off x="3932951" y="5071893"/>
              <a:ext cx="80679" cy="181527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4" name="Freeform 165">
              <a:extLst>
                <a:ext uri="{FF2B5EF4-FFF2-40B4-BE49-F238E27FC236}">
                  <a16:creationId xmlns:a16="http://schemas.microsoft.com/office/drawing/2014/main" id="{8FB0C4A0-9E60-6844-B24F-7A5F5E14DC46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>
              <a:off x="4355253" y="5867335"/>
              <a:ext cx="105891" cy="131103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5" name="Freeform 166">
              <a:extLst>
                <a:ext uri="{FF2B5EF4-FFF2-40B4-BE49-F238E27FC236}">
                  <a16:creationId xmlns:a16="http://schemas.microsoft.com/office/drawing/2014/main" id="{65E61BF1-5676-9E4D-9717-1C4629B0F745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3465266" y="5313929"/>
              <a:ext cx="161357" cy="166400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6" name="Freeform 167">
              <a:extLst>
                <a:ext uri="{FF2B5EF4-FFF2-40B4-BE49-F238E27FC236}">
                  <a16:creationId xmlns:a16="http://schemas.microsoft.com/office/drawing/2014/main" id="{2E7F6EAA-4E02-6A48-AE45-5809ABA06C0E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gray">
            <a:xfrm>
              <a:off x="4210284" y="6153492"/>
              <a:ext cx="225648" cy="231951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7" name="Freeform 168">
              <a:extLst>
                <a:ext uri="{FF2B5EF4-FFF2-40B4-BE49-F238E27FC236}">
                  <a16:creationId xmlns:a16="http://schemas.microsoft.com/office/drawing/2014/main" id="{D3874CB3-9388-0B4C-8766-D3E5BB47B05A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4275835" y="6324934"/>
              <a:ext cx="150012" cy="166400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8" name="Freeform 186">
              <a:extLst>
                <a:ext uri="{FF2B5EF4-FFF2-40B4-BE49-F238E27FC236}">
                  <a16:creationId xmlns:a16="http://schemas.microsoft.com/office/drawing/2014/main" id="{47D93B2F-2F99-0746-A696-9E11C0FACED5}"/>
                </a:ext>
              </a:extLst>
            </p:cNvPr>
            <p:cNvSpPr>
              <a:spLocks noEditPoints="1"/>
            </p:cNvSpPr>
            <p:nvPr>
              <p:custDataLst>
                <p:tags r:id="rId88"/>
              </p:custDataLst>
            </p:nvPr>
          </p:nvSpPr>
          <p:spPr bwMode="gray">
            <a:xfrm>
              <a:off x="4109435" y="6481249"/>
              <a:ext cx="407175" cy="634083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grpSp>
          <p:nvGrpSpPr>
            <p:cNvPr id="99" name="Group 464">
              <a:extLst>
                <a:ext uri="{FF2B5EF4-FFF2-40B4-BE49-F238E27FC236}">
                  <a16:creationId xmlns:a16="http://schemas.microsoft.com/office/drawing/2014/main" id="{7E97AA85-A640-224A-A79E-40EEEFA9D1BD}"/>
                </a:ext>
              </a:extLst>
            </p:cNvPr>
            <p:cNvGrpSpPr/>
            <p:nvPr>
              <p:custDataLst>
                <p:tags r:id="rId89"/>
              </p:custDataLst>
            </p:nvPr>
          </p:nvGrpSpPr>
          <p:grpSpPr bwMode="gray">
            <a:xfrm>
              <a:off x="4038844" y="4815990"/>
              <a:ext cx="935368" cy="1217743"/>
              <a:chOff x="4818063" y="3268663"/>
              <a:chExt cx="1177924" cy="1533525"/>
            </a:xfrm>
            <a:grpFill/>
          </p:grpSpPr>
          <p:grpSp>
            <p:nvGrpSpPr>
              <p:cNvPr id="105" name="Group 195">
                <a:extLst>
                  <a:ext uri="{FF2B5EF4-FFF2-40B4-BE49-F238E27FC236}">
                    <a16:creationId xmlns:a16="http://schemas.microsoft.com/office/drawing/2014/main" id="{8427B676-0F81-044B-A642-40E237F31F1C}"/>
                  </a:ext>
                </a:extLst>
              </p:cNvPr>
              <p:cNvGrpSpPr>
                <a:grpSpLocks/>
              </p:cNvGrpSpPr>
              <p:nvPr>
                <p:custDataLst>
                  <p:tags r:id="rId90"/>
                </p:custDataLst>
              </p:nvPr>
            </p:nvGrpSpPr>
            <p:grpSpPr bwMode="gray">
              <a:xfrm>
                <a:off x="4818063" y="4294188"/>
                <a:ext cx="525462" cy="508000"/>
                <a:chOff x="3035" y="2705"/>
                <a:chExt cx="331" cy="320"/>
              </a:xfrm>
              <a:grpFill/>
            </p:grpSpPr>
            <p:sp>
              <p:nvSpPr>
                <p:cNvPr id="108" name="Freeform 196">
                  <a:extLst>
                    <a:ext uri="{FF2B5EF4-FFF2-40B4-BE49-F238E27FC236}">
                      <a16:creationId xmlns:a16="http://schemas.microsoft.com/office/drawing/2014/main" id="{155AE840-48D1-BE4A-A714-738A939504B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35" y="2705"/>
                  <a:ext cx="36" cy="36"/>
                </a:xfrm>
                <a:custGeom>
                  <a:avLst/>
                  <a:gdLst/>
                  <a:ahLst/>
                  <a:cxnLst>
                    <a:cxn ang="0">
                      <a:pos x="4" y="8"/>
                    </a:cxn>
                    <a:cxn ang="0">
                      <a:pos x="4" y="8"/>
                    </a:cxn>
                    <a:cxn ang="0">
                      <a:pos x="0" y="8"/>
                    </a:cxn>
                    <a:cxn ang="0">
                      <a:pos x="4" y="4"/>
                    </a:cxn>
                    <a:cxn ang="0">
                      <a:pos x="8" y="0"/>
                    </a:cxn>
                    <a:cxn ang="0">
                      <a:pos x="12" y="0"/>
                    </a:cxn>
                    <a:cxn ang="0">
                      <a:pos x="12" y="4"/>
                    </a:cxn>
                    <a:cxn ang="0">
                      <a:pos x="16" y="4"/>
                    </a:cxn>
                    <a:cxn ang="0">
                      <a:pos x="20" y="8"/>
                    </a:cxn>
                    <a:cxn ang="0">
                      <a:pos x="20" y="8"/>
                    </a:cxn>
                    <a:cxn ang="0">
                      <a:pos x="20" y="8"/>
                    </a:cxn>
                    <a:cxn ang="0">
                      <a:pos x="20" y="12"/>
                    </a:cxn>
                    <a:cxn ang="0">
                      <a:pos x="20" y="16"/>
                    </a:cxn>
                    <a:cxn ang="0">
                      <a:pos x="20" y="16"/>
                    </a:cxn>
                    <a:cxn ang="0">
                      <a:pos x="24" y="16"/>
                    </a:cxn>
                    <a:cxn ang="0">
                      <a:pos x="24" y="16"/>
                    </a:cxn>
                    <a:cxn ang="0">
                      <a:pos x="28" y="16"/>
                    </a:cxn>
                    <a:cxn ang="0">
                      <a:pos x="32" y="20"/>
                    </a:cxn>
                    <a:cxn ang="0">
                      <a:pos x="36" y="20"/>
                    </a:cxn>
                    <a:cxn ang="0">
                      <a:pos x="36" y="20"/>
                    </a:cxn>
                    <a:cxn ang="0">
                      <a:pos x="36" y="20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2" y="28"/>
                    </a:cxn>
                    <a:cxn ang="0">
                      <a:pos x="32" y="28"/>
                    </a:cxn>
                    <a:cxn ang="0">
                      <a:pos x="28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32"/>
                    </a:cxn>
                    <a:cxn ang="0">
                      <a:pos x="24" y="32"/>
                    </a:cxn>
                    <a:cxn ang="0">
                      <a:pos x="20" y="32"/>
                    </a:cxn>
                    <a:cxn ang="0">
                      <a:pos x="20" y="32"/>
                    </a:cxn>
                    <a:cxn ang="0">
                      <a:pos x="20" y="32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16" y="36"/>
                    </a:cxn>
                    <a:cxn ang="0">
                      <a:pos x="16" y="36"/>
                    </a:cxn>
                    <a:cxn ang="0">
                      <a:pos x="16" y="32"/>
                    </a:cxn>
                    <a:cxn ang="0">
                      <a:pos x="12" y="24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36" h="36">
                      <a:moveTo>
                        <a:pt x="8" y="12"/>
                      </a:moveTo>
                      <a:lnTo>
                        <a:pt x="8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28"/>
                      </a:lnTo>
                      <a:lnTo>
                        <a:pt x="12" y="28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8" y="24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197">
                  <a:extLst>
                    <a:ext uri="{FF2B5EF4-FFF2-40B4-BE49-F238E27FC236}">
                      <a16:creationId xmlns:a16="http://schemas.microsoft.com/office/drawing/2014/main" id="{4582F396-9B92-C441-8C1D-3D3A92435D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18" y="2965"/>
                  <a:ext cx="48" cy="60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32" y="0"/>
                    </a:cxn>
                    <a:cxn ang="0">
                      <a:pos x="36" y="4"/>
                    </a:cxn>
                    <a:cxn ang="0">
                      <a:pos x="36" y="4"/>
                    </a:cxn>
                    <a:cxn ang="0">
                      <a:pos x="40" y="8"/>
                    </a:cxn>
                    <a:cxn ang="0">
                      <a:pos x="40" y="8"/>
                    </a:cxn>
                    <a:cxn ang="0">
                      <a:pos x="44" y="12"/>
                    </a:cxn>
                    <a:cxn ang="0">
                      <a:pos x="40" y="8"/>
                    </a:cxn>
                    <a:cxn ang="0">
                      <a:pos x="48" y="8"/>
                    </a:cxn>
                    <a:cxn ang="0">
                      <a:pos x="44" y="12"/>
                    </a:cxn>
                    <a:cxn ang="0">
                      <a:pos x="40" y="16"/>
                    </a:cxn>
                    <a:cxn ang="0">
                      <a:pos x="36" y="16"/>
                    </a:cxn>
                    <a:cxn ang="0">
                      <a:pos x="40" y="24"/>
                    </a:cxn>
                    <a:cxn ang="0">
                      <a:pos x="36" y="28"/>
                    </a:cxn>
                    <a:cxn ang="0">
                      <a:pos x="36" y="32"/>
                    </a:cxn>
                    <a:cxn ang="0">
                      <a:pos x="32" y="32"/>
                    </a:cxn>
                    <a:cxn ang="0">
                      <a:pos x="32" y="40"/>
                    </a:cxn>
                    <a:cxn ang="0">
                      <a:pos x="24" y="40"/>
                    </a:cxn>
                    <a:cxn ang="0">
                      <a:pos x="28" y="44"/>
                    </a:cxn>
                    <a:cxn ang="0">
                      <a:pos x="28" y="44"/>
                    </a:cxn>
                    <a:cxn ang="0">
                      <a:pos x="32" y="44"/>
                    </a:cxn>
                    <a:cxn ang="0">
                      <a:pos x="28" y="48"/>
                    </a:cxn>
                    <a:cxn ang="0">
                      <a:pos x="24" y="52"/>
                    </a:cxn>
                    <a:cxn ang="0">
                      <a:pos x="20" y="48"/>
                    </a:cxn>
                    <a:cxn ang="0">
                      <a:pos x="20" y="56"/>
                    </a:cxn>
                    <a:cxn ang="0">
                      <a:pos x="16" y="60"/>
                    </a:cxn>
                    <a:cxn ang="0">
                      <a:pos x="20" y="56"/>
                    </a:cxn>
                    <a:cxn ang="0">
                      <a:pos x="16" y="52"/>
                    </a:cxn>
                    <a:cxn ang="0">
                      <a:pos x="16" y="52"/>
                    </a:cxn>
                    <a:cxn ang="0">
                      <a:pos x="12" y="48"/>
                    </a:cxn>
                    <a:cxn ang="0">
                      <a:pos x="8" y="52"/>
                    </a:cxn>
                    <a:cxn ang="0">
                      <a:pos x="4" y="56"/>
                    </a:cxn>
                    <a:cxn ang="0">
                      <a:pos x="4" y="52"/>
                    </a:cxn>
                    <a:cxn ang="0">
                      <a:pos x="0" y="48"/>
                    </a:cxn>
                    <a:cxn ang="0">
                      <a:pos x="0" y="40"/>
                    </a:cxn>
                    <a:cxn ang="0">
                      <a:pos x="0" y="32"/>
                    </a:cxn>
                    <a:cxn ang="0">
                      <a:pos x="4" y="28"/>
                    </a:cxn>
                    <a:cxn ang="0">
                      <a:pos x="0" y="20"/>
                    </a:cxn>
                    <a:cxn ang="0">
                      <a:pos x="4" y="12"/>
                    </a:cxn>
                    <a:cxn ang="0">
                      <a:pos x="8" y="8"/>
                    </a:cxn>
                    <a:cxn ang="0">
                      <a:pos x="12" y="4"/>
                    </a:cxn>
                    <a:cxn ang="0">
                      <a:pos x="16" y="0"/>
                    </a:cxn>
                    <a:cxn ang="0">
                      <a:pos x="20" y="4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8" h="60">
                      <a:moveTo>
                        <a:pt x="24" y="0"/>
                      </a:moveTo>
                      <a:lnTo>
                        <a:pt x="28" y="0"/>
                      </a:lnTo>
                      <a:lnTo>
                        <a:pt x="28" y="4"/>
                      </a:lnTo>
                      <a:lnTo>
                        <a:pt x="32" y="0"/>
                      </a:lnTo>
                      <a:lnTo>
                        <a:pt x="32" y="4"/>
                      </a:lnTo>
                      <a:lnTo>
                        <a:pt x="36" y="4"/>
                      </a:lnTo>
                      <a:lnTo>
                        <a:pt x="36" y="0"/>
                      </a:lnTo>
                      <a:lnTo>
                        <a:pt x="36" y="4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40" y="12"/>
                      </a:lnTo>
                      <a:lnTo>
                        <a:pt x="44" y="12"/>
                      </a:lnTo>
                      <a:lnTo>
                        <a:pt x="40" y="12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44" y="12"/>
                      </a:lnTo>
                      <a:lnTo>
                        <a:pt x="44" y="16"/>
                      </a:lnTo>
                      <a:lnTo>
                        <a:pt x="40" y="16"/>
                      </a:lnTo>
                      <a:lnTo>
                        <a:pt x="40" y="12"/>
                      </a:lnTo>
                      <a:lnTo>
                        <a:pt x="36" y="16"/>
                      </a:lnTo>
                      <a:lnTo>
                        <a:pt x="36" y="20"/>
                      </a:lnTo>
                      <a:lnTo>
                        <a:pt x="40" y="24"/>
                      </a:lnTo>
                      <a:lnTo>
                        <a:pt x="36" y="24"/>
                      </a:lnTo>
                      <a:lnTo>
                        <a:pt x="36" y="28"/>
                      </a:lnTo>
                      <a:lnTo>
                        <a:pt x="32" y="32"/>
                      </a:lnTo>
                      <a:lnTo>
                        <a:pt x="36" y="32"/>
                      </a:lnTo>
                      <a:lnTo>
                        <a:pt x="36" y="36"/>
                      </a:lnTo>
                      <a:lnTo>
                        <a:pt x="32" y="32"/>
                      </a:lnTo>
                      <a:lnTo>
                        <a:pt x="32" y="36"/>
                      </a:lnTo>
                      <a:lnTo>
                        <a:pt x="32" y="40"/>
                      </a:lnTo>
                      <a:lnTo>
                        <a:pt x="28" y="40"/>
                      </a:lnTo>
                      <a:lnTo>
                        <a:pt x="24" y="40"/>
                      </a:lnTo>
                      <a:lnTo>
                        <a:pt x="28" y="40"/>
                      </a:lnTo>
                      <a:lnTo>
                        <a:pt x="28" y="44"/>
                      </a:lnTo>
                      <a:lnTo>
                        <a:pt x="24" y="44"/>
                      </a:lnTo>
                      <a:lnTo>
                        <a:pt x="28" y="44"/>
                      </a:lnTo>
                      <a:lnTo>
                        <a:pt x="32" y="48"/>
                      </a:lnTo>
                      <a:lnTo>
                        <a:pt x="32" y="44"/>
                      </a:lnTo>
                      <a:lnTo>
                        <a:pt x="32" y="48"/>
                      </a:lnTo>
                      <a:lnTo>
                        <a:pt x="28" y="48"/>
                      </a:lnTo>
                      <a:lnTo>
                        <a:pt x="28" y="52"/>
                      </a:lnTo>
                      <a:lnTo>
                        <a:pt x="24" y="52"/>
                      </a:lnTo>
                      <a:lnTo>
                        <a:pt x="24" y="48"/>
                      </a:lnTo>
                      <a:lnTo>
                        <a:pt x="20" y="48"/>
                      </a:lnTo>
                      <a:lnTo>
                        <a:pt x="20" y="52"/>
                      </a:lnTo>
                      <a:lnTo>
                        <a:pt x="20" y="56"/>
                      </a:lnTo>
                      <a:lnTo>
                        <a:pt x="20" y="60"/>
                      </a:lnTo>
                      <a:lnTo>
                        <a:pt x="16" y="60"/>
                      </a:lnTo>
                      <a:lnTo>
                        <a:pt x="20" y="60"/>
                      </a:lnTo>
                      <a:lnTo>
                        <a:pt x="20" y="56"/>
                      </a:lnTo>
                      <a:lnTo>
                        <a:pt x="20" y="52"/>
                      </a:lnTo>
                      <a:lnTo>
                        <a:pt x="16" y="52"/>
                      </a:lnTo>
                      <a:lnTo>
                        <a:pt x="16" y="48"/>
                      </a:lnTo>
                      <a:lnTo>
                        <a:pt x="16" y="52"/>
                      </a:lnTo>
                      <a:lnTo>
                        <a:pt x="12" y="52"/>
                      </a:lnTo>
                      <a:lnTo>
                        <a:pt x="12" y="48"/>
                      </a:lnTo>
                      <a:lnTo>
                        <a:pt x="8" y="48"/>
                      </a:lnTo>
                      <a:lnTo>
                        <a:pt x="8" y="52"/>
                      </a:lnTo>
                      <a:lnTo>
                        <a:pt x="4" y="52"/>
                      </a:lnTo>
                      <a:lnTo>
                        <a:pt x="4" y="56"/>
                      </a:lnTo>
                      <a:lnTo>
                        <a:pt x="0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4" y="32"/>
                      </a:lnTo>
                      <a:lnTo>
                        <a:pt x="4" y="28"/>
                      </a:lnTo>
                      <a:lnTo>
                        <a:pt x="4" y="24"/>
                      </a:lnTo>
                      <a:lnTo>
                        <a:pt x="0" y="20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0"/>
                      </a:lnTo>
                      <a:lnTo>
                        <a:pt x="16" y="4"/>
                      </a:lnTo>
                      <a:lnTo>
                        <a:pt x="20" y="4"/>
                      </a:lnTo>
                      <a:lnTo>
                        <a:pt x="24" y="4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6" name="Freeform 207">
                <a:extLst>
                  <a:ext uri="{FF2B5EF4-FFF2-40B4-BE49-F238E27FC236}">
                    <a16:creationId xmlns:a16="http://schemas.microsoft.com/office/drawing/2014/main" id="{584BFAAA-09D5-034D-AFD9-6DF152162FE4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5629275" y="3268663"/>
                <a:ext cx="195262" cy="347663"/>
              </a:xfrm>
              <a:custGeom>
                <a:avLst/>
                <a:gdLst/>
                <a:ahLst/>
                <a:cxnLst>
                  <a:cxn ang="0">
                    <a:pos x="40" y="155"/>
                  </a:cxn>
                  <a:cxn ang="0">
                    <a:pos x="52" y="143"/>
                  </a:cxn>
                  <a:cxn ang="0">
                    <a:pos x="48" y="139"/>
                  </a:cxn>
                  <a:cxn ang="0">
                    <a:pos x="40" y="127"/>
                  </a:cxn>
                  <a:cxn ang="0">
                    <a:pos x="32" y="115"/>
                  </a:cxn>
                  <a:cxn ang="0">
                    <a:pos x="24" y="99"/>
                  </a:cxn>
                  <a:cxn ang="0">
                    <a:pos x="16" y="88"/>
                  </a:cxn>
                  <a:cxn ang="0">
                    <a:pos x="12" y="80"/>
                  </a:cxn>
                  <a:cxn ang="0">
                    <a:pos x="12" y="68"/>
                  </a:cxn>
                  <a:cxn ang="0">
                    <a:pos x="12" y="72"/>
                  </a:cxn>
                  <a:cxn ang="0">
                    <a:pos x="4" y="56"/>
                  </a:cxn>
                  <a:cxn ang="0">
                    <a:pos x="8" y="48"/>
                  </a:cxn>
                  <a:cxn ang="0">
                    <a:pos x="12" y="32"/>
                  </a:cxn>
                  <a:cxn ang="0">
                    <a:pos x="16" y="28"/>
                  </a:cxn>
                  <a:cxn ang="0">
                    <a:pos x="32" y="24"/>
                  </a:cxn>
                  <a:cxn ang="0">
                    <a:pos x="40" y="16"/>
                  </a:cxn>
                  <a:cxn ang="0">
                    <a:pos x="48" y="12"/>
                  </a:cxn>
                  <a:cxn ang="0">
                    <a:pos x="64" y="4"/>
                  </a:cxn>
                  <a:cxn ang="0">
                    <a:pos x="75" y="4"/>
                  </a:cxn>
                  <a:cxn ang="0">
                    <a:pos x="91" y="4"/>
                  </a:cxn>
                  <a:cxn ang="0">
                    <a:pos x="99" y="16"/>
                  </a:cxn>
                  <a:cxn ang="0">
                    <a:pos x="95" y="36"/>
                  </a:cxn>
                  <a:cxn ang="0">
                    <a:pos x="83" y="36"/>
                  </a:cxn>
                  <a:cxn ang="0">
                    <a:pos x="68" y="40"/>
                  </a:cxn>
                  <a:cxn ang="0">
                    <a:pos x="68" y="52"/>
                  </a:cxn>
                  <a:cxn ang="0">
                    <a:pos x="68" y="56"/>
                  </a:cxn>
                  <a:cxn ang="0">
                    <a:pos x="56" y="60"/>
                  </a:cxn>
                  <a:cxn ang="0">
                    <a:pos x="68" y="72"/>
                  </a:cxn>
                  <a:cxn ang="0">
                    <a:pos x="79" y="88"/>
                  </a:cxn>
                  <a:cxn ang="0">
                    <a:pos x="91" y="92"/>
                  </a:cxn>
                  <a:cxn ang="0">
                    <a:pos x="87" y="107"/>
                  </a:cxn>
                  <a:cxn ang="0">
                    <a:pos x="87" y="119"/>
                  </a:cxn>
                  <a:cxn ang="0">
                    <a:pos x="91" y="119"/>
                  </a:cxn>
                  <a:cxn ang="0">
                    <a:pos x="95" y="107"/>
                  </a:cxn>
                  <a:cxn ang="0">
                    <a:pos x="111" y="111"/>
                  </a:cxn>
                  <a:cxn ang="0">
                    <a:pos x="119" y="123"/>
                  </a:cxn>
                  <a:cxn ang="0">
                    <a:pos x="115" y="135"/>
                  </a:cxn>
                  <a:cxn ang="0">
                    <a:pos x="107" y="131"/>
                  </a:cxn>
                  <a:cxn ang="0">
                    <a:pos x="95" y="131"/>
                  </a:cxn>
                  <a:cxn ang="0">
                    <a:pos x="95" y="135"/>
                  </a:cxn>
                  <a:cxn ang="0">
                    <a:pos x="91" y="151"/>
                  </a:cxn>
                  <a:cxn ang="0">
                    <a:pos x="95" y="151"/>
                  </a:cxn>
                  <a:cxn ang="0">
                    <a:pos x="107" y="155"/>
                  </a:cxn>
                  <a:cxn ang="0">
                    <a:pos x="99" y="159"/>
                  </a:cxn>
                  <a:cxn ang="0">
                    <a:pos x="107" y="167"/>
                  </a:cxn>
                  <a:cxn ang="0">
                    <a:pos x="107" y="183"/>
                  </a:cxn>
                  <a:cxn ang="0">
                    <a:pos x="111" y="203"/>
                  </a:cxn>
                  <a:cxn ang="0">
                    <a:pos x="103" y="215"/>
                  </a:cxn>
                  <a:cxn ang="0">
                    <a:pos x="107" y="211"/>
                  </a:cxn>
                  <a:cxn ang="0">
                    <a:pos x="87" y="215"/>
                  </a:cxn>
                  <a:cxn ang="0">
                    <a:pos x="72" y="215"/>
                  </a:cxn>
                  <a:cxn ang="0">
                    <a:pos x="56" y="203"/>
                  </a:cxn>
                  <a:cxn ang="0">
                    <a:pos x="36" y="199"/>
                  </a:cxn>
                  <a:cxn ang="0">
                    <a:pos x="32" y="175"/>
                  </a:cxn>
                  <a:cxn ang="0">
                    <a:pos x="36" y="171"/>
                  </a:cxn>
                </a:cxnLst>
                <a:rect l="0" t="0" r="r" b="b"/>
                <a:pathLst>
                  <a:path w="123" h="219">
                    <a:moveTo>
                      <a:pt x="40" y="167"/>
                    </a:moveTo>
                    <a:lnTo>
                      <a:pt x="40" y="163"/>
                    </a:lnTo>
                    <a:lnTo>
                      <a:pt x="44" y="163"/>
                    </a:lnTo>
                    <a:lnTo>
                      <a:pt x="40" y="159"/>
                    </a:lnTo>
                    <a:lnTo>
                      <a:pt x="40" y="155"/>
                    </a:lnTo>
                    <a:lnTo>
                      <a:pt x="44" y="151"/>
                    </a:lnTo>
                    <a:lnTo>
                      <a:pt x="44" y="147"/>
                    </a:lnTo>
                    <a:lnTo>
                      <a:pt x="44" y="143"/>
                    </a:lnTo>
                    <a:lnTo>
                      <a:pt x="48" y="143"/>
                    </a:lnTo>
                    <a:lnTo>
                      <a:pt x="52" y="143"/>
                    </a:lnTo>
                    <a:lnTo>
                      <a:pt x="56" y="143"/>
                    </a:lnTo>
                    <a:lnTo>
                      <a:pt x="56" y="139"/>
                    </a:lnTo>
                    <a:lnTo>
                      <a:pt x="52" y="135"/>
                    </a:lnTo>
                    <a:lnTo>
                      <a:pt x="48" y="135"/>
                    </a:lnTo>
                    <a:lnTo>
                      <a:pt x="48" y="139"/>
                    </a:lnTo>
                    <a:lnTo>
                      <a:pt x="48" y="135"/>
                    </a:lnTo>
                    <a:lnTo>
                      <a:pt x="44" y="135"/>
                    </a:lnTo>
                    <a:lnTo>
                      <a:pt x="44" y="131"/>
                    </a:lnTo>
                    <a:lnTo>
                      <a:pt x="40" y="131"/>
                    </a:lnTo>
                    <a:lnTo>
                      <a:pt x="40" y="127"/>
                    </a:lnTo>
                    <a:lnTo>
                      <a:pt x="40" y="123"/>
                    </a:lnTo>
                    <a:lnTo>
                      <a:pt x="36" y="123"/>
                    </a:lnTo>
                    <a:lnTo>
                      <a:pt x="36" y="119"/>
                    </a:lnTo>
                    <a:lnTo>
                      <a:pt x="36" y="115"/>
                    </a:lnTo>
                    <a:lnTo>
                      <a:pt x="32" y="115"/>
                    </a:lnTo>
                    <a:lnTo>
                      <a:pt x="32" y="111"/>
                    </a:lnTo>
                    <a:lnTo>
                      <a:pt x="28" y="111"/>
                    </a:lnTo>
                    <a:lnTo>
                      <a:pt x="28" y="107"/>
                    </a:lnTo>
                    <a:lnTo>
                      <a:pt x="24" y="107"/>
                    </a:lnTo>
                    <a:lnTo>
                      <a:pt x="24" y="99"/>
                    </a:lnTo>
                    <a:lnTo>
                      <a:pt x="20" y="99"/>
                    </a:lnTo>
                    <a:lnTo>
                      <a:pt x="20" y="96"/>
                    </a:lnTo>
                    <a:lnTo>
                      <a:pt x="16" y="96"/>
                    </a:lnTo>
                    <a:lnTo>
                      <a:pt x="16" y="92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72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32" y="28"/>
                    </a:lnTo>
                    <a:lnTo>
                      <a:pt x="32" y="24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5" y="0"/>
                    </a:lnTo>
                    <a:lnTo>
                      <a:pt x="75" y="4"/>
                    </a:lnTo>
                    <a:lnTo>
                      <a:pt x="79" y="4"/>
                    </a:lnTo>
                    <a:lnTo>
                      <a:pt x="83" y="4"/>
                    </a:lnTo>
                    <a:lnTo>
                      <a:pt x="87" y="4"/>
                    </a:lnTo>
                    <a:lnTo>
                      <a:pt x="87" y="0"/>
                    </a:lnTo>
                    <a:lnTo>
                      <a:pt x="91" y="4"/>
                    </a:lnTo>
                    <a:lnTo>
                      <a:pt x="95" y="4"/>
                    </a:lnTo>
                    <a:lnTo>
                      <a:pt x="99" y="4"/>
                    </a:lnTo>
                    <a:lnTo>
                      <a:pt x="99" y="8"/>
                    </a:lnTo>
                    <a:lnTo>
                      <a:pt x="95" y="12"/>
                    </a:lnTo>
                    <a:lnTo>
                      <a:pt x="99" y="16"/>
                    </a:lnTo>
                    <a:lnTo>
                      <a:pt x="99" y="20"/>
                    </a:lnTo>
                    <a:lnTo>
                      <a:pt x="95" y="24"/>
                    </a:lnTo>
                    <a:lnTo>
                      <a:pt x="95" y="28"/>
                    </a:lnTo>
                    <a:lnTo>
                      <a:pt x="91" y="32"/>
                    </a:lnTo>
                    <a:lnTo>
                      <a:pt x="95" y="36"/>
                    </a:lnTo>
                    <a:lnTo>
                      <a:pt x="99" y="36"/>
                    </a:lnTo>
                    <a:lnTo>
                      <a:pt x="95" y="36"/>
                    </a:lnTo>
                    <a:lnTo>
                      <a:pt x="91" y="36"/>
                    </a:lnTo>
                    <a:lnTo>
                      <a:pt x="87" y="36"/>
                    </a:lnTo>
                    <a:lnTo>
                      <a:pt x="83" y="36"/>
                    </a:lnTo>
                    <a:lnTo>
                      <a:pt x="79" y="36"/>
                    </a:lnTo>
                    <a:lnTo>
                      <a:pt x="75" y="36"/>
                    </a:lnTo>
                    <a:lnTo>
                      <a:pt x="72" y="36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8"/>
                    </a:lnTo>
                    <a:lnTo>
                      <a:pt x="68" y="48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5" y="52"/>
                    </a:lnTo>
                    <a:lnTo>
                      <a:pt x="75" y="56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8" y="68"/>
                    </a:lnTo>
                    <a:lnTo>
                      <a:pt x="68" y="72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2" y="84"/>
                    </a:lnTo>
                    <a:lnTo>
                      <a:pt x="75" y="84"/>
                    </a:lnTo>
                    <a:lnTo>
                      <a:pt x="79" y="88"/>
                    </a:lnTo>
                    <a:lnTo>
                      <a:pt x="79" y="92"/>
                    </a:lnTo>
                    <a:lnTo>
                      <a:pt x="79" y="88"/>
                    </a:lnTo>
                    <a:lnTo>
                      <a:pt x="83" y="88"/>
                    </a:lnTo>
                    <a:lnTo>
                      <a:pt x="87" y="92"/>
                    </a:lnTo>
                    <a:lnTo>
                      <a:pt x="91" y="92"/>
                    </a:lnTo>
                    <a:lnTo>
                      <a:pt x="91" y="96"/>
                    </a:lnTo>
                    <a:lnTo>
                      <a:pt x="91" y="99"/>
                    </a:lnTo>
                    <a:lnTo>
                      <a:pt x="87" y="99"/>
                    </a:lnTo>
                    <a:lnTo>
                      <a:pt x="87" y="103"/>
                    </a:lnTo>
                    <a:lnTo>
                      <a:pt x="87" y="107"/>
                    </a:lnTo>
                    <a:lnTo>
                      <a:pt x="87" y="111"/>
                    </a:lnTo>
                    <a:lnTo>
                      <a:pt x="87" y="115"/>
                    </a:lnTo>
                    <a:lnTo>
                      <a:pt x="91" y="115"/>
                    </a:lnTo>
                    <a:lnTo>
                      <a:pt x="87" y="115"/>
                    </a:lnTo>
                    <a:lnTo>
                      <a:pt x="87" y="119"/>
                    </a:lnTo>
                    <a:lnTo>
                      <a:pt x="91" y="119"/>
                    </a:lnTo>
                    <a:lnTo>
                      <a:pt x="91" y="123"/>
                    </a:lnTo>
                    <a:lnTo>
                      <a:pt x="95" y="127"/>
                    </a:lnTo>
                    <a:lnTo>
                      <a:pt x="95" y="123"/>
                    </a:lnTo>
                    <a:lnTo>
                      <a:pt x="91" y="119"/>
                    </a:lnTo>
                    <a:lnTo>
                      <a:pt x="95" y="119"/>
                    </a:lnTo>
                    <a:lnTo>
                      <a:pt x="95" y="115"/>
                    </a:lnTo>
                    <a:lnTo>
                      <a:pt x="91" y="115"/>
                    </a:lnTo>
                    <a:lnTo>
                      <a:pt x="95" y="111"/>
                    </a:lnTo>
                    <a:lnTo>
                      <a:pt x="95" y="107"/>
                    </a:lnTo>
                    <a:lnTo>
                      <a:pt x="99" y="107"/>
                    </a:lnTo>
                    <a:lnTo>
                      <a:pt x="103" y="103"/>
                    </a:lnTo>
                    <a:lnTo>
                      <a:pt x="107" y="103"/>
                    </a:lnTo>
                    <a:lnTo>
                      <a:pt x="111" y="107"/>
                    </a:lnTo>
                    <a:lnTo>
                      <a:pt x="111" y="111"/>
                    </a:lnTo>
                    <a:lnTo>
                      <a:pt x="111" y="115"/>
                    </a:lnTo>
                    <a:lnTo>
                      <a:pt x="111" y="119"/>
                    </a:lnTo>
                    <a:lnTo>
                      <a:pt x="115" y="119"/>
                    </a:lnTo>
                    <a:lnTo>
                      <a:pt x="115" y="123"/>
                    </a:lnTo>
                    <a:lnTo>
                      <a:pt x="119" y="123"/>
                    </a:lnTo>
                    <a:lnTo>
                      <a:pt x="123" y="127"/>
                    </a:lnTo>
                    <a:lnTo>
                      <a:pt x="123" y="131"/>
                    </a:lnTo>
                    <a:lnTo>
                      <a:pt x="119" y="131"/>
                    </a:lnTo>
                    <a:lnTo>
                      <a:pt x="115" y="131"/>
                    </a:lnTo>
                    <a:lnTo>
                      <a:pt x="115" y="135"/>
                    </a:lnTo>
                    <a:lnTo>
                      <a:pt x="119" y="135"/>
                    </a:lnTo>
                    <a:lnTo>
                      <a:pt x="115" y="135"/>
                    </a:lnTo>
                    <a:lnTo>
                      <a:pt x="111" y="135"/>
                    </a:lnTo>
                    <a:lnTo>
                      <a:pt x="107" y="135"/>
                    </a:lnTo>
                    <a:lnTo>
                      <a:pt x="107" y="131"/>
                    </a:lnTo>
                    <a:lnTo>
                      <a:pt x="103" y="131"/>
                    </a:lnTo>
                    <a:lnTo>
                      <a:pt x="103" y="135"/>
                    </a:lnTo>
                    <a:lnTo>
                      <a:pt x="103" y="131"/>
                    </a:lnTo>
                    <a:lnTo>
                      <a:pt x="99" y="131"/>
                    </a:lnTo>
                    <a:lnTo>
                      <a:pt x="95" y="131"/>
                    </a:lnTo>
                    <a:lnTo>
                      <a:pt x="95" y="127"/>
                    </a:lnTo>
                    <a:lnTo>
                      <a:pt x="95" y="131"/>
                    </a:lnTo>
                    <a:lnTo>
                      <a:pt x="95" y="135"/>
                    </a:lnTo>
                    <a:lnTo>
                      <a:pt x="91" y="135"/>
                    </a:lnTo>
                    <a:lnTo>
                      <a:pt x="95" y="135"/>
                    </a:lnTo>
                    <a:lnTo>
                      <a:pt x="91" y="135"/>
                    </a:lnTo>
                    <a:lnTo>
                      <a:pt x="91" y="139"/>
                    </a:lnTo>
                    <a:lnTo>
                      <a:pt x="91" y="143"/>
                    </a:lnTo>
                    <a:lnTo>
                      <a:pt x="91" y="147"/>
                    </a:lnTo>
                    <a:lnTo>
                      <a:pt x="91" y="151"/>
                    </a:lnTo>
                    <a:lnTo>
                      <a:pt x="95" y="151"/>
                    </a:lnTo>
                    <a:lnTo>
                      <a:pt x="95" y="155"/>
                    </a:lnTo>
                    <a:lnTo>
                      <a:pt x="95" y="151"/>
                    </a:lnTo>
                    <a:lnTo>
                      <a:pt x="95" y="147"/>
                    </a:lnTo>
                    <a:lnTo>
                      <a:pt x="95" y="151"/>
                    </a:lnTo>
                    <a:lnTo>
                      <a:pt x="99" y="151"/>
                    </a:lnTo>
                    <a:lnTo>
                      <a:pt x="103" y="147"/>
                    </a:lnTo>
                    <a:lnTo>
                      <a:pt x="103" y="151"/>
                    </a:lnTo>
                    <a:lnTo>
                      <a:pt x="103" y="155"/>
                    </a:lnTo>
                    <a:lnTo>
                      <a:pt x="107" y="155"/>
                    </a:lnTo>
                    <a:lnTo>
                      <a:pt x="107" y="159"/>
                    </a:lnTo>
                    <a:lnTo>
                      <a:pt x="103" y="159"/>
                    </a:lnTo>
                    <a:lnTo>
                      <a:pt x="99" y="159"/>
                    </a:lnTo>
                    <a:lnTo>
                      <a:pt x="99" y="155"/>
                    </a:lnTo>
                    <a:lnTo>
                      <a:pt x="99" y="159"/>
                    </a:lnTo>
                    <a:lnTo>
                      <a:pt x="99" y="163"/>
                    </a:lnTo>
                    <a:lnTo>
                      <a:pt x="99" y="167"/>
                    </a:lnTo>
                    <a:lnTo>
                      <a:pt x="99" y="163"/>
                    </a:lnTo>
                    <a:lnTo>
                      <a:pt x="103" y="163"/>
                    </a:lnTo>
                    <a:lnTo>
                      <a:pt x="107" y="167"/>
                    </a:lnTo>
                    <a:lnTo>
                      <a:pt x="111" y="171"/>
                    </a:lnTo>
                    <a:lnTo>
                      <a:pt x="111" y="175"/>
                    </a:lnTo>
                    <a:lnTo>
                      <a:pt x="107" y="175"/>
                    </a:lnTo>
                    <a:lnTo>
                      <a:pt x="107" y="179"/>
                    </a:lnTo>
                    <a:lnTo>
                      <a:pt x="107" y="183"/>
                    </a:lnTo>
                    <a:lnTo>
                      <a:pt x="107" y="187"/>
                    </a:lnTo>
                    <a:lnTo>
                      <a:pt x="107" y="191"/>
                    </a:lnTo>
                    <a:lnTo>
                      <a:pt x="107" y="195"/>
                    </a:lnTo>
                    <a:lnTo>
                      <a:pt x="107" y="199"/>
                    </a:lnTo>
                    <a:lnTo>
                      <a:pt x="111" y="203"/>
                    </a:lnTo>
                    <a:lnTo>
                      <a:pt x="111" y="207"/>
                    </a:lnTo>
                    <a:lnTo>
                      <a:pt x="111" y="211"/>
                    </a:lnTo>
                    <a:lnTo>
                      <a:pt x="111" y="215"/>
                    </a:lnTo>
                    <a:lnTo>
                      <a:pt x="107" y="215"/>
                    </a:lnTo>
                    <a:lnTo>
                      <a:pt x="103" y="215"/>
                    </a:lnTo>
                    <a:lnTo>
                      <a:pt x="107" y="211"/>
                    </a:lnTo>
                    <a:lnTo>
                      <a:pt x="107" y="215"/>
                    </a:lnTo>
                    <a:lnTo>
                      <a:pt x="107" y="211"/>
                    </a:lnTo>
                    <a:lnTo>
                      <a:pt x="111" y="211"/>
                    </a:lnTo>
                    <a:lnTo>
                      <a:pt x="107" y="211"/>
                    </a:lnTo>
                    <a:lnTo>
                      <a:pt x="103" y="211"/>
                    </a:lnTo>
                    <a:lnTo>
                      <a:pt x="99" y="215"/>
                    </a:lnTo>
                    <a:lnTo>
                      <a:pt x="95" y="215"/>
                    </a:lnTo>
                    <a:lnTo>
                      <a:pt x="91" y="215"/>
                    </a:lnTo>
                    <a:lnTo>
                      <a:pt x="87" y="215"/>
                    </a:lnTo>
                    <a:lnTo>
                      <a:pt x="83" y="219"/>
                    </a:lnTo>
                    <a:lnTo>
                      <a:pt x="79" y="219"/>
                    </a:lnTo>
                    <a:lnTo>
                      <a:pt x="75" y="219"/>
                    </a:lnTo>
                    <a:lnTo>
                      <a:pt x="72" y="219"/>
                    </a:lnTo>
                    <a:lnTo>
                      <a:pt x="72" y="215"/>
                    </a:lnTo>
                    <a:lnTo>
                      <a:pt x="68" y="215"/>
                    </a:lnTo>
                    <a:lnTo>
                      <a:pt x="64" y="215"/>
                    </a:lnTo>
                    <a:lnTo>
                      <a:pt x="60" y="211"/>
                    </a:lnTo>
                    <a:lnTo>
                      <a:pt x="56" y="207"/>
                    </a:lnTo>
                    <a:lnTo>
                      <a:pt x="56" y="203"/>
                    </a:lnTo>
                    <a:lnTo>
                      <a:pt x="52" y="203"/>
                    </a:lnTo>
                    <a:lnTo>
                      <a:pt x="48" y="203"/>
                    </a:lnTo>
                    <a:lnTo>
                      <a:pt x="44" y="199"/>
                    </a:lnTo>
                    <a:lnTo>
                      <a:pt x="40" y="199"/>
                    </a:lnTo>
                    <a:lnTo>
                      <a:pt x="36" y="199"/>
                    </a:lnTo>
                    <a:lnTo>
                      <a:pt x="36" y="195"/>
                    </a:lnTo>
                    <a:lnTo>
                      <a:pt x="36" y="191"/>
                    </a:lnTo>
                    <a:lnTo>
                      <a:pt x="32" y="183"/>
                    </a:lnTo>
                    <a:lnTo>
                      <a:pt x="32" y="179"/>
                    </a:lnTo>
                    <a:lnTo>
                      <a:pt x="32" y="175"/>
                    </a:lnTo>
                    <a:lnTo>
                      <a:pt x="36" y="171"/>
                    </a:lnTo>
                    <a:lnTo>
                      <a:pt x="36" y="167"/>
                    </a:lnTo>
                    <a:lnTo>
                      <a:pt x="40" y="167"/>
                    </a:lnTo>
                    <a:lnTo>
                      <a:pt x="36" y="167"/>
                    </a:lnTo>
                    <a:lnTo>
                      <a:pt x="36" y="171"/>
                    </a:lnTo>
                    <a:lnTo>
                      <a:pt x="40" y="171"/>
                    </a:lnTo>
                    <a:lnTo>
                      <a:pt x="40" y="167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07" name="Freeform 208">
                <a:extLst>
                  <a:ext uri="{FF2B5EF4-FFF2-40B4-BE49-F238E27FC236}">
                    <a16:creationId xmlns:a16="http://schemas.microsoft.com/office/drawing/2014/main" id="{EE0BD18F-62D4-D64F-83A9-9C8CB5141389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5907087" y="3275013"/>
                <a:ext cx="88900" cy="120650"/>
              </a:xfrm>
              <a:custGeom>
                <a:avLst/>
                <a:gdLst/>
                <a:ahLst/>
                <a:cxnLst>
                  <a:cxn ang="0">
                    <a:pos x="44" y="20"/>
                  </a:cxn>
                  <a:cxn ang="0">
                    <a:pos x="40" y="24"/>
                  </a:cxn>
                  <a:cxn ang="0">
                    <a:pos x="44" y="28"/>
                  </a:cxn>
                  <a:cxn ang="0">
                    <a:pos x="48" y="24"/>
                  </a:cxn>
                  <a:cxn ang="0">
                    <a:pos x="44" y="28"/>
                  </a:cxn>
                  <a:cxn ang="0">
                    <a:pos x="48" y="36"/>
                  </a:cxn>
                  <a:cxn ang="0">
                    <a:pos x="56" y="36"/>
                  </a:cxn>
                  <a:cxn ang="0">
                    <a:pos x="52" y="40"/>
                  </a:cxn>
                  <a:cxn ang="0">
                    <a:pos x="52" y="44"/>
                  </a:cxn>
                  <a:cxn ang="0">
                    <a:pos x="48" y="48"/>
                  </a:cxn>
                  <a:cxn ang="0">
                    <a:pos x="44" y="52"/>
                  </a:cxn>
                  <a:cxn ang="0">
                    <a:pos x="44" y="52"/>
                  </a:cxn>
                  <a:cxn ang="0">
                    <a:pos x="44" y="60"/>
                  </a:cxn>
                  <a:cxn ang="0">
                    <a:pos x="40" y="56"/>
                  </a:cxn>
                  <a:cxn ang="0">
                    <a:pos x="36" y="60"/>
                  </a:cxn>
                  <a:cxn ang="0">
                    <a:pos x="40" y="64"/>
                  </a:cxn>
                  <a:cxn ang="0">
                    <a:pos x="44" y="68"/>
                  </a:cxn>
                  <a:cxn ang="0">
                    <a:pos x="36" y="72"/>
                  </a:cxn>
                  <a:cxn ang="0">
                    <a:pos x="32" y="68"/>
                  </a:cxn>
                  <a:cxn ang="0">
                    <a:pos x="28" y="72"/>
                  </a:cxn>
                  <a:cxn ang="0">
                    <a:pos x="24" y="76"/>
                  </a:cxn>
                  <a:cxn ang="0">
                    <a:pos x="20" y="72"/>
                  </a:cxn>
                  <a:cxn ang="0">
                    <a:pos x="20" y="68"/>
                  </a:cxn>
                  <a:cxn ang="0">
                    <a:pos x="16" y="64"/>
                  </a:cxn>
                  <a:cxn ang="0">
                    <a:pos x="12" y="68"/>
                  </a:cxn>
                  <a:cxn ang="0">
                    <a:pos x="8" y="64"/>
                  </a:cxn>
                  <a:cxn ang="0">
                    <a:pos x="8" y="64"/>
                  </a:cxn>
                  <a:cxn ang="0">
                    <a:pos x="12" y="68"/>
                  </a:cxn>
                  <a:cxn ang="0">
                    <a:pos x="4" y="68"/>
                  </a:cxn>
                  <a:cxn ang="0">
                    <a:pos x="0" y="64"/>
                  </a:cxn>
                  <a:cxn ang="0">
                    <a:pos x="0" y="56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4" y="32"/>
                  </a:cxn>
                  <a:cxn ang="0">
                    <a:pos x="4" y="24"/>
                  </a:cxn>
                  <a:cxn ang="0">
                    <a:pos x="8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20" y="24"/>
                  </a:cxn>
                  <a:cxn ang="0">
                    <a:pos x="20" y="16"/>
                  </a:cxn>
                  <a:cxn ang="0">
                    <a:pos x="24" y="12"/>
                  </a:cxn>
                  <a:cxn ang="0">
                    <a:pos x="28" y="16"/>
                  </a:cxn>
                  <a:cxn ang="0">
                    <a:pos x="24" y="12"/>
                  </a:cxn>
                  <a:cxn ang="0">
                    <a:pos x="24" y="4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36" y="0"/>
                  </a:cxn>
                  <a:cxn ang="0">
                    <a:pos x="40" y="4"/>
                  </a:cxn>
                  <a:cxn ang="0">
                    <a:pos x="44" y="8"/>
                  </a:cxn>
                  <a:cxn ang="0">
                    <a:pos x="48" y="4"/>
                  </a:cxn>
                  <a:cxn ang="0">
                    <a:pos x="52" y="0"/>
                  </a:cxn>
                  <a:cxn ang="0">
                    <a:pos x="52" y="8"/>
                  </a:cxn>
                  <a:cxn ang="0">
                    <a:pos x="44" y="12"/>
                  </a:cxn>
                  <a:cxn ang="0">
                    <a:pos x="40" y="16"/>
                  </a:cxn>
                </a:cxnLst>
                <a:rect l="0" t="0" r="r" b="b"/>
                <a:pathLst>
                  <a:path w="56" h="76">
                    <a:moveTo>
                      <a:pt x="40" y="16"/>
                    </a:moveTo>
                    <a:lnTo>
                      <a:pt x="44" y="20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40" y="28"/>
                    </a:lnTo>
                    <a:lnTo>
                      <a:pt x="44" y="28"/>
                    </a:lnTo>
                    <a:lnTo>
                      <a:pt x="44" y="24"/>
                    </a:lnTo>
                    <a:lnTo>
                      <a:pt x="48" y="24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8" y="32"/>
                    </a:lnTo>
                    <a:lnTo>
                      <a:pt x="48" y="36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2" y="44"/>
                    </a:lnTo>
                    <a:lnTo>
                      <a:pt x="48" y="44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0" y="68"/>
                    </a:lnTo>
                    <a:lnTo>
                      <a:pt x="36" y="72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28" y="72"/>
                    </a:lnTo>
                    <a:lnTo>
                      <a:pt x="24" y="72"/>
                    </a:lnTo>
                    <a:lnTo>
                      <a:pt x="24" y="76"/>
                    </a:lnTo>
                    <a:lnTo>
                      <a:pt x="24" y="72"/>
                    </a:lnTo>
                    <a:lnTo>
                      <a:pt x="20" y="72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</p:grpSp>
        <p:sp>
          <p:nvSpPr>
            <p:cNvPr id="100" name="Freeform 198">
              <a:extLst>
                <a:ext uri="{FF2B5EF4-FFF2-40B4-BE49-F238E27FC236}">
                  <a16:creationId xmlns:a16="http://schemas.microsoft.com/office/drawing/2014/main" id="{7C99223B-6EB9-AE42-ABB0-D696E91263C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4053" y="5158875"/>
              <a:ext cx="5042" cy="504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1" name="Freeform 265">
              <a:extLst>
                <a:ext uri="{FF2B5EF4-FFF2-40B4-BE49-F238E27FC236}">
                  <a16:creationId xmlns:a16="http://schemas.microsoft.com/office/drawing/2014/main" id="{26FA9CEC-86A4-6248-AE78-E4A9943A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906" y="6185007"/>
              <a:ext cx="1261" cy="504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2" name="Freeform 336">
              <a:extLst>
                <a:ext uri="{FF2B5EF4-FFF2-40B4-BE49-F238E27FC236}">
                  <a16:creationId xmlns:a16="http://schemas.microsoft.com/office/drawing/2014/main" id="{8154BCC1-E392-E84F-98C4-6B52F98641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2175" y="5153833"/>
              <a:ext cx="1261" cy="1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3" name="Freeform 337">
              <a:extLst>
                <a:ext uri="{FF2B5EF4-FFF2-40B4-BE49-F238E27FC236}">
                  <a16:creationId xmlns:a16="http://schemas.microsoft.com/office/drawing/2014/main" id="{030A6F46-EA0F-F742-8720-AA246A775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93094" y="6285856"/>
              <a:ext cx="5042" cy="1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4" name="Freeform 338">
              <a:extLst>
                <a:ext uri="{FF2B5EF4-FFF2-40B4-BE49-F238E27FC236}">
                  <a16:creationId xmlns:a16="http://schemas.microsoft.com/office/drawing/2014/main" id="{0D936ECA-8366-2545-B840-1C4586002A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7373" y="6411916"/>
              <a:ext cx="1261" cy="1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</p:grpSp>
      <p:cxnSp>
        <p:nvCxnSpPr>
          <p:cNvPr id="163" name="Straight Connector 162"/>
          <p:cNvCxnSpPr>
            <a:cxnSpLocks/>
          </p:cNvCxnSpPr>
          <p:nvPr/>
        </p:nvCxnSpPr>
        <p:spPr>
          <a:xfrm flipV="1">
            <a:off x="1917726" y="2624651"/>
            <a:ext cx="1457350" cy="861812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>
            <a:cxnSpLocks/>
          </p:cNvCxnSpPr>
          <p:nvPr/>
        </p:nvCxnSpPr>
        <p:spPr>
          <a:xfrm>
            <a:off x="1904626" y="3726225"/>
            <a:ext cx="1470450" cy="9172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/>
          <p:cNvSpPr txBox="1"/>
          <p:nvPr/>
        </p:nvSpPr>
        <p:spPr>
          <a:xfrm>
            <a:off x="10293263" y="3831858"/>
            <a:ext cx="22849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509D2E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Surveillance</a:t>
            </a:r>
          </a:p>
        </p:txBody>
      </p:sp>
      <p:pic>
        <p:nvPicPr>
          <p:cNvPr id="182" name="Picture 181"/>
          <p:cNvPicPr>
            <a:picLocks noChangeAspect="1"/>
          </p:cNvPicPr>
          <p:nvPr/>
        </p:nvPicPr>
        <p:blipFill>
          <a:blip r:embed="rId9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0023" y="701476"/>
            <a:ext cx="2233331" cy="167848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3" name="TextBox 182"/>
          <p:cNvSpPr txBox="1"/>
          <p:nvPr/>
        </p:nvSpPr>
        <p:spPr>
          <a:xfrm>
            <a:off x="6014069" y="2183440"/>
            <a:ext cx="3820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509D2E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Community Engagement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6845437" y="5797659"/>
            <a:ext cx="3447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509D2E"/>
                </a:solidFill>
                <a:effectLst/>
                <a:uLnTx/>
                <a:uFillTx/>
                <a:latin typeface="Gill Sans MT"/>
                <a:ea typeface="+mn-ea"/>
                <a:cs typeface="+mn-cs"/>
              </a:rPr>
              <a:t>Case Enrollment</a:t>
            </a: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9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293" y="1884477"/>
            <a:ext cx="2215089" cy="197710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7" name="Picture 186"/>
          <p:cNvPicPr>
            <a:picLocks noChangeAspect="1"/>
          </p:cNvPicPr>
          <p:nvPr/>
        </p:nvPicPr>
        <p:blipFill>
          <a:blip r:embed="rId9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8614" y="4622619"/>
            <a:ext cx="3412471" cy="126367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9" name="Circular Arrow 188"/>
          <p:cNvSpPr/>
          <p:nvPr/>
        </p:nvSpPr>
        <p:spPr>
          <a:xfrm rot="1081135">
            <a:off x="6926489" y="1141156"/>
            <a:ext cx="4365346" cy="4593885"/>
          </a:xfrm>
          <a:prstGeom prst="circularArrow">
            <a:avLst>
              <a:gd name="adj1" fmla="val 5194"/>
              <a:gd name="adj2" fmla="val 335470"/>
              <a:gd name="adj3" fmla="val 16867551"/>
              <a:gd name="adj4" fmla="val 15196979"/>
              <a:gd name="adj5" fmla="val 6060"/>
            </a:avLst>
          </a:pr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190" name="Circular Arrow 189"/>
          <p:cNvSpPr/>
          <p:nvPr/>
        </p:nvSpPr>
        <p:spPr>
          <a:xfrm>
            <a:off x="7447963" y="1277355"/>
            <a:ext cx="4365346" cy="4365346"/>
          </a:xfrm>
          <a:prstGeom prst="circularArrow">
            <a:avLst>
              <a:gd name="adj1" fmla="val 5194"/>
              <a:gd name="adj2" fmla="val 335470"/>
              <a:gd name="adj3" fmla="val 4016568"/>
              <a:gd name="adj4" fmla="val 2251715"/>
              <a:gd name="adj5" fmla="val 6060"/>
            </a:avLst>
          </a:pr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</p:spTree>
    <p:extLst>
      <p:ext uri="{BB962C8B-B14F-4D97-AF65-F5344CB8AC3E}">
        <p14:creationId xmlns:p14="http://schemas.microsoft.com/office/powerpoint/2010/main" val="27570883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1" grpId="0"/>
      <p:bldP spid="18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0364" y="94361"/>
            <a:ext cx="12192000" cy="1266472"/>
          </a:xfrm>
        </p:spPr>
        <p:txBody>
          <a:bodyPr>
            <a:noAutofit/>
          </a:bodyPr>
          <a:lstStyle/>
          <a:p>
            <a:r>
              <a:rPr lang="en-US" sz="2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HAMPS generates causes of death on under-five children using </a:t>
            </a:r>
            <a:br>
              <a:rPr lang="en-US" sz="2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</a:br>
            <a:r>
              <a:rPr lang="en-US" sz="2400" u="sng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Minimally Invasive Tissue Sampling</a:t>
            </a:r>
            <a:r>
              <a:rPr lang="en-US" sz="2400" dirty="0"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, diagnostic testing, clinical records, verbal autopsy </a:t>
            </a:r>
          </a:p>
        </p:txBody>
      </p:sp>
      <p:sp>
        <p:nvSpPr>
          <p:cNvPr id="4" name="Oval 3"/>
          <p:cNvSpPr>
            <a:spLocks noChangeAspect="1"/>
          </p:cNvSpPr>
          <p:nvPr/>
        </p:nvSpPr>
        <p:spPr>
          <a:xfrm>
            <a:off x="4708203" y="2488562"/>
            <a:ext cx="1182991" cy="1290606"/>
          </a:xfrm>
          <a:prstGeom prst="ellipse">
            <a:avLst/>
          </a:prstGeom>
          <a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accent5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20" name="TextBox 19"/>
          <p:cNvSpPr txBox="1"/>
          <p:nvPr/>
        </p:nvSpPr>
        <p:spPr>
          <a:xfrm>
            <a:off x="472882" y="1483016"/>
            <a:ext cx="329032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Under-5 deaths, stillbirths detected within 24 </a:t>
            </a:r>
            <a:r>
              <a:rPr kumimoji="0" lang="en-US" sz="200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hrs</a:t>
            </a:r>
            <a:endParaRPr kumimoji="0" lang="en-US" sz="200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 panose="020F0502020204030203" pitchFamily="34" charset="0"/>
              <a:ea typeface="Lato" panose="020F0502020204030203" pitchFamily="34" charset="0"/>
              <a:cs typeface="Lato" panose="020F0502020204030203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arental consent for MITS</a:t>
            </a:r>
          </a:p>
        </p:txBody>
      </p:sp>
      <p:sp>
        <p:nvSpPr>
          <p:cNvPr id="21" name="Rectangle 20"/>
          <p:cNvSpPr/>
          <p:nvPr/>
        </p:nvSpPr>
        <p:spPr>
          <a:xfrm>
            <a:off x="488145" y="1452275"/>
            <a:ext cx="3333889" cy="107714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936092" y="4054749"/>
            <a:ext cx="2241019" cy="1294583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Gill Sans MT"/>
              <a:ea typeface="+mn-ea"/>
              <a:cs typeface="+mn-cs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802128" y="4003998"/>
            <a:ext cx="239619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Verbal autopsy interviews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Clinical records abstraction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100887" y="4955609"/>
            <a:ext cx="314570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hotograph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rPr>
              <a:t>Physical measurements</a:t>
            </a:r>
          </a:p>
        </p:txBody>
      </p:sp>
      <p:pic>
        <p:nvPicPr>
          <p:cNvPr id="39" name="Picture 38">
            <a:extLst>
              <a:ext uri="{FF2B5EF4-FFF2-40B4-BE49-F238E27FC236}">
                <a16:creationId xmlns:a16="http://schemas.microsoft.com/office/drawing/2014/main" id="{E701B267-BA43-4EE9-91CA-A118ACCE9F6B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661616" y="2780127"/>
            <a:ext cx="1073406" cy="880916"/>
          </a:xfrm>
          <a:prstGeom prst="rect">
            <a:avLst/>
          </a:prstGeom>
        </p:spPr>
      </p:pic>
      <p:sp>
        <p:nvSpPr>
          <p:cNvPr id="37" name="TextBox 36">
            <a:extLst>
              <a:ext uri="{FF2B5EF4-FFF2-40B4-BE49-F238E27FC236}">
                <a16:creationId xmlns:a16="http://schemas.microsoft.com/office/drawing/2014/main" id="{55E16C6D-F8A7-4FCB-ABC4-8D16ECCB9095}"/>
              </a:ext>
            </a:extLst>
          </p:cNvPr>
          <p:cNvSpPr txBox="1"/>
          <p:nvPr/>
        </p:nvSpPr>
        <p:spPr>
          <a:xfrm>
            <a:off x="6687282" y="2466133"/>
            <a:ext cx="910347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Blood</a:t>
            </a: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8DF2C8E-F81B-4933-B554-15D74F0D5DC4}"/>
              </a:ext>
            </a:extLst>
          </p:cNvPr>
          <p:cNvSpPr txBox="1"/>
          <p:nvPr/>
        </p:nvSpPr>
        <p:spPr>
          <a:xfrm>
            <a:off x="10752067" y="2456675"/>
            <a:ext cx="58349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Stool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B600DEB-1C68-4509-B18F-3EC0CA46D54C}"/>
              </a:ext>
            </a:extLst>
          </p:cNvPr>
          <p:cNvSpPr txBox="1"/>
          <p:nvPr/>
        </p:nvSpPr>
        <p:spPr>
          <a:xfrm>
            <a:off x="8972743" y="2468119"/>
            <a:ext cx="1474763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NP/OP swab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85B69CDB-3B6D-4F0C-8582-9788C4730A47}"/>
              </a:ext>
            </a:extLst>
          </p:cNvPr>
          <p:cNvSpPr txBox="1"/>
          <p:nvPr/>
        </p:nvSpPr>
        <p:spPr>
          <a:xfrm>
            <a:off x="7999685" y="2471673"/>
            <a:ext cx="458459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CSF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9331541A-A5E4-45B8-80FE-CC97696621E9}"/>
              </a:ext>
            </a:extLst>
          </p:cNvPr>
          <p:cNvSpPr txBox="1"/>
          <p:nvPr/>
        </p:nvSpPr>
        <p:spPr>
          <a:xfrm>
            <a:off x="9842318" y="4099737"/>
            <a:ext cx="65723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Brain 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C5CBFC4F-DB45-4A2F-A2C8-1EF1643F444C}"/>
              </a:ext>
            </a:extLst>
          </p:cNvPr>
          <p:cNvSpPr txBox="1"/>
          <p:nvPr/>
        </p:nvSpPr>
        <p:spPr>
          <a:xfrm>
            <a:off x="7673742" y="4101811"/>
            <a:ext cx="548227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Lung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41A1BD6-6B02-4E8E-90A4-2B9C13C0D995}"/>
              </a:ext>
            </a:extLst>
          </p:cNvPr>
          <p:cNvSpPr txBox="1"/>
          <p:nvPr/>
        </p:nvSpPr>
        <p:spPr>
          <a:xfrm>
            <a:off x="8634381" y="4107288"/>
            <a:ext cx="706925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Heart 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9EDE9458-5F6B-4F2B-A242-65F610A791F4}"/>
              </a:ext>
            </a:extLst>
          </p:cNvPr>
          <p:cNvSpPr txBox="1"/>
          <p:nvPr/>
        </p:nvSpPr>
        <p:spPr>
          <a:xfrm>
            <a:off x="6599619" y="4086244"/>
            <a:ext cx="565861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Liver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67177265-9670-4A52-938B-021A6FFE4777}"/>
              </a:ext>
            </a:extLst>
          </p:cNvPr>
          <p:cNvSpPr txBox="1"/>
          <p:nvPr/>
        </p:nvSpPr>
        <p:spPr>
          <a:xfrm>
            <a:off x="10619130" y="4099737"/>
            <a:ext cx="1620636" cy="307777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Bone Marrow </a:t>
            </a: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58674A74-B536-4C13-AF4C-0A2AA160312B}"/>
              </a:ext>
            </a:extLst>
          </p:cNvPr>
          <p:cNvSpPr txBox="1"/>
          <p:nvPr/>
        </p:nvSpPr>
        <p:spPr>
          <a:xfrm>
            <a:off x="10132266" y="5310804"/>
            <a:ext cx="1444052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Placenta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en-US" sz="160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(when available)</a:t>
            </a:r>
          </a:p>
        </p:txBody>
      </p:sp>
      <p:pic>
        <p:nvPicPr>
          <p:cNvPr id="53" name="Picture 52">
            <a:extLst>
              <a:ext uri="{FF2B5EF4-FFF2-40B4-BE49-F238E27FC236}">
                <a16:creationId xmlns:a16="http://schemas.microsoft.com/office/drawing/2014/main" id="{F0C0AECD-9BDE-4ACA-B2BC-092DF88A9466}"/>
              </a:ext>
            </a:extLst>
          </p:cNvPr>
          <p:cNvPicPr>
            <a:picLocks noChangeAspect="1"/>
          </p:cNvPicPr>
          <p:nvPr/>
        </p:nvPicPr>
        <p:blipFill>
          <a:blip r:embed="rId5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39479" y="3115629"/>
            <a:ext cx="1102225" cy="1102225"/>
          </a:xfrm>
          <a:prstGeom prst="rect">
            <a:avLst/>
          </a:prstGeom>
        </p:spPr>
      </p:pic>
      <p:pic>
        <p:nvPicPr>
          <p:cNvPr id="78" name="Picture 77">
            <a:extLst>
              <a:ext uri="{FF2B5EF4-FFF2-40B4-BE49-F238E27FC236}">
                <a16:creationId xmlns:a16="http://schemas.microsoft.com/office/drawing/2014/main" id="{1F2D9F66-38B5-411E-9F62-3E73585D263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399917" y="3142457"/>
            <a:ext cx="1022259" cy="1022259"/>
          </a:xfrm>
          <a:prstGeom prst="rect">
            <a:avLst/>
          </a:prstGeom>
        </p:spPr>
      </p:pic>
      <p:pic>
        <p:nvPicPr>
          <p:cNvPr id="79" name="Picture 78">
            <a:extLst>
              <a:ext uri="{FF2B5EF4-FFF2-40B4-BE49-F238E27FC236}">
                <a16:creationId xmlns:a16="http://schemas.microsoft.com/office/drawing/2014/main" id="{742E15A7-498D-40E5-96A8-DF48C9CFBB1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542965" y="3173618"/>
            <a:ext cx="999712" cy="999712"/>
          </a:xfrm>
          <a:prstGeom prst="rect">
            <a:avLst/>
          </a:prstGeom>
        </p:spPr>
      </p:pic>
      <p:pic>
        <p:nvPicPr>
          <p:cNvPr id="80" name="Picture 79">
            <a:extLst>
              <a:ext uri="{FF2B5EF4-FFF2-40B4-BE49-F238E27FC236}">
                <a16:creationId xmlns:a16="http://schemas.microsoft.com/office/drawing/2014/main" id="{F72796D9-CD86-46E2-AE31-9E52FA625CC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706959" y="3160155"/>
            <a:ext cx="969261" cy="969261"/>
          </a:xfrm>
          <a:prstGeom prst="rect">
            <a:avLst/>
          </a:prstGeom>
        </p:spPr>
      </p:pic>
      <p:pic>
        <p:nvPicPr>
          <p:cNvPr id="81" name="Picture 80">
            <a:extLst>
              <a:ext uri="{FF2B5EF4-FFF2-40B4-BE49-F238E27FC236}">
                <a16:creationId xmlns:a16="http://schemas.microsoft.com/office/drawing/2014/main" id="{BB474162-F1CF-483D-A391-0259624BF79C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clrChange>
              <a:clrFrom>
                <a:srgbClr val="000000">
                  <a:alpha val="0"/>
                </a:srgbClr>
              </a:clrFrom>
              <a:clrTo>
                <a:srgbClr val="000000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203232" y="4411073"/>
            <a:ext cx="1007453" cy="1007453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1AE13B60-58A4-4D15-BB37-625DB4850816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2618" y="1467492"/>
            <a:ext cx="1102998" cy="1102998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953001E7-41B1-4ACF-B5CC-404C6FC53EB3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645355" y="1467492"/>
            <a:ext cx="1102998" cy="1102998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33FC1B54-6588-4CF7-8606-EBAF93CC863A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556554" y="1467492"/>
            <a:ext cx="951819" cy="951819"/>
          </a:xfrm>
          <a:prstGeom prst="rect">
            <a:avLst/>
          </a:prstGeom>
        </p:spPr>
      </p:pic>
      <p:pic>
        <p:nvPicPr>
          <p:cNvPr id="55" name="Picture 54">
            <a:extLst>
              <a:ext uri="{FF2B5EF4-FFF2-40B4-BE49-F238E27FC236}">
                <a16:creationId xmlns:a16="http://schemas.microsoft.com/office/drawing/2014/main" id="{20AB7CF6-3483-44CD-A4E8-494696D301F3}"/>
              </a:ext>
            </a:extLst>
          </p:cNvPr>
          <p:cNvPicPr>
            <a:picLocks noChangeAspect="1"/>
          </p:cNvPicPr>
          <p:nvPr/>
        </p:nvPicPr>
        <p:blipFill>
          <a:blip r:embed="rId13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01024" y="1467492"/>
            <a:ext cx="997414" cy="99741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4CB3A7D6-9EAB-2C49-B2E2-946D0E3AAC3F}"/>
              </a:ext>
            </a:extLst>
          </p:cNvPr>
          <p:cNvPicPr>
            <a:picLocks noChangeAspect="1"/>
          </p:cNvPicPr>
          <p:nvPr/>
        </p:nvPicPr>
        <p:blipFill>
          <a:blip r:embed="rId14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422513" y="3159271"/>
            <a:ext cx="1013175" cy="1013175"/>
          </a:xfrm>
          <a:prstGeom prst="rect">
            <a:avLst/>
          </a:prstGeom>
        </p:spPr>
      </p:pic>
      <p:sp>
        <p:nvSpPr>
          <p:cNvPr id="43" name="Right Arrow 35">
            <a:extLst>
              <a:ext uri="{FF2B5EF4-FFF2-40B4-BE49-F238E27FC236}">
                <a16:creationId xmlns:a16="http://schemas.microsoft.com/office/drawing/2014/main" id="{28829F3B-5B8C-4E8C-AC69-AE33CEA58E08}"/>
              </a:ext>
            </a:extLst>
          </p:cNvPr>
          <p:cNvSpPr/>
          <p:nvPr/>
        </p:nvSpPr>
        <p:spPr>
          <a:xfrm rot="5400000">
            <a:off x="981103" y="3130253"/>
            <a:ext cx="1141750" cy="2729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4" name="Right Arrow 35">
            <a:extLst>
              <a:ext uri="{FF2B5EF4-FFF2-40B4-BE49-F238E27FC236}">
                <a16:creationId xmlns:a16="http://schemas.microsoft.com/office/drawing/2014/main" id="{5E863EC7-D6A8-4EAE-951F-6ED89AC2FFF0}"/>
              </a:ext>
            </a:extLst>
          </p:cNvPr>
          <p:cNvSpPr/>
          <p:nvPr/>
        </p:nvSpPr>
        <p:spPr>
          <a:xfrm>
            <a:off x="1628867" y="3028090"/>
            <a:ext cx="930754" cy="2729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6" name="Right Arrow 35">
            <a:extLst>
              <a:ext uri="{FF2B5EF4-FFF2-40B4-BE49-F238E27FC236}">
                <a16:creationId xmlns:a16="http://schemas.microsoft.com/office/drawing/2014/main" id="{D146EEEF-7155-4200-AB7E-E214953C7693}"/>
              </a:ext>
            </a:extLst>
          </p:cNvPr>
          <p:cNvSpPr/>
          <p:nvPr/>
        </p:nvSpPr>
        <p:spPr>
          <a:xfrm>
            <a:off x="3895571" y="3028090"/>
            <a:ext cx="613939" cy="2729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54" name="Elbow Connector 31">
            <a:extLst>
              <a:ext uri="{FF2B5EF4-FFF2-40B4-BE49-F238E27FC236}">
                <a16:creationId xmlns:a16="http://schemas.microsoft.com/office/drawing/2014/main" id="{F66F2953-16D4-472B-8CE0-C72410979C6F}"/>
              </a:ext>
            </a:extLst>
          </p:cNvPr>
          <p:cNvCxnSpPr>
            <a:cxnSpLocks/>
          </p:cNvCxnSpPr>
          <p:nvPr/>
        </p:nvCxnSpPr>
        <p:spPr>
          <a:xfrm rot="16200000" flipH="1">
            <a:off x="4908828" y="4161109"/>
            <a:ext cx="1179168" cy="532120"/>
          </a:xfrm>
          <a:prstGeom prst="bentConnector3">
            <a:avLst>
              <a:gd name="adj1" fmla="val 100740"/>
            </a:avLst>
          </a:prstGeom>
          <a:ln w="635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ight Arrow 35">
            <a:extLst>
              <a:ext uri="{FF2B5EF4-FFF2-40B4-BE49-F238E27FC236}">
                <a16:creationId xmlns:a16="http://schemas.microsoft.com/office/drawing/2014/main" id="{8A93FAC5-7D09-4794-95CE-13A551F1F62B}"/>
              </a:ext>
            </a:extLst>
          </p:cNvPr>
          <p:cNvSpPr/>
          <p:nvPr/>
        </p:nvSpPr>
        <p:spPr>
          <a:xfrm>
            <a:off x="5969104" y="2916450"/>
            <a:ext cx="613939" cy="27291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15912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7258" y="-3552"/>
            <a:ext cx="12192000" cy="1266472"/>
          </a:xfrm>
        </p:spPr>
        <p:txBody>
          <a:bodyPr>
            <a:normAutofit/>
          </a:bodyPr>
          <a:lstStyle/>
          <a:p>
            <a:r>
              <a:rPr lang="en-US" dirty="0">
                <a:latin typeface="Lato" panose="020F0502020204030203"/>
                <a:cs typeface="Arial" panose="020B0604020202020204" pitchFamily="34" charset="0"/>
              </a:rPr>
              <a:t>CHAMPS generates causes of death on under-five children using Minimally Invasive Tissue Sampling, </a:t>
            </a:r>
            <a:r>
              <a:rPr lang="en-US" u="sng" dirty="0">
                <a:latin typeface="Lato" panose="020F0502020204030203"/>
                <a:cs typeface="Arial" panose="020B0604020202020204" pitchFamily="34" charset="0"/>
              </a:rPr>
              <a:t>diagnostic testing </a:t>
            </a:r>
            <a:endParaRPr lang="en-US" u="sng" dirty="0">
              <a:latin typeface="Lato" panose="020F0502020204030203"/>
            </a:endParaRP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8CFAAFC7-1B3B-42B0-93B4-503994F26980}"/>
              </a:ext>
            </a:extLst>
          </p:cNvPr>
          <p:cNvGrpSpPr/>
          <p:nvPr/>
        </p:nvGrpSpPr>
        <p:grpSpPr>
          <a:xfrm>
            <a:off x="6979978" y="1744535"/>
            <a:ext cx="2868093" cy="1665781"/>
            <a:chOff x="5263110" y="2508647"/>
            <a:chExt cx="2582668" cy="1165898"/>
          </a:xfrm>
        </p:grpSpPr>
        <p:pic>
          <p:nvPicPr>
            <p:cNvPr id="60" name="Picture 59">
              <a:extLst>
                <a:ext uri="{FF2B5EF4-FFF2-40B4-BE49-F238E27FC236}">
                  <a16:creationId xmlns:a16="http://schemas.microsoft.com/office/drawing/2014/main" id="{53FB411F-016C-4983-9011-823B83FC8DCB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720082" y="2508647"/>
              <a:ext cx="1209864" cy="807309"/>
            </a:xfrm>
            <a:prstGeom prst="rect">
              <a:avLst/>
            </a:prstGeom>
          </p:spPr>
        </p:pic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D1A8B5A3-297E-41DD-BBF5-C8D7FEDD30B0}"/>
                </a:ext>
              </a:extLst>
            </p:cNvPr>
            <p:cNvSpPr txBox="1"/>
            <p:nvPr/>
          </p:nvSpPr>
          <p:spPr>
            <a:xfrm>
              <a:off x="5263110" y="3394504"/>
              <a:ext cx="2582668" cy="28004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+mn-ea"/>
                  <a:cs typeface="+mn-cs"/>
                </a:rPr>
                <a:t>HIV, TB , malaria testing</a:t>
              </a:r>
            </a:p>
          </p:txBody>
        </p:sp>
      </p:grpSp>
      <p:grpSp>
        <p:nvGrpSpPr>
          <p:cNvPr id="39" name="Group 38">
            <a:extLst>
              <a:ext uri="{FF2B5EF4-FFF2-40B4-BE49-F238E27FC236}">
                <a16:creationId xmlns:a16="http://schemas.microsoft.com/office/drawing/2014/main" id="{ED3FF2A3-3E51-4FE7-B225-60118C8BC841}"/>
              </a:ext>
            </a:extLst>
          </p:cNvPr>
          <p:cNvGrpSpPr/>
          <p:nvPr/>
        </p:nvGrpSpPr>
        <p:grpSpPr>
          <a:xfrm>
            <a:off x="2576063" y="1605356"/>
            <a:ext cx="2414397" cy="2005015"/>
            <a:chOff x="4280084" y="1049103"/>
            <a:chExt cx="1624281" cy="1302282"/>
          </a:xfrm>
        </p:grpSpPr>
        <p:pic>
          <p:nvPicPr>
            <p:cNvPr id="55" name="Picture 54">
              <a:extLst>
                <a:ext uri="{FF2B5EF4-FFF2-40B4-BE49-F238E27FC236}">
                  <a16:creationId xmlns:a16="http://schemas.microsoft.com/office/drawing/2014/main" id="{F91444B3-AD9F-45CA-B3FB-FE68453FEF0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280084" y="1049103"/>
              <a:ext cx="1624281" cy="964725"/>
            </a:xfrm>
            <a:prstGeom prst="rect">
              <a:avLst/>
            </a:prstGeom>
          </p:spPr>
        </p:pic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73C1EE85-B76E-40FB-BF3F-6D496E33EEE9}"/>
                </a:ext>
              </a:extLst>
            </p:cNvPr>
            <p:cNvSpPr txBox="1"/>
            <p:nvPr/>
          </p:nvSpPr>
          <p:spPr>
            <a:xfrm>
              <a:off x="4750866" y="2091509"/>
              <a:ext cx="718830" cy="25987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+mn-ea"/>
                  <a:cs typeface="+mn-cs"/>
                </a:rPr>
                <a:t>Culture</a:t>
              </a:r>
              <a:endParaRPr kumimoji="0" lang="en-US" sz="18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/>
                <a:ea typeface="+mn-ea"/>
                <a:cs typeface="+mn-cs"/>
              </a:endParaRPr>
            </a:p>
          </p:txBody>
        </p:sp>
      </p:grpSp>
      <p:sp>
        <p:nvSpPr>
          <p:cNvPr id="50" name="Oval 49">
            <a:extLst>
              <a:ext uri="{FF2B5EF4-FFF2-40B4-BE49-F238E27FC236}">
                <a16:creationId xmlns:a16="http://schemas.microsoft.com/office/drawing/2014/main" id="{908B3E9C-C4E4-481D-A90F-30790F345106}"/>
              </a:ext>
            </a:extLst>
          </p:cNvPr>
          <p:cNvSpPr>
            <a:spLocks noChangeAspect="1"/>
          </p:cNvSpPr>
          <p:nvPr/>
        </p:nvSpPr>
        <p:spPr>
          <a:xfrm>
            <a:off x="9863005" y="4351311"/>
            <a:ext cx="1219844" cy="1098524"/>
          </a:xfrm>
          <a:prstGeom prst="ellipse">
            <a:avLst/>
          </a:prstGeom>
          <a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 w="3175">
            <a:solidFill>
              <a:schemeClr val="accent5"/>
            </a:solidFill>
          </a:ln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pic>
        <p:nvPicPr>
          <p:cNvPr id="51" name="Picture 50">
            <a:extLst>
              <a:ext uri="{FF2B5EF4-FFF2-40B4-BE49-F238E27FC236}">
                <a16:creationId xmlns:a16="http://schemas.microsoft.com/office/drawing/2014/main" id="{AC1B7585-039C-45C2-B5E7-620D25D33687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12342" y="4087987"/>
            <a:ext cx="2109350" cy="1423304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52" name="TextBox 51">
            <a:extLst>
              <a:ext uri="{FF2B5EF4-FFF2-40B4-BE49-F238E27FC236}">
                <a16:creationId xmlns:a16="http://schemas.microsoft.com/office/drawing/2014/main" id="{AFCEFF81-8C82-4903-9240-9016AB210AF9}"/>
              </a:ext>
            </a:extLst>
          </p:cNvPr>
          <p:cNvSpPr txBox="1"/>
          <p:nvPr/>
        </p:nvSpPr>
        <p:spPr>
          <a:xfrm>
            <a:off x="7351239" y="5519719"/>
            <a:ext cx="1324402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 panose="020F0502020204030203"/>
                <a:ea typeface="+mn-ea"/>
                <a:cs typeface="+mn-cs"/>
              </a:rPr>
              <a:t>Pathology</a:t>
            </a:r>
          </a:p>
        </p:txBody>
      </p:sp>
      <p:grpSp>
        <p:nvGrpSpPr>
          <p:cNvPr id="41" name="Group 40">
            <a:extLst>
              <a:ext uri="{FF2B5EF4-FFF2-40B4-BE49-F238E27FC236}">
                <a16:creationId xmlns:a16="http://schemas.microsoft.com/office/drawing/2014/main" id="{838EB2FF-2002-43C9-843B-036E39041BBA}"/>
              </a:ext>
            </a:extLst>
          </p:cNvPr>
          <p:cNvGrpSpPr/>
          <p:nvPr/>
        </p:nvGrpSpPr>
        <p:grpSpPr>
          <a:xfrm>
            <a:off x="2558228" y="4215292"/>
            <a:ext cx="2547968" cy="1461446"/>
            <a:chOff x="6575931" y="4006251"/>
            <a:chExt cx="2997914" cy="1595076"/>
          </a:xfrm>
        </p:grpSpPr>
        <p:pic>
          <p:nvPicPr>
            <p:cNvPr id="44" name="Picture 43">
              <a:extLst>
                <a:ext uri="{FF2B5EF4-FFF2-40B4-BE49-F238E27FC236}">
                  <a16:creationId xmlns:a16="http://schemas.microsoft.com/office/drawing/2014/main" id="{C57A5A64-C46C-4645-A549-BCFEE2A3169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575931" y="4006251"/>
              <a:ext cx="2225843" cy="1132205"/>
            </a:xfrm>
            <a:prstGeom prst="rect">
              <a:avLst/>
            </a:prstGeom>
          </p:spPr>
        </p:pic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724CB0DA-0EA7-4455-88C3-7FC2CE5F4B73}"/>
                </a:ext>
              </a:extLst>
            </p:cNvPr>
            <p:cNvSpPr txBox="1"/>
            <p:nvPr/>
          </p:nvSpPr>
          <p:spPr>
            <a:xfrm>
              <a:off x="6610439" y="5164632"/>
              <a:ext cx="2963406" cy="43669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000" i="0" u="none" strike="noStrike" kern="1200" cap="none" spc="0" normalizeH="0" baseline="0" noProof="0" dirty="0" err="1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+mn-ea"/>
                  <a:cs typeface="+mn-cs"/>
                </a:rPr>
                <a:t>TaqMan</a:t>
              </a:r>
              <a:r>
                <a:rPr kumimoji="0" lang="en-US" sz="200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 panose="020F0502020204030203"/>
                  <a:ea typeface="+mn-ea"/>
                  <a:cs typeface="+mn-cs"/>
                </a:rPr>
                <a:t> Array Cards</a:t>
              </a:r>
            </a:p>
          </p:txBody>
        </p:sp>
      </p:grpSp>
      <p:pic>
        <p:nvPicPr>
          <p:cNvPr id="25" name="Picture 24">
            <a:extLst>
              <a:ext uri="{FF2B5EF4-FFF2-40B4-BE49-F238E27FC236}">
                <a16:creationId xmlns:a16="http://schemas.microsoft.com/office/drawing/2014/main" id="{EAFDDBDF-EC5D-42E8-86E1-AF64ACAE8BC9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809602" y="1773251"/>
            <a:ext cx="1102998" cy="1102998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2889BA26-B2B9-4A20-A450-BA518F27BBFF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48752" y="2282041"/>
            <a:ext cx="1102998" cy="110299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2C7BC591-CC2C-4063-98B4-CCC800C1F532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1473" y="1781605"/>
            <a:ext cx="1102998" cy="1102998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EF08DED4-89E0-4373-B1C7-B302D366986A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9971" y="3725277"/>
            <a:ext cx="1102998" cy="1102998"/>
          </a:xfrm>
          <a:prstGeom prst="rect">
            <a:avLst/>
          </a:prstGeom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B9E35022-1A2C-4D5B-9250-CA55361EE9FE}"/>
              </a:ext>
            </a:extLst>
          </p:cNvPr>
          <p:cNvPicPr>
            <a:picLocks noChangeAspect="1"/>
          </p:cNvPicPr>
          <p:nvPr/>
        </p:nvPicPr>
        <p:blipFill>
          <a:blip r:embed="rId9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69030" y="3973800"/>
            <a:ext cx="1102998" cy="1102998"/>
          </a:xfrm>
          <a:prstGeom prst="rect">
            <a:avLst/>
          </a:prstGeom>
        </p:spPr>
      </p:pic>
      <p:pic>
        <p:nvPicPr>
          <p:cNvPr id="35" name="Picture 34">
            <a:extLst>
              <a:ext uri="{FF2B5EF4-FFF2-40B4-BE49-F238E27FC236}">
                <a16:creationId xmlns:a16="http://schemas.microsoft.com/office/drawing/2014/main" id="{C7C23CD9-49E1-4126-B83C-64B15947211A}"/>
              </a:ext>
            </a:extLst>
          </p:cNvPr>
          <p:cNvPicPr>
            <a:picLocks noChangeAspect="1"/>
          </p:cNvPicPr>
          <p:nvPr/>
        </p:nvPicPr>
        <p:blipFill>
          <a:blip r:embed="rId10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847217" y="5003908"/>
            <a:ext cx="951819" cy="951819"/>
          </a:xfrm>
          <a:prstGeom prst="rect">
            <a:avLst/>
          </a:prstGeom>
        </p:spPr>
      </p:pic>
      <p:pic>
        <p:nvPicPr>
          <p:cNvPr id="37" name="Picture 36">
            <a:extLst>
              <a:ext uri="{FF2B5EF4-FFF2-40B4-BE49-F238E27FC236}">
                <a16:creationId xmlns:a16="http://schemas.microsoft.com/office/drawing/2014/main" id="{749242AE-894D-4347-ACF6-672A749FB1D2}"/>
              </a:ext>
            </a:extLst>
          </p:cNvPr>
          <p:cNvPicPr>
            <a:picLocks noChangeAspect="1"/>
          </p:cNvPicPr>
          <p:nvPr/>
        </p:nvPicPr>
        <p:blipFill>
          <a:blip r:embed="rId11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68392" y="4747187"/>
            <a:ext cx="997414" cy="997414"/>
          </a:xfrm>
          <a:prstGeom prst="rect">
            <a:avLst/>
          </a:prstGeom>
        </p:spPr>
      </p:pic>
      <p:pic>
        <p:nvPicPr>
          <p:cNvPr id="42" name="Picture 41">
            <a:extLst>
              <a:ext uri="{FF2B5EF4-FFF2-40B4-BE49-F238E27FC236}">
                <a16:creationId xmlns:a16="http://schemas.microsoft.com/office/drawing/2014/main" id="{DE6D7E8E-535E-42A6-AFB2-0DC209BBD71A}"/>
              </a:ext>
            </a:extLst>
          </p:cNvPr>
          <p:cNvPicPr>
            <a:picLocks noChangeAspect="1"/>
          </p:cNvPicPr>
          <p:nvPr/>
        </p:nvPicPr>
        <p:blipFill>
          <a:blip r:embed="rId12" cstate="email">
            <a:clrChange>
              <a:clrFrom>
                <a:srgbClr val="EBE717"/>
              </a:clrFrom>
              <a:clrTo>
                <a:srgbClr val="EBE717">
                  <a:alpha val="0"/>
                </a:srgbClr>
              </a:clrTo>
            </a:clrChange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338837" y="4144958"/>
            <a:ext cx="1013175" cy="1013175"/>
          </a:xfrm>
          <a:prstGeom prst="rect">
            <a:avLst/>
          </a:prstGeom>
        </p:spPr>
      </p:pic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BD07892B-9673-4A7B-9FB7-63012397E86C}"/>
              </a:ext>
            </a:extLst>
          </p:cNvPr>
          <p:cNvCxnSpPr/>
          <p:nvPr/>
        </p:nvCxnSpPr>
        <p:spPr>
          <a:xfrm>
            <a:off x="5957377" y="1502401"/>
            <a:ext cx="0" cy="4325610"/>
          </a:xfrm>
          <a:prstGeom prst="line">
            <a:avLst/>
          </a:prstGeom>
          <a:ln w="3175">
            <a:solidFill>
              <a:srgbClr val="89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7775A5A0-D403-45FD-95C4-105C4BC854BC}"/>
              </a:ext>
            </a:extLst>
          </p:cNvPr>
          <p:cNvCxnSpPr>
            <a:cxnSpLocks/>
          </p:cNvCxnSpPr>
          <p:nvPr/>
        </p:nvCxnSpPr>
        <p:spPr>
          <a:xfrm flipH="1" flipV="1">
            <a:off x="2051750" y="3834566"/>
            <a:ext cx="8006316" cy="6414"/>
          </a:xfrm>
          <a:prstGeom prst="line">
            <a:avLst/>
          </a:prstGeom>
          <a:ln w="3175">
            <a:solidFill>
              <a:srgbClr val="898A8D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431947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52823-194A-2A4A-8016-646E4371508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6700" y="134241"/>
            <a:ext cx="11029616" cy="669445"/>
          </a:xfrm>
        </p:spPr>
        <p:txBody>
          <a:bodyPr>
            <a:noAutofit/>
          </a:bodyPr>
          <a:lstStyle/>
          <a:p>
            <a:r>
              <a:rPr lang="en-US" b="0" dirty="0">
                <a:latin typeface="Lato" panose="020F0502020204030203" pitchFamily="34" charset="0"/>
              </a:rPr>
              <a:t>CHAMPS Aims to Deepen Understanding of Causes and Contributors to Under-5 Deaths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ECE21796-36ED-3C43-96D9-4DE54095F149}"/>
              </a:ext>
            </a:extLst>
          </p:cNvPr>
          <p:cNvGrpSpPr>
            <a:grpSpLocks noChangeAspect="1"/>
          </p:cNvGrpSpPr>
          <p:nvPr/>
        </p:nvGrpSpPr>
        <p:grpSpPr>
          <a:xfrm>
            <a:off x="-2943" y="2463124"/>
            <a:ext cx="3046638" cy="2654256"/>
            <a:chOff x="3310212" y="4815990"/>
            <a:chExt cx="2345552" cy="2299342"/>
          </a:xfrm>
          <a:solidFill>
            <a:srgbClr val="C0C0C0"/>
          </a:solidFill>
        </p:grpSpPr>
        <p:sp>
          <p:nvSpPr>
            <p:cNvPr id="11" name="Freeform 441">
              <a:extLst>
                <a:ext uri="{FF2B5EF4-FFF2-40B4-BE49-F238E27FC236}">
                  <a16:creationId xmlns:a16="http://schemas.microsoft.com/office/drawing/2014/main" id="{8BE52E04-B02B-504C-8CCB-A542A6941777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4242060" y="5695748"/>
              <a:ext cx="240769" cy="197554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2589 w 10000"/>
                <a:gd name="connsiteY12" fmla="*/ 6973 h 10000"/>
                <a:gd name="connsiteX13" fmla="*/ 2385 w 10000"/>
                <a:gd name="connsiteY13" fmla="*/ 6638 h 10000"/>
                <a:gd name="connsiteX14" fmla="*/ 2046 w 10000"/>
                <a:gd name="connsiteY14" fmla="*/ 6729 h 10000"/>
                <a:gd name="connsiteX15" fmla="*/ 1954 w 10000"/>
                <a:gd name="connsiteY15" fmla="*/ 6927 h 10000"/>
                <a:gd name="connsiteX16" fmla="*/ 1592 w 10000"/>
                <a:gd name="connsiteY16" fmla="*/ 7011 h 10000"/>
                <a:gd name="connsiteX17" fmla="*/ 1356 w 10000"/>
                <a:gd name="connsiteY17" fmla="*/ 7004 h 10000"/>
                <a:gd name="connsiteX18" fmla="*/ 1228 w 10000"/>
                <a:gd name="connsiteY18" fmla="*/ 7161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390 w 10000"/>
                <a:gd name="connsiteY55" fmla="*/ 7460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165 w 9880"/>
                <a:gd name="connsiteY0" fmla="*/ 1897 h 10000"/>
                <a:gd name="connsiteX1" fmla="*/ 1165 w 9880"/>
                <a:gd name="connsiteY1" fmla="*/ 2412 h 10000"/>
                <a:gd name="connsiteX2" fmla="*/ 1165 w 9880"/>
                <a:gd name="connsiteY2" fmla="*/ 2894 h 10000"/>
                <a:gd name="connsiteX3" fmla="*/ 1165 w 9880"/>
                <a:gd name="connsiteY3" fmla="*/ 3376 h 10000"/>
                <a:gd name="connsiteX4" fmla="*/ 1165 w 9880"/>
                <a:gd name="connsiteY4" fmla="*/ 3826 h 10000"/>
                <a:gd name="connsiteX5" fmla="*/ 523 w 9880"/>
                <a:gd name="connsiteY5" fmla="*/ 3923 h 10000"/>
                <a:gd name="connsiteX6" fmla="*/ 402 w 9880"/>
                <a:gd name="connsiteY6" fmla="*/ 4180 h 10000"/>
                <a:gd name="connsiteX7" fmla="*/ 121 w 9880"/>
                <a:gd name="connsiteY7" fmla="*/ 4502 h 10000"/>
                <a:gd name="connsiteX8" fmla="*/ 121 w 9880"/>
                <a:gd name="connsiteY8" fmla="*/ 4759 h 10000"/>
                <a:gd name="connsiteX9" fmla="*/ 0 w 9880"/>
                <a:gd name="connsiteY9" fmla="*/ 4823 h 10000"/>
                <a:gd name="connsiteX10" fmla="*/ 0 w 9880"/>
                <a:gd name="connsiteY10" fmla="*/ 5048 h 10000"/>
                <a:gd name="connsiteX11" fmla="*/ 2931 w 9880"/>
                <a:gd name="connsiteY11" fmla="*/ 7195 h 10000"/>
                <a:gd name="connsiteX12" fmla="*/ 2469 w 9880"/>
                <a:gd name="connsiteY12" fmla="*/ 6973 h 10000"/>
                <a:gd name="connsiteX13" fmla="*/ 2265 w 9880"/>
                <a:gd name="connsiteY13" fmla="*/ 6638 h 10000"/>
                <a:gd name="connsiteX14" fmla="*/ 1926 w 9880"/>
                <a:gd name="connsiteY14" fmla="*/ 6729 h 10000"/>
                <a:gd name="connsiteX15" fmla="*/ 1834 w 9880"/>
                <a:gd name="connsiteY15" fmla="*/ 6927 h 10000"/>
                <a:gd name="connsiteX16" fmla="*/ 1472 w 9880"/>
                <a:gd name="connsiteY16" fmla="*/ 7011 h 10000"/>
                <a:gd name="connsiteX17" fmla="*/ 1236 w 9880"/>
                <a:gd name="connsiteY17" fmla="*/ 7004 h 10000"/>
                <a:gd name="connsiteX18" fmla="*/ 1108 w 9880"/>
                <a:gd name="connsiteY18" fmla="*/ 7161 h 10000"/>
                <a:gd name="connsiteX19" fmla="*/ 884 w 9880"/>
                <a:gd name="connsiteY19" fmla="*/ 6913 h 10000"/>
                <a:gd name="connsiteX20" fmla="*/ 844 w 9880"/>
                <a:gd name="connsiteY20" fmla="*/ 7363 h 10000"/>
                <a:gd name="connsiteX21" fmla="*/ 924 w 9880"/>
                <a:gd name="connsiteY21" fmla="*/ 7428 h 10000"/>
                <a:gd name="connsiteX22" fmla="*/ 1245 w 9880"/>
                <a:gd name="connsiteY22" fmla="*/ 7460 h 10000"/>
                <a:gd name="connsiteX23" fmla="*/ 1286 w 9880"/>
                <a:gd name="connsiteY23" fmla="*/ 7588 h 10000"/>
                <a:gd name="connsiteX24" fmla="*/ 1647 w 9880"/>
                <a:gd name="connsiteY24" fmla="*/ 7621 h 10000"/>
                <a:gd name="connsiteX25" fmla="*/ 1848 w 9880"/>
                <a:gd name="connsiteY25" fmla="*/ 7749 h 10000"/>
                <a:gd name="connsiteX26" fmla="*/ 1888 w 9880"/>
                <a:gd name="connsiteY26" fmla="*/ 7974 h 10000"/>
                <a:gd name="connsiteX27" fmla="*/ 2531 w 9880"/>
                <a:gd name="connsiteY27" fmla="*/ 8360 h 10000"/>
                <a:gd name="connsiteX28" fmla="*/ 2691 w 9880"/>
                <a:gd name="connsiteY28" fmla="*/ 8746 h 10000"/>
                <a:gd name="connsiteX29" fmla="*/ 3133 w 9880"/>
                <a:gd name="connsiteY29" fmla="*/ 8939 h 10000"/>
                <a:gd name="connsiteX30" fmla="*/ 3294 w 9880"/>
                <a:gd name="connsiteY30" fmla="*/ 9196 h 10000"/>
                <a:gd name="connsiteX31" fmla="*/ 3615 w 9880"/>
                <a:gd name="connsiteY31" fmla="*/ 9518 h 10000"/>
                <a:gd name="connsiteX32" fmla="*/ 3856 w 9880"/>
                <a:gd name="connsiteY32" fmla="*/ 9614 h 10000"/>
                <a:gd name="connsiteX33" fmla="*/ 4017 w 9880"/>
                <a:gd name="connsiteY33" fmla="*/ 9518 h 10000"/>
                <a:gd name="connsiteX34" fmla="*/ 4418 w 9880"/>
                <a:gd name="connsiteY34" fmla="*/ 9550 h 10000"/>
                <a:gd name="connsiteX35" fmla="*/ 4579 w 9880"/>
                <a:gd name="connsiteY35" fmla="*/ 9486 h 10000"/>
                <a:gd name="connsiteX36" fmla="*/ 5302 w 9880"/>
                <a:gd name="connsiteY36" fmla="*/ 9968 h 10000"/>
                <a:gd name="connsiteX37" fmla="*/ 5342 w 9880"/>
                <a:gd name="connsiteY37" fmla="*/ 9968 h 10000"/>
                <a:gd name="connsiteX38" fmla="*/ 5422 w 9880"/>
                <a:gd name="connsiteY38" fmla="*/ 9904 h 10000"/>
                <a:gd name="connsiteX39" fmla="*/ 5944 w 9880"/>
                <a:gd name="connsiteY39" fmla="*/ 9904 h 10000"/>
                <a:gd name="connsiteX40" fmla="*/ 6025 w 9880"/>
                <a:gd name="connsiteY40" fmla="*/ 10000 h 10000"/>
                <a:gd name="connsiteX41" fmla="*/ 6466 w 9880"/>
                <a:gd name="connsiteY41" fmla="*/ 9871 h 10000"/>
                <a:gd name="connsiteX42" fmla="*/ 6868 w 9880"/>
                <a:gd name="connsiteY42" fmla="*/ 9871 h 10000"/>
                <a:gd name="connsiteX43" fmla="*/ 7149 w 9880"/>
                <a:gd name="connsiteY43" fmla="*/ 9743 h 10000"/>
                <a:gd name="connsiteX44" fmla="*/ 7470 w 9880"/>
                <a:gd name="connsiteY44" fmla="*/ 9486 h 10000"/>
                <a:gd name="connsiteX45" fmla="*/ 8314 w 9880"/>
                <a:gd name="connsiteY45" fmla="*/ 9486 h 10000"/>
                <a:gd name="connsiteX46" fmla="*/ 8314 w 9880"/>
                <a:gd name="connsiteY46" fmla="*/ 9132 h 10000"/>
                <a:gd name="connsiteX47" fmla="*/ 7872 w 9880"/>
                <a:gd name="connsiteY47" fmla="*/ 8971 h 10000"/>
                <a:gd name="connsiteX48" fmla="*/ 7631 w 9880"/>
                <a:gd name="connsiteY48" fmla="*/ 8457 h 10000"/>
                <a:gd name="connsiteX49" fmla="*/ 7310 w 9880"/>
                <a:gd name="connsiteY49" fmla="*/ 8264 h 10000"/>
                <a:gd name="connsiteX50" fmla="*/ 7109 w 9880"/>
                <a:gd name="connsiteY50" fmla="*/ 8006 h 10000"/>
                <a:gd name="connsiteX51" fmla="*/ 6587 w 9880"/>
                <a:gd name="connsiteY51" fmla="*/ 7814 h 10000"/>
                <a:gd name="connsiteX52" fmla="*/ 6707 w 9880"/>
                <a:gd name="connsiteY52" fmla="*/ 7749 h 10000"/>
                <a:gd name="connsiteX53" fmla="*/ 6707 w 9880"/>
                <a:gd name="connsiteY53" fmla="*/ 7588 h 10000"/>
                <a:gd name="connsiteX54" fmla="*/ 7069 w 9880"/>
                <a:gd name="connsiteY54" fmla="*/ 7588 h 10000"/>
                <a:gd name="connsiteX55" fmla="*/ 7270 w 9880"/>
                <a:gd name="connsiteY55" fmla="*/ 7460 h 10000"/>
                <a:gd name="connsiteX56" fmla="*/ 7310 w 9880"/>
                <a:gd name="connsiteY56" fmla="*/ 6527 h 10000"/>
                <a:gd name="connsiteX57" fmla="*/ 7350 w 9880"/>
                <a:gd name="connsiteY57" fmla="*/ 6559 h 10000"/>
                <a:gd name="connsiteX58" fmla="*/ 7470 w 9880"/>
                <a:gd name="connsiteY58" fmla="*/ 6367 h 10000"/>
                <a:gd name="connsiteX59" fmla="*/ 7711 w 9880"/>
                <a:gd name="connsiteY59" fmla="*/ 6270 h 10000"/>
                <a:gd name="connsiteX60" fmla="*/ 7832 w 9880"/>
                <a:gd name="connsiteY60" fmla="*/ 5916 h 10000"/>
                <a:gd name="connsiteX61" fmla="*/ 8193 w 9880"/>
                <a:gd name="connsiteY61" fmla="*/ 5498 h 10000"/>
                <a:gd name="connsiteX62" fmla="*/ 8474 w 9880"/>
                <a:gd name="connsiteY62" fmla="*/ 5305 h 10000"/>
                <a:gd name="connsiteX63" fmla="*/ 8675 w 9880"/>
                <a:gd name="connsiteY63" fmla="*/ 4759 h 10000"/>
                <a:gd name="connsiteX64" fmla="*/ 8675 w 9880"/>
                <a:gd name="connsiteY64" fmla="*/ 4630 h 10000"/>
                <a:gd name="connsiteX65" fmla="*/ 8635 w 9880"/>
                <a:gd name="connsiteY65" fmla="*/ 4309 h 10000"/>
                <a:gd name="connsiteX66" fmla="*/ 9037 w 9880"/>
                <a:gd name="connsiteY66" fmla="*/ 3151 h 10000"/>
                <a:gd name="connsiteX67" fmla="*/ 9157 w 9880"/>
                <a:gd name="connsiteY67" fmla="*/ 3151 h 10000"/>
                <a:gd name="connsiteX68" fmla="*/ 9318 w 9880"/>
                <a:gd name="connsiteY68" fmla="*/ 3055 h 10000"/>
                <a:gd name="connsiteX69" fmla="*/ 9800 w 9880"/>
                <a:gd name="connsiteY69" fmla="*/ 2894 h 10000"/>
                <a:gd name="connsiteX70" fmla="*/ 9880 w 9880"/>
                <a:gd name="connsiteY70" fmla="*/ 2637 h 10000"/>
                <a:gd name="connsiteX71" fmla="*/ 9840 w 9880"/>
                <a:gd name="connsiteY71" fmla="*/ 2572 h 10000"/>
                <a:gd name="connsiteX72" fmla="*/ 9679 w 9880"/>
                <a:gd name="connsiteY72" fmla="*/ 2572 h 10000"/>
                <a:gd name="connsiteX73" fmla="*/ 9559 w 9880"/>
                <a:gd name="connsiteY73" fmla="*/ 2412 h 10000"/>
                <a:gd name="connsiteX74" fmla="*/ 9318 w 9880"/>
                <a:gd name="connsiteY74" fmla="*/ 2347 h 10000"/>
                <a:gd name="connsiteX75" fmla="*/ 9197 w 9880"/>
                <a:gd name="connsiteY75" fmla="*/ 2219 h 10000"/>
                <a:gd name="connsiteX76" fmla="*/ 9117 w 9880"/>
                <a:gd name="connsiteY76" fmla="*/ 1736 h 10000"/>
                <a:gd name="connsiteX77" fmla="*/ 9117 w 9880"/>
                <a:gd name="connsiteY77" fmla="*/ 1061 h 10000"/>
                <a:gd name="connsiteX78" fmla="*/ 8916 w 9880"/>
                <a:gd name="connsiteY78" fmla="*/ 836 h 10000"/>
                <a:gd name="connsiteX79" fmla="*/ 8876 w 9880"/>
                <a:gd name="connsiteY79" fmla="*/ 611 h 10000"/>
                <a:gd name="connsiteX80" fmla="*/ 8555 w 9880"/>
                <a:gd name="connsiteY80" fmla="*/ 289 h 10000"/>
                <a:gd name="connsiteX81" fmla="*/ 8274 w 9880"/>
                <a:gd name="connsiteY81" fmla="*/ 161 h 10000"/>
                <a:gd name="connsiteX82" fmla="*/ 8113 w 9880"/>
                <a:gd name="connsiteY82" fmla="*/ 0 h 10000"/>
                <a:gd name="connsiteX83" fmla="*/ 7872 w 9880"/>
                <a:gd name="connsiteY83" fmla="*/ 161 h 10000"/>
                <a:gd name="connsiteX84" fmla="*/ 7711 w 9880"/>
                <a:gd name="connsiteY84" fmla="*/ 129 h 10000"/>
                <a:gd name="connsiteX85" fmla="*/ 7591 w 9880"/>
                <a:gd name="connsiteY85" fmla="*/ 418 h 10000"/>
                <a:gd name="connsiteX86" fmla="*/ 7270 w 9880"/>
                <a:gd name="connsiteY86" fmla="*/ 482 h 10000"/>
                <a:gd name="connsiteX87" fmla="*/ 7189 w 9880"/>
                <a:gd name="connsiteY87" fmla="*/ 707 h 10000"/>
                <a:gd name="connsiteX88" fmla="*/ 6908 w 9880"/>
                <a:gd name="connsiteY88" fmla="*/ 707 h 10000"/>
                <a:gd name="connsiteX89" fmla="*/ 6667 w 9880"/>
                <a:gd name="connsiteY89" fmla="*/ 611 h 10000"/>
                <a:gd name="connsiteX90" fmla="*/ 6145 w 9880"/>
                <a:gd name="connsiteY90" fmla="*/ 611 h 10000"/>
                <a:gd name="connsiteX91" fmla="*/ 5623 w 9880"/>
                <a:gd name="connsiteY91" fmla="*/ 611 h 10000"/>
                <a:gd name="connsiteX92" fmla="*/ 5663 w 9880"/>
                <a:gd name="connsiteY92" fmla="*/ 482 h 10000"/>
                <a:gd name="connsiteX93" fmla="*/ 5583 w 9880"/>
                <a:gd name="connsiteY93" fmla="*/ 482 h 10000"/>
                <a:gd name="connsiteX94" fmla="*/ 5543 w 9880"/>
                <a:gd name="connsiteY94" fmla="*/ 611 h 10000"/>
                <a:gd name="connsiteX95" fmla="*/ 5061 w 9880"/>
                <a:gd name="connsiteY95" fmla="*/ 611 h 10000"/>
                <a:gd name="connsiteX96" fmla="*/ 4579 w 9880"/>
                <a:gd name="connsiteY96" fmla="*/ 611 h 10000"/>
                <a:gd name="connsiteX97" fmla="*/ 4097 w 9880"/>
                <a:gd name="connsiteY97" fmla="*/ 611 h 10000"/>
                <a:gd name="connsiteX98" fmla="*/ 3615 w 9880"/>
                <a:gd name="connsiteY98" fmla="*/ 611 h 10000"/>
                <a:gd name="connsiteX99" fmla="*/ 3173 w 9880"/>
                <a:gd name="connsiteY99" fmla="*/ 611 h 10000"/>
                <a:gd name="connsiteX100" fmla="*/ 2691 w 9880"/>
                <a:gd name="connsiteY100" fmla="*/ 611 h 10000"/>
                <a:gd name="connsiteX101" fmla="*/ 2249 w 9880"/>
                <a:gd name="connsiteY101" fmla="*/ 611 h 10000"/>
                <a:gd name="connsiteX102" fmla="*/ 1768 w 9880"/>
                <a:gd name="connsiteY102" fmla="*/ 611 h 10000"/>
                <a:gd name="connsiteX103" fmla="*/ 1768 w 9880"/>
                <a:gd name="connsiteY103" fmla="*/ 1061 h 10000"/>
                <a:gd name="connsiteX104" fmla="*/ 1768 w 9880"/>
                <a:gd name="connsiteY104" fmla="*/ 1640 h 10000"/>
                <a:gd name="connsiteX105" fmla="*/ 1165 w 9880"/>
                <a:gd name="connsiteY105" fmla="*/ 1640 h 10000"/>
                <a:gd name="connsiteX106" fmla="*/ 1165 w 9880"/>
                <a:gd name="connsiteY106" fmla="*/ 1897 h 10000"/>
                <a:gd name="connsiteX0" fmla="*/ 1179 w 10000"/>
                <a:gd name="connsiteY0" fmla="*/ 1897 h 10000"/>
                <a:gd name="connsiteX1" fmla="*/ 1179 w 10000"/>
                <a:gd name="connsiteY1" fmla="*/ 2412 h 10000"/>
                <a:gd name="connsiteX2" fmla="*/ 1179 w 10000"/>
                <a:gd name="connsiteY2" fmla="*/ 2894 h 10000"/>
                <a:gd name="connsiteX3" fmla="*/ 1179 w 10000"/>
                <a:gd name="connsiteY3" fmla="*/ 3376 h 10000"/>
                <a:gd name="connsiteX4" fmla="*/ 1179 w 10000"/>
                <a:gd name="connsiteY4" fmla="*/ 3826 h 10000"/>
                <a:gd name="connsiteX5" fmla="*/ 529 w 10000"/>
                <a:gd name="connsiteY5" fmla="*/ 3923 h 10000"/>
                <a:gd name="connsiteX6" fmla="*/ 407 w 10000"/>
                <a:gd name="connsiteY6" fmla="*/ 4180 h 10000"/>
                <a:gd name="connsiteX7" fmla="*/ 122 w 10000"/>
                <a:gd name="connsiteY7" fmla="*/ 4502 h 10000"/>
                <a:gd name="connsiteX8" fmla="*/ 122 w 10000"/>
                <a:gd name="connsiteY8" fmla="*/ 4759 h 10000"/>
                <a:gd name="connsiteX9" fmla="*/ 0 w 10000"/>
                <a:gd name="connsiteY9" fmla="*/ 4823 h 10000"/>
                <a:gd name="connsiteX10" fmla="*/ 3155 w 10000"/>
                <a:gd name="connsiteY10" fmla="*/ 7095 h 10000"/>
                <a:gd name="connsiteX11" fmla="*/ 2967 w 10000"/>
                <a:gd name="connsiteY11" fmla="*/ 7195 h 10000"/>
                <a:gd name="connsiteX12" fmla="*/ 2499 w 10000"/>
                <a:gd name="connsiteY12" fmla="*/ 6973 h 10000"/>
                <a:gd name="connsiteX13" fmla="*/ 2293 w 10000"/>
                <a:gd name="connsiteY13" fmla="*/ 6638 h 10000"/>
                <a:gd name="connsiteX14" fmla="*/ 1949 w 10000"/>
                <a:gd name="connsiteY14" fmla="*/ 6729 h 10000"/>
                <a:gd name="connsiteX15" fmla="*/ 1856 w 10000"/>
                <a:gd name="connsiteY15" fmla="*/ 6927 h 10000"/>
                <a:gd name="connsiteX16" fmla="*/ 1490 w 10000"/>
                <a:gd name="connsiteY16" fmla="*/ 7011 h 10000"/>
                <a:gd name="connsiteX17" fmla="*/ 1251 w 10000"/>
                <a:gd name="connsiteY17" fmla="*/ 7004 h 10000"/>
                <a:gd name="connsiteX18" fmla="*/ 1121 w 10000"/>
                <a:gd name="connsiteY18" fmla="*/ 7161 h 10000"/>
                <a:gd name="connsiteX19" fmla="*/ 895 w 10000"/>
                <a:gd name="connsiteY19" fmla="*/ 6913 h 10000"/>
                <a:gd name="connsiteX20" fmla="*/ 854 w 10000"/>
                <a:gd name="connsiteY20" fmla="*/ 7363 h 10000"/>
                <a:gd name="connsiteX21" fmla="*/ 935 w 10000"/>
                <a:gd name="connsiteY21" fmla="*/ 7428 h 10000"/>
                <a:gd name="connsiteX22" fmla="*/ 1260 w 10000"/>
                <a:gd name="connsiteY22" fmla="*/ 7460 h 10000"/>
                <a:gd name="connsiteX23" fmla="*/ 1302 w 10000"/>
                <a:gd name="connsiteY23" fmla="*/ 7588 h 10000"/>
                <a:gd name="connsiteX24" fmla="*/ 1667 w 10000"/>
                <a:gd name="connsiteY24" fmla="*/ 7621 h 10000"/>
                <a:gd name="connsiteX25" fmla="*/ 1870 w 10000"/>
                <a:gd name="connsiteY25" fmla="*/ 7749 h 10000"/>
                <a:gd name="connsiteX26" fmla="*/ 1911 w 10000"/>
                <a:gd name="connsiteY26" fmla="*/ 7974 h 10000"/>
                <a:gd name="connsiteX27" fmla="*/ 2562 w 10000"/>
                <a:gd name="connsiteY27" fmla="*/ 8360 h 10000"/>
                <a:gd name="connsiteX28" fmla="*/ 2724 w 10000"/>
                <a:gd name="connsiteY28" fmla="*/ 8746 h 10000"/>
                <a:gd name="connsiteX29" fmla="*/ 3171 w 10000"/>
                <a:gd name="connsiteY29" fmla="*/ 8939 h 10000"/>
                <a:gd name="connsiteX30" fmla="*/ 3334 w 10000"/>
                <a:gd name="connsiteY30" fmla="*/ 9196 h 10000"/>
                <a:gd name="connsiteX31" fmla="*/ 3659 w 10000"/>
                <a:gd name="connsiteY31" fmla="*/ 9518 h 10000"/>
                <a:gd name="connsiteX32" fmla="*/ 3903 w 10000"/>
                <a:gd name="connsiteY32" fmla="*/ 9614 h 10000"/>
                <a:gd name="connsiteX33" fmla="*/ 4066 w 10000"/>
                <a:gd name="connsiteY33" fmla="*/ 9518 h 10000"/>
                <a:gd name="connsiteX34" fmla="*/ 4472 w 10000"/>
                <a:gd name="connsiteY34" fmla="*/ 9550 h 10000"/>
                <a:gd name="connsiteX35" fmla="*/ 4635 w 10000"/>
                <a:gd name="connsiteY35" fmla="*/ 9486 h 10000"/>
                <a:gd name="connsiteX36" fmla="*/ 5366 w 10000"/>
                <a:gd name="connsiteY36" fmla="*/ 9968 h 10000"/>
                <a:gd name="connsiteX37" fmla="*/ 5407 w 10000"/>
                <a:gd name="connsiteY37" fmla="*/ 9968 h 10000"/>
                <a:gd name="connsiteX38" fmla="*/ 5488 w 10000"/>
                <a:gd name="connsiteY38" fmla="*/ 9904 h 10000"/>
                <a:gd name="connsiteX39" fmla="*/ 6016 w 10000"/>
                <a:gd name="connsiteY39" fmla="*/ 9904 h 10000"/>
                <a:gd name="connsiteX40" fmla="*/ 6098 w 10000"/>
                <a:gd name="connsiteY40" fmla="*/ 10000 h 10000"/>
                <a:gd name="connsiteX41" fmla="*/ 6545 w 10000"/>
                <a:gd name="connsiteY41" fmla="*/ 9871 h 10000"/>
                <a:gd name="connsiteX42" fmla="*/ 6951 w 10000"/>
                <a:gd name="connsiteY42" fmla="*/ 9871 h 10000"/>
                <a:gd name="connsiteX43" fmla="*/ 7236 w 10000"/>
                <a:gd name="connsiteY43" fmla="*/ 9743 h 10000"/>
                <a:gd name="connsiteX44" fmla="*/ 7561 w 10000"/>
                <a:gd name="connsiteY44" fmla="*/ 9486 h 10000"/>
                <a:gd name="connsiteX45" fmla="*/ 8415 w 10000"/>
                <a:gd name="connsiteY45" fmla="*/ 9486 h 10000"/>
                <a:gd name="connsiteX46" fmla="*/ 8415 w 10000"/>
                <a:gd name="connsiteY46" fmla="*/ 9132 h 10000"/>
                <a:gd name="connsiteX47" fmla="*/ 7968 w 10000"/>
                <a:gd name="connsiteY47" fmla="*/ 8971 h 10000"/>
                <a:gd name="connsiteX48" fmla="*/ 7724 w 10000"/>
                <a:gd name="connsiteY48" fmla="*/ 8457 h 10000"/>
                <a:gd name="connsiteX49" fmla="*/ 7399 w 10000"/>
                <a:gd name="connsiteY49" fmla="*/ 8264 h 10000"/>
                <a:gd name="connsiteX50" fmla="*/ 7195 w 10000"/>
                <a:gd name="connsiteY50" fmla="*/ 8006 h 10000"/>
                <a:gd name="connsiteX51" fmla="*/ 6667 w 10000"/>
                <a:gd name="connsiteY51" fmla="*/ 7814 h 10000"/>
                <a:gd name="connsiteX52" fmla="*/ 6788 w 10000"/>
                <a:gd name="connsiteY52" fmla="*/ 7749 h 10000"/>
                <a:gd name="connsiteX53" fmla="*/ 6788 w 10000"/>
                <a:gd name="connsiteY53" fmla="*/ 7588 h 10000"/>
                <a:gd name="connsiteX54" fmla="*/ 7155 w 10000"/>
                <a:gd name="connsiteY54" fmla="*/ 7588 h 10000"/>
                <a:gd name="connsiteX55" fmla="*/ 7358 w 10000"/>
                <a:gd name="connsiteY55" fmla="*/ 7460 h 10000"/>
                <a:gd name="connsiteX56" fmla="*/ 7399 w 10000"/>
                <a:gd name="connsiteY56" fmla="*/ 6527 h 10000"/>
                <a:gd name="connsiteX57" fmla="*/ 7439 w 10000"/>
                <a:gd name="connsiteY57" fmla="*/ 6559 h 10000"/>
                <a:gd name="connsiteX58" fmla="*/ 7561 w 10000"/>
                <a:gd name="connsiteY58" fmla="*/ 6367 h 10000"/>
                <a:gd name="connsiteX59" fmla="*/ 7805 w 10000"/>
                <a:gd name="connsiteY59" fmla="*/ 6270 h 10000"/>
                <a:gd name="connsiteX60" fmla="*/ 7927 w 10000"/>
                <a:gd name="connsiteY60" fmla="*/ 5916 h 10000"/>
                <a:gd name="connsiteX61" fmla="*/ 8293 w 10000"/>
                <a:gd name="connsiteY61" fmla="*/ 5498 h 10000"/>
                <a:gd name="connsiteX62" fmla="*/ 8577 w 10000"/>
                <a:gd name="connsiteY62" fmla="*/ 5305 h 10000"/>
                <a:gd name="connsiteX63" fmla="*/ 8780 w 10000"/>
                <a:gd name="connsiteY63" fmla="*/ 4759 h 10000"/>
                <a:gd name="connsiteX64" fmla="*/ 8780 w 10000"/>
                <a:gd name="connsiteY64" fmla="*/ 4630 h 10000"/>
                <a:gd name="connsiteX65" fmla="*/ 8740 w 10000"/>
                <a:gd name="connsiteY65" fmla="*/ 4309 h 10000"/>
                <a:gd name="connsiteX66" fmla="*/ 9147 w 10000"/>
                <a:gd name="connsiteY66" fmla="*/ 3151 h 10000"/>
                <a:gd name="connsiteX67" fmla="*/ 9268 w 10000"/>
                <a:gd name="connsiteY67" fmla="*/ 3151 h 10000"/>
                <a:gd name="connsiteX68" fmla="*/ 9431 w 10000"/>
                <a:gd name="connsiteY68" fmla="*/ 3055 h 10000"/>
                <a:gd name="connsiteX69" fmla="*/ 9919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7 w 10000"/>
                <a:gd name="connsiteY72" fmla="*/ 2572 h 10000"/>
                <a:gd name="connsiteX73" fmla="*/ 9675 w 10000"/>
                <a:gd name="connsiteY73" fmla="*/ 2412 h 10000"/>
                <a:gd name="connsiteX74" fmla="*/ 9431 w 10000"/>
                <a:gd name="connsiteY74" fmla="*/ 2347 h 10000"/>
                <a:gd name="connsiteX75" fmla="*/ 9309 w 10000"/>
                <a:gd name="connsiteY75" fmla="*/ 2219 h 10000"/>
                <a:gd name="connsiteX76" fmla="*/ 9228 w 10000"/>
                <a:gd name="connsiteY76" fmla="*/ 1736 h 10000"/>
                <a:gd name="connsiteX77" fmla="*/ 9228 w 10000"/>
                <a:gd name="connsiteY77" fmla="*/ 1061 h 10000"/>
                <a:gd name="connsiteX78" fmla="*/ 9024 w 10000"/>
                <a:gd name="connsiteY78" fmla="*/ 836 h 10000"/>
                <a:gd name="connsiteX79" fmla="*/ 8984 w 10000"/>
                <a:gd name="connsiteY79" fmla="*/ 611 h 10000"/>
                <a:gd name="connsiteX80" fmla="*/ 8659 w 10000"/>
                <a:gd name="connsiteY80" fmla="*/ 289 h 10000"/>
                <a:gd name="connsiteX81" fmla="*/ 8374 w 10000"/>
                <a:gd name="connsiteY81" fmla="*/ 161 h 10000"/>
                <a:gd name="connsiteX82" fmla="*/ 8212 w 10000"/>
                <a:gd name="connsiteY82" fmla="*/ 0 h 10000"/>
                <a:gd name="connsiteX83" fmla="*/ 7968 w 10000"/>
                <a:gd name="connsiteY83" fmla="*/ 161 h 10000"/>
                <a:gd name="connsiteX84" fmla="*/ 7805 w 10000"/>
                <a:gd name="connsiteY84" fmla="*/ 129 h 10000"/>
                <a:gd name="connsiteX85" fmla="*/ 7683 w 10000"/>
                <a:gd name="connsiteY85" fmla="*/ 418 h 10000"/>
                <a:gd name="connsiteX86" fmla="*/ 7358 w 10000"/>
                <a:gd name="connsiteY86" fmla="*/ 482 h 10000"/>
                <a:gd name="connsiteX87" fmla="*/ 7276 w 10000"/>
                <a:gd name="connsiteY87" fmla="*/ 707 h 10000"/>
                <a:gd name="connsiteX88" fmla="*/ 6992 w 10000"/>
                <a:gd name="connsiteY88" fmla="*/ 707 h 10000"/>
                <a:gd name="connsiteX89" fmla="*/ 6748 w 10000"/>
                <a:gd name="connsiteY89" fmla="*/ 611 h 10000"/>
                <a:gd name="connsiteX90" fmla="*/ 6220 w 10000"/>
                <a:gd name="connsiteY90" fmla="*/ 611 h 10000"/>
                <a:gd name="connsiteX91" fmla="*/ 5691 w 10000"/>
                <a:gd name="connsiteY91" fmla="*/ 611 h 10000"/>
                <a:gd name="connsiteX92" fmla="*/ 5732 w 10000"/>
                <a:gd name="connsiteY92" fmla="*/ 482 h 10000"/>
                <a:gd name="connsiteX93" fmla="*/ 5651 w 10000"/>
                <a:gd name="connsiteY93" fmla="*/ 482 h 10000"/>
                <a:gd name="connsiteX94" fmla="*/ 5610 w 10000"/>
                <a:gd name="connsiteY94" fmla="*/ 611 h 10000"/>
                <a:gd name="connsiteX95" fmla="*/ 5122 w 10000"/>
                <a:gd name="connsiteY95" fmla="*/ 611 h 10000"/>
                <a:gd name="connsiteX96" fmla="*/ 4635 w 10000"/>
                <a:gd name="connsiteY96" fmla="*/ 611 h 10000"/>
                <a:gd name="connsiteX97" fmla="*/ 4147 w 10000"/>
                <a:gd name="connsiteY97" fmla="*/ 611 h 10000"/>
                <a:gd name="connsiteX98" fmla="*/ 3659 w 10000"/>
                <a:gd name="connsiteY98" fmla="*/ 611 h 10000"/>
                <a:gd name="connsiteX99" fmla="*/ 3212 w 10000"/>
                <a:gd name="connsiteY99" fmla="*/ 611 h 10000"/>
                <a:gd name="connsiteX100" fmla="*/ 2724 w 10000"/>
                <a:gd name="connsiteY100" fmla="*/ 611 h 10000"/>
                <a:gd name="connsiteX101" fmla="*/ 2276 w 10000"/>
                <a:gd name="connsiteY101" fmla="*/ 611 h 10000"/>
                <a:gd name="connsiteX102" fmla="*/ 1789 w 10000"/>
                <a:gd name="connsiteY102" fmla="*/ 611 h 10000"/>
                <a:gd name="connsiteX103" fmla="*/ 1789 w 10000"/>
                <a:gd name="connsiteY103" fmla="*/ 1061 h 10000"/>
                <a:gd name="connsiteX104" fmla="*/ 1789 w 10000"/>
                <a:gd name="connsiteY104" fmla="*/ 1640 h 10000"/>
                <a:gd name="connsiteX105" fmla="*/ 1179 w 10000"/>
                <a:gd name="connsiteY105" fmla="*/ 1640 h 10000"/>
                <a:gd name="connsiteX106" fmla="*/ 1179 w 10000"/>
                <a:gd name="connsiteY106" fmla="*/ 1897 h 10000"/>
                <a:gd name="connsiteX0" fmla="*/ 1098 w 9919"/>
                <a:gd name="connsiteY0" fmla="*/ 1897 h 10000"/>
                <a:gd name="connsiteX1" fmla="*/ 1098 w 9919"/>
                <a:gd name="connsiteY1" fmla="*/ 2412 h 10000"/>
                <a:gd name="connsiteX2" fmla="*/ 1098 w 9919"/>
                <a:gd name="connsiteY2" fmla="*/ 2894 h 10000"/>
                <a:gd name="connsiteX3" fmla="*/ 1098 w 9919"/>
                <a:gd name="connsiteY3" fmla="*/ 3376 h 10000"/>
                <a:gd name="connsiteX4" fmla="*/ 1098 w 9919"/>
                <a:gd name="connsiteY4" fmla="*/ 3826 h 10000"/>
                <a:gd name="connsiteX5" fmla="*/ 448 w 9919"/>
                <a:gd name="connsiteY5" fmla="*/ 3923 h 10000"/>
                <a:gd name="connsiteX6" fmla="*/ 326 w 9919"/>
                <a:gd name="connsiteY6" fmla="*/ 4180 h 10000"/>
                <a:gd name="connsiteX7" fmla="*/ 41 w 9919"/>
                <a:gd name="connsiteY7" fmla="*/ 4502 h 10000"/>
                <a:gd name="connsiteX8" fmla="*/ 41 w 9919"/>
                <a:gd name="connsiteY8" fmla="*/ 4759 h 10000"/>
                <a:gd name="connsiteX9" fmla="*/ 3775 w 9919"/>
                <a:gd name="connsiteY9" fmla="*/ 7279 h 10000"/>
                <a:gd name="connsiteX10" fmla="*/ 3074 w 9919"/>
                <a:gd name="connsiteY10" fmla="*/ 7095 h 10000"/>
                <a:gd name="connsiteX11" fmla="*/ 2886 w 9919"/>
                <a:gd name="connsiteY11" fmla="*/ 7195 h 10000"/>
                <a:gd name="connsiteX12" fmla="*/ 2418 w 9919"/>
                <a:gd name="connsiteY12" fmla="*/ 6973 h 10000"/>
                <a:gd name="connsiteX13" fmla="*/ 2212 w 9919"/>
                <a:gd name="connsiteY13" fmla="*/ 6638 h 10000"/>
                <a:gd name="connsiteX14" fmla="*/ 1868 w 9919"/>
                <a:gd name="connsiteY14" fmla="*/ 6729 h 10000"/>
                <a:gd name="connsiteX15" fmla="*/ 1775 w 9919"/>
                <a:gd name="connsiteY15" fmla="*/ 6927 h 10000"/>
                <a:gd name="connsiteX16" fmla="*/ 1409 w 9919"/>
                <a:gd name="connsiteY16" fmla="*/ 7011 h 10000"/>
                <a:gd name="connsiteX17" fmla="*/ 1170 w 9919"/>
                <a:gd name="connsiteY17" fmla="*/ 7004 h 10000"/>
                <a:gd name="connsiteX18" fmla="*/ 1040 w 9919"/>
                <a:gd name="connsiteY18" fmla="*/ 7161 h 10000"/>
                <a:gd name="connsiteX19" fmla="*/ 814 w 9919"/>
                <a:gd name="connsiteY19" fmla="*/ 6913 h 10000"/>
                <a:gd name="connsiteX20" fmla="*/ 773 w 9919"/>
                <a:gd name="connsiteY20" fmla="*/ 7363 h 10000"/>
                <a:gd name="connsiteX21" fmla="*/ 854 w 9919"/>
                <a:gd name="connsiteY21" fmla="*/ 7428 h 10000"/>
                <a:gd name="connsiteX22" fmla="*/ 1179 w 9919"/>
                <a:gd name="connsiteY22" fmla="*/ 7460 h 10000"/>
                <a:gd name="connsiteX23" fmla="*/ 1221 w 9919"/>
                <a:gd name="connsiteY23" fmla="*/ 7588 h 10000"/>
                <a:gd name="connsiteX24" fmla="*/ 1586 w 9919"/>
                <a:gd name="connsiteY24" fmla="*/ 7621 h 10000"/>
                <a:gd name="connsiteX25" fmla="*/ 1789 w 9919"/>
                <a:gd name="connsiteY25" fmla="*/ 7749 h 10000"/>
                <a:gd name="connsiteX26" fmla="*/ 1830 w 9919"/>
                <a:gd name="connsiteY26" fmla="*/ 7974 h 10000"/>
                <a:gd name="connsiteX27" fmla="*/ 2481 w 9919"/>
                <a:gd name="connsiteY27" fmla="*/ 8360 h 10000"/>
                <a:gd name="connsiteX28" fmla="*/ 2643 w 9919"/>
                <a:gd name="connsiteY28" fmla="*/ 8746 h 10000"/>
                <a:gd name="connsiteX29" fmla="*/ 3090 w 9919"/>
                <a:gd name="connsiteY29" fmla="*/ 8939 h 10000"/>
                <a:gd name="connsiteX30" fmla="*/ 3253 w 9919"/>
                <a:gd name="connsiteY30" fmla="*/ 9196 h 10000"/>
                <a:gd name="connsiteX31" fmla="*/ 3578 w 9919"/>
                <a:gd name="connsiteY31" fmla="*/ 9518 h 10000"/>
                <a:gd name="connsiteX32" fmla="*/ 3822 w 9919"/>
                <a:gd name="connsiteY32" fmla="*/ 9614 h 10000"/>
                <a:gd name="connsiteX33" fmla="*/ 3985 w 9919"/>
                <a:gd name="connsiteY33" fmla="*/ 9518 h 10000"/>
                <a:gd name="connsiteX34" fmla="*/ 4391 w 9919"/>
                <a:gd name="connsiteY34" fmla="*/ 9550 h 10000"/>
                <a:gd name="connsiteX35" fmla="*/ 4554 w 9919"/>
                <a:gd name="connsiteY35" fmla="*/ 9486 h 10000"/>
                <a:gd name="connsiteX36" fmla="*/ 5285 w 9919"/>
                <a:gd name="connsiteY36" fmla="*/ 9968 h 10000"/>
                <a:gd name="connsiteX37" fmla="*/ 5326 w 9919"/>
                <a:gd name="connsiteY37" fmla="*/ 9968 h 10000"/>
                <a:gd name="connsiteX38" fmla="*/ 5407 w 9919"/>
                <a:gd name="connsiteY38" fmla="*/ 9904 h 10000"/>
                <a:gd name="connsiteX39" fmla="*/ 5935 w 9919"/>
                <a:gd name="connsiteY39" fmla="*/ 9904 h 10000"/>
                <a:gd name="connsiteX40" fmla="*/ 6017 w 9919"/>
                <a:gd name="connsiteY40" fmla="*/ 10000 h 10000"/>
                <a:gd name="connsiteX41" fmla="*/ 6464 w 9919"/>
                <a:gd name="connsiteY41" fmla="*/ 9871 h 10000"/>
                <a:gd name="connsiteX42" fmla="*/ 6870 w 9919"/>
                <a:gd name="connsiteY42" fmla="*/ 9871 h 10000"/>
                <a:gd name="connsiteX43" fmla="*/ 7155 w 9919"/>
                <a:gd name="connsiteY43" fmla="*/ 9743 h 10000"/>
                <a:gd name="connsiteX44" fmla="*/ 7480 w 9919"/>
                <a:gd name="connsiteY44" fmla="*/ 9486 h 10000"/>
                <a:gd name="connsiteX45" fmla="*/ 8334 w 9919"/>
                <a:gd name="connsiteY45" fmla="*/ 9486 h 10000"/>
                <a:gd name="connsiteX46" fmla="*/ 8334 w 9919"/>
                <a:gd name="connsiteY46" fmla="*/ 9132 h 10000"/>
                <a:gd name="connsiteX47" fmla="*/ 7887 w 9919"/>
                <a:gd name="connsiteY47" fmla="*/ 8971 h 10000"/>
                <a:gd name="connsiteX48" fmla="*/ 7643 w 9919"/>
                <a:gd name="connsiteY48" fmla="*/ 8457 h 10000"/>
                <a:gd name="connsiteX49" fmla="*/ 7318 w 9919"/>
                <a:gd name="connsiteY49" fmla="*/ 8264 h 10000"/>
                <a:gd name="connsiteX50" fmla="*/ 7114 w 9919"/>
                <a:gd name="connsiteY50" fmla="*/ 8006 h 10000"/>
                <a:gd name="connsiteX51" fmla="*/ 6586 w 9919"/>
                <a:gd name="connsiteY51" fmla="*/ 7814 h 10000"/>
                <a:gd name="connsiteX52" fmla="*/ 6707 w 9919"/>
                <a:gd name="connsiteY52" fmla="*/ 7749 h 10000"/>
                <a:gd name="connsiteX53" fmla="*/ 6707 w 9919"/>
                <a:gd name="connsiteY53" fmla="*/ 7588 h 10000"/>
                <a:gd name="connsiteX54" fmla="*/ 7074 w 9919"/>
                <a:gd name="connsiteY54" fmla="*/ 7588 h 10000"/>
                <a:gd name="connsiteX55" fmla="*/ 7277 w 9919"/>
                <a:gd name="connsiteY55" fmla="*/ 7460 h 10000"/>
                <a:gd name="connsiteX56" fmla="*/ 7318 w 9919"/>
                <a:gd name="connsiteY56" fmla="*/ 6527 h 10000"/>
                <a:gd name="connsiteX57" fmla="*/ 7358 w 9919"/>
                <a:gd name="connsiteY57" fmla="*/ 6559 h 10000"/>
                <a:gd name="connsiteX58" fmla="*/ 7480 w 9919"/>
                <a:gd name="connsiteY58" fmla="*/ 6367 h 10000"/>
                <a:gd name="connsiteX59" fmla="*/ 7724 w 9919"/>
                <a:gd name="connsiteY59" fmla="*/ 6270 h 10000"/>
                <a:gd name="connsiteX60" fmla="*/ 7846 w 9919"/>
                <a:gd name="connsiteY60" fmla="*/ 5916 h 10000"/>
                <a:gd name="connsiteX61" fmla="*/ 8212 w 9919"/>
                <a:gd name="connsiteY61" fmla="*/ 5498 h 10000"/>
                <a:gd name="connsiteX62" fmla="*/ 8496 w 9919"/>
                <a:gd name="connsiteY62" fmla="*/ 5305 h 10000"/>
                <a:gd name="connsiteX63" fmla="*/ 8699 w 9919"/>
                <a:gd name="connsiteY63" fmla="*/ 4759 h 10000"/>
                <a:gd name="connsiteX64" fmla="*/ 8699 w 9919"/>
                <a:gd name="connsiteY64" fmla="*/ 4630 h 10000"/>
                <a:gd name="connsiteX65" fmla="*/ 8659 w 9919"/>
                <a:gd name="connsiteY65" fmla="*/ 4309 h 10000"/>
                <a:gd name="connsiteX66" fmla="*/ 9066 w 9919"/>
                <a:gd name="connsiteY66" fmla="*/ 3151 h 10000"/>
                <a:gd name="connsiteX67" fmla="*/ 9187 w 9919"/>
                <a:gd name="connsiteY67" fmla="*/ 3151 h 10000"/>
                <a:gd name="connsiteX68" fmla="*/ 9350 w 9919"/>
                <a:gd name="connsiteY68" fmla="*/ 3055 h 10000"/>
                <a:gd name="connsiteX69" fmla="*/ 9838 w 9919"/>
                <a:gd name="connsiteY69" fmla="*/ 2894 h 10000"/>
                <a:gd name="connsiteX70" fmla="*/ 9919 w 9919"/>
                <a:gd name="connsiteY70" fmla="*/ 2637 h 10000"/>
                <a:gd name="connsiteX71" fmla="*/ 9879 w 9919"/>
                <a:gd name="connsiteY71" fmla="*/ 2572 h 10000"/>
                <a:gd name="connsiteX72" fmla="*/ 9716 w 9919"/>
                <a:gd name="connsiteY72" fmla="*/ 2572 h 10000"/>
                <a:gd name="connsiteX73" fmla="*/ 9594 w 9919"/>
                <a:gd name="connsiteY73" fmla="*/ 2412 h 10000"/>
                <a:gd name="connsiteX74" fmla="*/ 9350 w 9919"/>
                <a:gd name="connsiteY74" fmla="*/ 2347 h 10000"/>
                <a:gd name="connsiteX75" fmla="*/ 9228 w 9919"/>
                <a:gd name="connsiteY75" fmla="*/ 2219 h 10000"/>
                <a:gd name="connsiteX76" fmla="*/ 9147 w 9919"/>
                <a:gd name="connsiteY76" fmla="*/ 1736 h 10000"/>
                <a:gd name="connsiteX77" fmla="*/ 9147 w 9919"/>
                <a:gd name="connsiteY77" fmla="*/ 1061 h 10000"/>
                <a:gd name="connsiteX78" fmla="*/ 8943 w 9919"/>
                <a:gd name="connsiteY78" fmla="*/ 836 h 10000"/>
                <a:gd name="connsiteX79" fmla="*/ 8903 w 9919"/>
                <a:gd name="connsiteY79" fmla="*/ 611 h 10000"/>
                <a:gd name="connsiteX80" fmla="*/ 8578 w 9919"/>
                <a:gd name="connsiteY80" fmla="*/ 289 h 10000"/>
                <a:gd name="connsiteX81" fmla="*/ 8293 w 9919"/>
                <a:gd name="connsiteY81" fmla="*/ 161 h 10000"/>
                <a:gd name="connsiteX82" fmla="*/ 8131 w 9919"/>
                <a:gd name="connsiteY82" fmla="*/ 0 h 10000"/>
                <a:gd name="connsiteX83" fmla="*/ 7887 w 9919"/>
                <a:gd name="connsiteY83" fmla="*/ 161 h 10000"/>
                <a:gd name="connsiteX84" fmla="*/ 7724 w 9919"/>
                <a:gd name="connsiteY84" fmla="*/ 129 h 10000"/>
                <a:gd name="connsiteX85" fmla="*/ 7602 w 9919"/>
                <a:gd name="connsiteY85" fmla="*/ 418 h 10000"/>
                <a:gd name="connsiteX86" fmla="*/ 7277 w 9919"/>
                <a:gd name="connsiteY86" fmla="*/ 482 h 10000"/>
                <a:gd name="connsiteX87" fmla="*/ 7195 w 9919"/>
                <a:gd name="connsiteY87" fmla="*/ 707 h 10000"/>
                <a:gd name="connsiteX88" fmla="*/ 6911 w 9919"/>
                <a:gd name="connsiteY88" fmla="*/ 707 h 10000"/>
                <a:gd name="connsiteX89" fmla="*/ 6667 w 9919"/>
                <a:gd name="connsiteY89" fmla="*/ 611 h 10000"/>
                <a:gd name="connsiteX90" fmla="*/ 6139 w 9919"/>
                <a:gd name="connsiteY90" fmla="*/ 611 h 10000"/>
                <a:gd name="connsiteX91" fmla="*/ 5610 w 9919"/>
                <a:gd name="connsiteY91" fmla="*/ 611 h 10000"/>
                <a:gd name="connsiteX92" fmla="*/ 5651 w 9919"/>
                <a:gd name="connsiteY92" fmla="*/ 482 h 10000"/>
                <a:gd name="connsiteX93" fmla="*/ 5570 w 9919"/>
                <a:gd name="connsiteY93" fmla="*/ 482 h 10000"/>
                <a:gd name="connsiteX94" fmla="*/ 5529 w 9919"/>
                <a:gd name="connsiteY94" fmla="*/ 611 h 10000"/>
                <a:gd name="connsiteX95" fmla="*/ 5041 w 9919"/>
                <a:gd name="connsiteY95" fmla="*/ 611 h 10000"/>
                <a:gd name="connsiteX96" fmla="*/ 4554 w 9919"/>
                <a:gd name="connsiteY96" fmla="*/ 611 h 10000"/>
                <a:gd name="connsiteX97" fmla="*/ 4066 w 9919"/>
                <a:gd name="connsiteY97" fmla="*/ 611 h 10000"/>
                <a:gd name="connsiteX98" fmla="*/ 3578 w 9919"/>
                <a:gd name="connsiteY98" fmla="*/ 611 h 10000"/>
                <a:gd name="connsiteX99" fmla="*/ 3131 w 9919"/>
                <a:gd name="connsiteY99" fmla="*/ 611 h 10000"/>
                <a:gd name="connsiteX100" fmla="*/ 2643 w 9919"/>
                <a:gd name="connsiteY100" fmla="*/ 611 h 10000"/>
                <a:gd name="connsiteX101" fmla="*/ 2195 w 9919"/>
                <a:gd name="connsiteY101" fmla="*/ 611 h 10000"/>
                <a:gd name="connsiteX102" fmla="*/ 1708 w 9919"/>
                <a:gd name="connsiteY102" fmla="*/ 611 h 10000"/>
                <a:gd name="connsiteX103" fmla="*/ 1708 w 9919"/>
                <a:gd name="connsiteY103" fmla="*/ 1061 h 10000"/>
                <a:gd name="connsiteX104" fmla="*/ 1708 w 9919"/>
                <a:gd name="connsiteY104" fmla="*/ 1640 h 10000"/>
                <a:gd name="connsiteX105" fmla="*/ 1098 w 9919"/>
                <a:gd name="connsiteY105" fmla="*/ 1640 h 10000"/>
                <a:gd name="connsiteX106" fmla="*/ 1098 w 9919"/>
                <a:gd name="connsiteY106" fmla="*/ 1897 h 10000"/>
                <a:gd name="connsiteX0" fmla="*/ 1066 w 9959"/>
                <a:gd name="connsiteY0" fmla="*/ 1897 h 10000"/>
                <a:gd name="connsiteX1" fmla="*/ 1066 w 9959"/>
                <a:gd name="connsiteY1" fmla="*/ 2412 h 10000"/>
                <a:gd name="connsiteX2" fmla="*/ 1066 w 9959"/>
                <a:gd name="connsiteY2" fmla="*/ 2894 h 10000"/>
                <a:gd name="connsiteX3" fmla="*/ 1066 w 9959"/>
                <a:gd name="connsiteY3" fmla="*/ 3376 h 10000"/>
                <a:gd name="connsiteX4" fmla="*/ 1066 w 9959"/>
                <a:gd name="connsiteY4" fmla="*/ 3826 h 10000"/>
                <a:gd name="connsiteX5" fmla="*/ 411 w 9959"/>
                <a:gd name="connsiteY5" fmla="*/ 3923 h 10000"/>
                <a:gd name="connsiteX6" fmla="*/ 288 w 9959"/>
                <a:gd name="connsiteY6" fmla="*/ 4180 h 10000"/>
                <a:gd name="connsiteX7" fmla="*/ 0 w 9959"/>
                <a:gd name="connsiteY7" fmla="*/ 4502 h 10000"/>
                <a:gd name="connsiteX8" fmla="*/ 4089 w 9959"/>
                <a:gd name="connsiteY8" fmla="*/ 7281 h 10000"/>
                <a:gd name="connsiteX9" fmla="*/ 3765 w 9959"/>
                <a:gd name="connsiteY9" fmla="*/ 7279 h 10000"/>
                <a:gd name="connsiteX10" fmla="*/ 3058 w 9959"/>
                <a:gd name="connsiteY10" fmla="*/ 7095 h 10000"/>
                <a:gd name="connsiteX11" fmla="*/ 2869 w 9959"/>
                <a:gd name="connsiteY11" fmla="*/ 7195 h 10000"/>
                <a:gd name="connsiteX12" fmla="*/ 2397 w 9959"/>
                <a:gd name="connsiteY12" fmla="*/ 6973 h 10000"/>
                <a:gd name="connsiteX13" fmla="*/ 2189 w 9959"/>
                <a:gd name="connsiteY13" fmla="*/ 6638 h 10000"/>
                <a:gd name="connsiteX14" fmla="*/ 1842 w 9959"/>
                <a:gd name="connsiteY14" fmla="*/ 6729 h 10000"/>
                <a:gd name="connsiteX15" fmla="*/ 1748 w 9959"/>
                <a:gd name="connsiteY15" fmla="*/ 6927 h 10000"/>
                <a:gd name="connsiteX16" fmla="*/ 1380 w 9959"/>
                <a:gd name="connsiteY16" fmla="*/ 7011 h 10000"/>
                <a:gd name="connsiteX17" fmla="*/ 1139 w 9959"/>
                <a:gd name="connsiteY17" fmla="*/ 7004 h 10000"/>
                <a:gd name="connsiteX18" fmla="*/ 1007 w 9959"/>
                <a:gd name="connsiteY18" fmla="*/ 7161 h 10000"/>
                <a:gd name="connsiteX19" fmla="*/ 780 w 9959"/>
                <a:gd name="connsiteY19" fmla="*/ 6913 h 10000"/>
                <a:gd name="connsiteX20" fmla="*/ 738 w 9959"/>
                <a:gd name="connsiteY20" fmla="*/ 7363 h 10000"/>
                <a:gd name="connsiteX21" fmla="*/ 820 w 9959"/>
                <a:gd name="connsiteY21" fmla="*/ 7428 h 10000"/>
                <a:gd name="connsiteX22" fmla="*/ 1148 w 9959"/>
                <a:gd name="connsiteY22" fmla="*/ 7460 h 10000"/>
                <a:gd name="connsiteX23" fmla="*/ 1190 w 9959"/>
                <a:gd name="connsiteY23" fmla="*/ 7588 h 10000"/>
                <a:gd name="connsiteX24" fmla="*/ 1558 w 9959"/>
                <a:gd name="connsiteY24" fmla="*/ 7621 h 10000"/>
                <a:gd name="connsiteX25" fmla="*/ 1763 w 9959"/>
                <a:gd name="connsiteY25" fmla="*/ 7749 h 10000"/>
                <a:gd name="connsiteX26" fmla="*/ 1804 w 9959"/>
                <a:gd name="connsiteY26" fmla="*/ 7974 h 10000"/>
                <a:gd name="connsiteX27" fmla="*/ 2460 w 9959"/>
                <a:gd name="connsiteY27" fmla="*/ 8360 h 10000"/>
                <a:gd name="connsiteX28" fmla="*/ 2624 w 9959"/>
                <a:gd name="connsiteY28" fmla="*/ 8746 h 10000"/>
                <a:gd name="connsiteX29" fmla="*/ 3074 w 9959"/>
                <a:gd name="connsiteY29" fmla="*/ 8939 h 10000"/>
                <a:gd name="connsiteX30" fmla="*/ 3239 w 9959"/>
                <a:gd name="connsiteY30" fmla="*/ 9196 h 10000"/>
                <a:gd name="connsiteX31" fmla="*/ 3566 w 9959"/>
                <a:gd name="connsiteY31" fmla="*/ 9518 h 10000"/>
                <a:gd name="connsiteX32" fmla="*/ 3812 w 9959"/>
                <a:gd name="connsiteY32" fmla="*/ 9614 h 10000"/>
                <a:gd name="connsiteX33" fmla="*/ 3977 w 9959"/>
                <a:gd name="connsiteY33" fmla="*/ 9518 h 10000"/>
                <a:gd name="connsiteX34" fmla="*/ 4386 w 9959"/>
                <a:gd name="connsiteY34" fmla="*/ 9550 h 10000"/>
                <a:gd name="connsiteX35" fmla="*/ 4550 w 9959"/>
                <a:gd name="connsiteY35" fmla="*/ 9486 h 10000"/>
                <a:gd name="connsiteX36" fmla="*/ 5287 w 9959"/>
                <a:gd name="connsiteY36" fmla="*/ 9968 h 10000"/>
                <a:gd name="connsiteX37" fmla="*/ 5328 w 9959"/>
                <a:gd name="connsiteY37" fmla="*/ 9968 h 10000"/>
                <a:gd name="connsiteX38" fmla="*/ 5410 w 9959"/>
                <a:gd name="connsiteY38" fmla="*/ 9904 h 10000"/>
                <a:gd name="connsiteX39" fmla="*/ 5942 w 9959"/>
                <a:gd name="connsiteY39" fmla="*/ 9904 h 10000"/>
                <a:gd name="connsiteX40" fmla="*/ 6025 w 9959"/>
                <a:gd name="connsiteY40" fmla="*/ 10000 h 10000"/>
                <a:gd name="connsiteX41" fmla="*/ 6476 w 9959"/>
                <a:gd name="connsiteY41" fmla="*/ 9871 h 10000"/>
                <a:gd name="connsiteX42" fmla="*/ 6885 w 9959"/>
                <a:gd name="connsiteY42" fmla="*/ 9871 h 10000"/>
                <a:gd name="connsiteX43" fmla="*/ 7172 w 9959"/>
                <a:gd name="connsiteY43" fmla="*/ 9743 h 10000"/>
                <a:gd name="connsiteX44" fmla="*/ 7500 w 9959"/>
                <a:gd name="connsiteY44" fmla="*/ 9486 h 10000"/>
                <a:gd name="connsiteX45" fmla="*/ 8361 w 9959"/>
                <a:gd name="connsiteY45" fmla="*/ 9486 h 10000"/>
                <a:gd name="connsiteX46" fmla="*/ 8361 w 9959"/>
                <a:gd name="connsiteY46" fmla="*/ 9132 h 10000"/>
                <a:gd name="connsiteX47" fmla="*/ 7910 w 9959"/>
                <a:gd name="connsiteY47" fmla="*/ 8971 h 10000"/>
                <a:gd name="connsiteX48" fmla="*/ 7664 w 9959"/>
                <a:gd name="connsiteY48" fmla="*/ 8457 h 10000"/>
                <a:gd name="connsiteX49" fmla="*/ 7337 w 9959"/>
                <a:gd name="connsiteY49" fmla="*/ 8264 h 10000"/>
                <a:gd name="connsiteX50" fmla="*/ 7131 w 9959"/>
                <a:gd name="connsiteY50" fmla="*/ 8006 h 10000"/>
                <a:gd name="connsiteX51" fmla="*/ 6599 w 9959"/>
                <a:gd name="connsiteY51" fmla="*/ 7814 h 10000"/>
                <a:gd name="connsiteX52" fmla="*/ 6721 w 9959"/>
                <a:gd name="connsiteY52" fmla="*/ 7749 h 10000"/>
                <a:gd name="connsiteX53" fmla="*/ 6721 w 9959"/>
                <a:gd name="connsiteY53" fmla="*/ 7588 h 10000"/>
                <a:gd name="connsiteX54" fmla="*/ 7091 w 9959"/>
                <a:gd name="connsiteY54" fmla="*/ 7588 h 10000"/>
                <a:gd name="connsiteX55" fmla="*/ 7295 w 9959"/>
                <a:gd name="connsiteY55" fmla="*/ 7460 h 10000"/>
                <a:gd name="connsiteX56" fmla="*/ 7337 w 9959"/>
                <a:gd name="connsiteY56" fmla="*/ 6527 h 10000"/>
                <a:gd name="connsiteX57" fmla="*/ 7377 w 9959"/>
                <a:gd name="connsiteY57" fmla="*/ 6559 h 10000"/>
                <a:gd name="connsiteX58" fmla="*/ 7500 w 9959"/>
                <a:gd name="connsiteY58" fmla="*/ 6367 h 10000"/>
                <a:gd name="connsiteX59" fmla="*/ 7746 w 9959"/>
                <a:gd name="connsiteY59" fmla="*/ 6270 h 10000"/>
                <a:gd name="connsiteX60" fmla="*/ 7869 w 9959"/>
                <a:gd name="connsiteY60" fmla="*/ 5916 h 10000"/>
                <a:gd name="connsiteX61" fmla="*/ 8238 w 9959"/>
                <a:gd name="connsiteY61" fmla="*/ 5498 h 10000"/>
                <a:gd name="connsiteX62" fmla="*/ 8524 w 9959"/>
                <a:gd name="connsiteY62" fmla="*/ 5305 h 10000"/>
                <a:gd name="connsiteX63" fmla="*/ 8729 w 9959"/>
                <a:gd name="connsiteY63" fmla="*/ 4759 h 10000"/>
                <a:gd name="connsiteX64" fmla="*/ 8729 w 9959"/>
                <a:gd name="connsiteY64" fmla="*/ 4630 h 10000"/>
                <a:gd name="connsiteX65" fmla="*/ 8689 w 9959"/>
                <a:gd name="connsiteY65" fmla="*/ 4309 h 10000"/>
                <a:gd name="connsiteX66" fmla="*/ 9099 w 9959"/>
                <a:gd name="connsiteY66" fmla="*/ 3151 h 10000"/>
                <a:gd name="connsiteX67" fmla="*/ 9221 w 9959"/>
                <a:gd name="connsiteY67" fmla="*/ 3151 h 10000"/>
                <a:gd name="connsiteX68" fmla="*/ 9385 w 9959"/>
                <a:gd name="connsiteY68" fmla="*/ 3055 h 10000"/>
                <a:gd name="connsiteX69" fmla="*/ 9877 w 9959"/>
                <a:gd name="connsiteY69" fmla="*/ 2894 h 10000"/>
                <a:gd name="connsiteX70" fmla="*/ 9959 w 9959"/>
                <a:gd name="connsiteY70" fmla="*/ 2637 h 10000"/>
                <a:gd name="connsiteX71" fmla="*/ 9919 w 9959"/>
                <a:gd name="connsiteY71" fmla="*/ 2572 h 10000"/>
                <a:gd name="connsiteX72" fmla="*/ 9754 w 9959"/>
                <a:gd name="connsiteY72" fmla="*/ 2572 h 10000"/>
                <a:gd name="connsiteX73" fmla="*/ 9631 w 9959"/>
                <a:gd name="connsiteY73" fmla="*/ 2412 h 10000"/>
                <a:gd name="connsiteX74" fmla="*/ 9385 w 9959"/>
                <a:gd name="connsiteY74" fmla="*/ 2347 h 10000"/>
                <a:gd name="connsiteX75" fmla="*/ 9262 w 9959"/>
                <a:gd name="connsiteY75" fmla="*/ 2219 h 10000"/>
                <a:gd name="connsiteX76" fmla="*/ 9181 w 9959"/>
                <a:gd name="connsiteY76" fmla="*/ 1736 h 10000"/>
                <a:gd name="connsiteX77" fmla="*/ 9181 w 9959"/>
                <a:gd name="connsiteY77" fmla="*/ 1061 h 10000"/>
                <a:gd name="connsiteX78" fmla="*/ 8975 w 9959"/>
                <a:gd name="connsiteY78" fmla="*/ 836 h 10000"/>
                <a:gd name="connsiteX79" fmla="*/ 8935 w 9959"/>
                <a:gd name="connsiteY79" fmla="*/ 611 h 10000"/>
                <a:gd name="connsiteX80" fmla="*/ 8607 w 9959"/>
                <a:gd name="connsiteY80" fmla="*/ 289 h 10000"/>
                <a:gd name="connsiteX81" fmla="*/ 8320 w 9959"/>
                <a:gd name="connsiteY81" fmla="*/ 161 h 10000"/>
                <a:gd name="connsiteX82" fmla="*/ 8156 w 9959"/>
                <a:gd name="connsiteY82" fmla="*/ 0 h 10000"/>
                <a:gd name="connsiteX83" fmla="*/ 7910 w 9959"/>
                <a:gd name="connsiteY83" fmla="*/ 161 h 10000"/>
                <a:gd name="connsiteX84" fmla="*/ 7746 w 9959"/>
                <a:gd name="connsiteY84" fmla="*/ 129 h 10000"/>
                <a:gd name="connsiteX85" fmla="*/ 7623 w 9959"/>
                <a:gd name="connsiteY85" fmla="*/ 418 h 10000"/>
                <a:gd name="connsiteX86" fmla="*/ 7295 w 9959"/>
                <a:gd name="connsiteY86" fmla="*/ 482 h 10000"/>
                <a:gd name="connsiteX87" fmla="*/ 7213 w 9959"/>
                <a:gd name="connsiteY87" fmla="*/ 707 h 10000"/>
                <a:gd name="connsiteX88" fmla="*/ 6926 w 9959"/>
                <a:gd name="connsiteY88" fmla="*/ 707 h 10000"/>
                <a:gd name="connsiteX89" fmla="*/ 6680 w 9959"/>
                <a:gd name="connsiteY89" fmla="*/ 611 h 10000"/>
                <a:gd name="connsiteX90" fmla="*/ 6148 w 9959"/>
                <a:gd name="connsiteY90" fmla="*/ 611 h 10000"/>
                <a:gd name="connsiteX91" fmla="*/ 5615 w 9959"/>
                <a:gd name="connsiteY91" fmla="*/ 611 h 10000"/>
                <a:gd name="connsiteX92" fmla="*/ 5656 w 9959"/>
                <a:gd name="connsiteY92" fmla="*/ 482 h 10000"/>
                <a:gd name="connsiteX93" fmla="*/ 5574 w 9959"/>
                <a:gd name="connsiteY93" fmla="*/ 482 h 10000"/>
                <a:gd name="connsiteX94" fmla="*/ 5533 w 9959"/>
                <a:gd name="connsiteY94" fmla="*/ 611 h 10000"/>
                <a:gd name="connsiteX95" fmla="*/ 5041 w 9959"/>
                <a:gd name="connsiteY95" fmla="*/ 611 h 10000"/>
                <a:gd name="connsiteX96" fmla="*/ 4550 w 9959"/>
                <a:gd name="connsiteY96" fmla="*/ 611 h 10000"/>
                <a:gd name="connsiteX97" fmla="*/ 4058 w 9959"/>
                <a:gd name="connsiteY97" fmla="*/ 611 h 10000"/>
                <a:gd name="connsiteX98" fmla="*/ 3566 w 9959"/>
                <a:gd name="connsiteY98" fmla="*/ 611 h 10000"/>
                <a:gd name="connsiteX99" fmla="*/ 3116 w 9959"/>
                <a:gd name="connsiteY99" fmla="*/ 611 h 10000"/>
                <a:gd name="connsiteX100" fmla="*/ 2624 w 9959"/>
                <a:gd name="connsiteY100" fmla="*/ 611 h 10000"/>
                <a:gd name="connsiteX101" fmla="*/ 2172 w 9959"/>
                <a:gd name="connsiteY101" fmla="*/ 611 h 10000"/>
                <a:gd name="connsiteX102" fmla="*/ 1681 w 9959"/>
                <a:gd name="connsiteY102" fmla="*/ 611 h 10000"/>
                <a:gd name="connsiteX103" fmla="*/ 1681 w 9959"/>
                <a:gd name="connsiteY103" fmla="*/ 1061 h 10000"/>
                <a:gd name="connsiteX104" fmla="*/ 1681 w 9959"/>
                <a:gd name="connsiteY104" fmla="*/ 1640 h 10000"/>
                <a:gd name="connsiteX105" fmla="*/ 1066 w 9959"/>
                <a:gd name="connsiteY105" fmla="*/ 1640 h 10000"/>
                <a:gd name="connsiteX106" fmla="*/ 1066 w 9959"/>
                <a:gd name="connsiteY106" fmla="*/ 1897 h 10000"/>
                <a:gd name="connsiteX0" fmla="*/ 781 w 9711"/>
                <a:gd name="connsiteY0" fmla="*/ 1897 h 10000"/>
                <a:gd name="connsiteX1" fmla="*/ 781 w 9711"/>
                <a:gd name="connsiteY1" fmla="*/ 2412 h 10000"/>
                <a:gd name="connsiteX2" fmla="*/ 781 w 9711"/>
                <a:gd name="connsiteY2" fmla="*/ 2894 h 10000"/>
                <a:gd name="connsiteX3" fmla="*/ 781 w 9711"/>
                <a:gd name="connsiteY3" fmla="*/ 3376 h 10000"/>
                <a:gd name="connsiteX4" fmla="*/ 781 w 9711"/>
                <a:gd name="connsiteY4" fmla="*/ 3826 h 10000"/>
                <a:gd name="connsiteX5" fmla="*/ 124 w 9711"/>
                <a:gd name="connsiteY5" fmla="*/ 3923 h 10000"/>
                <a:gd name="connsiteX6" fmla="*/ 0 w 9711"/>
                <a:gd name="connsiteY6" fmla="*/ 4180 h 10000"/>
                <a:gd name="connsiteX7" fmla="*/ 4324 w 9711"/>
                <a:gd name="connsiteY7" fmla="*/ 7064 h 10000"/>
                <a:gd name="connsiteX8" fmla="*/ 3817 w 9711"/>
                <a:gd name="connsiteY8" fmla="*/ 7281 h 10000"/>
                <a:gd name="connsiteX9" fmla="*/ 3492 w 9711"/>
                <a:gd name="connsiteY9" fmla="*/ 7279 h 10000"/>
                <a:gd name="connsiteX10" fmla="*/ 2782 w 9711"/>
                <a:gd name="connsiteY10" fmla="*/ 7095 h 10000"/>
                <a:gd name="connsiteX11" fmla="*/ 2592 w 9711"/>
                <a:gd name="connsiteY11" fmla="*/ 7195 h 10000"/>
                <a:gd name="connsiteX12" fmla="*/ 2118 w 9711"/>
                <a:gd name="connsiteY12" fmla="*/ 6973 h 10000"/>
                <a:gd name="connsiteX13" fmla="*/ 1909 w 9711"/>
                <a:gd name="connsiteY13" fmla="*/ 6638 h 10000"/>
                <a:gd name="connsiteX14" fmla="*/ 1561 w 9711"/>
                <a:gd name="connsiteY14" fmla="*/ 6729 h 10000"/>
                <a:gd name="connsiteX15" fmla="*/ 1466 w 9711"/>
                <a:gd name="connsiteY15" fmla="*/ 6927 h 10000"/>
                <a:gd name="connsiteX16" fmla="*/ 1097 w 9711"/>
                <a:gd name="connsiteY16" fmla="*/ 7011 h 10000"/>
                <a:gd name="connsiteX17" fmla="*/ 855 w 9711"/>
                <a:gd name="connsiteY17" fmla="*/ 7004 h 10000"/>
                <a:gd name="connsiteX18" fmla="*/ 722 w 9711"/>
                <a:gd name="connsiteY18" fmla="*/ 7161 h 10000"/>
                <a:gd name="connsiteX19" fmla="*/ 494 w 9711"/>
                <a:gd name="connsiteY19" fmla="*/ 6913 h 10000"/>
                <a:gd name="connsiteX20" fmla="*/ 452 w 9711"/>
                <a:gd name="connsiteY20" fmla="*/ 7363 h 10000"/>
                <a:gd name="connsiteX21" fmla="*/ 534 w 9711"/>
                <a:gd name="connsiteY21" fmla="*/ 7428 h 10000"/>
                <a:gd name="connsiteX22" fmla="*/ 864 w 9711"/>
                <a:gd name="connsiteY22" fmla="*/ 7460 h 10000"/>
                <a:gd name="connsiteX23" fmla="*/ 906 w 9711"/>
                <a:gd name="connsiteY23" fmla="*/ 7588 h 10000"/>
                <a:gd name="connsiteX24" fmla="*/ 1275 w 9711"/>
                <a:gd name="connsiteY24" fmla="*/ 7621 h 10000"/>
                <a:gd name="connsiteX25" fmla="*/ 1481 w 9711"/>
                <a:gd name="connsiteY25" fmla="*/ 7749 h 10000"/>
                <a:gd name="connsiteX26" fmla="*/ 1522 w 9711"/>
                <a:gd name="connsiteY26" fmla="*/ 7974 h 10000"/>
                <a:gd name="connsiteX27" fmla="*/ 2181 w 9711"/>
                <a:gd name="connsiteY27" fmla="*/ 8360 h 10000"/>
                <a:gd name="connsiteX28" fmla="*/ 2346 w 9711"/>
                <a:gd name="connsiteY28" fmla="*/ 8746 h 10000"/>
                <a:gd name="connsiteX29" fmla="*/ 2798 w 9711"/>
                <a:gd name="connsiteY29" fmla="*/ 8939 h 10000"/>
                <a:gd name="connsiteX30" fmla="*/ 2963 w 9711"/>
                <a:gd name="connsiteY30" fmla="*/ 9196 h 10000"/>
                <a:gd name="connsiteX31" fmla="*/ 3292 w 9711"/>
                <a:gd name="connsiteY31" fmla="*/ 9518 h 10000"/>
                <a:gd name="connsiteX32" fmla="*/ 3539 w 9711"/>
                <a:gd name="connsiteY32" fmla="*/ 9614 h 10000"/>
                <a:gd name="connsiteX33" fmla="*/ 3704 w 9711"/>
                <a:gd name="connsiteY33" fmla="*/ 9518 h 10000"/>
                <a:gd name="connsiteX34" fmla="*/ 4115 w 9711"/>
                <a:gd name="connsiteY34" fmla="*/ 9550 h 10000"/>
                <a:gd name="connsiteX35" fmla="*/ 4280 w 9711"/>
                <a:gd name="connsiteY35" fmla="*/ 9486 h 10000"/>
                <a:gd name="connsiteX36" fmla="*/ 5020 w 9711"/>
                <a:gd name="connsiteY36" fmla="*/ 9968 h 10000"/>
                <a:gd name="connsiteX37" fmla="*/ 5061 w 9711"/>
                <a:gd name="connsiteY37" fmla="*/ 9968 h 10000"/>
                <a:gd name="connsiteX38" fmla="*/ 5143 w 9711"/>
                <a:gd name="connsiteY38" fmla="*/ 9904 h 10000"/>
                <a:gd name="connsiteX39" fmla="*/ 5677 w 9711"/>
                <a:gd name="connsiteY39" fmla="*/ 9904 h 10000"/>
                <a:gd name="connsiteX40" fmla="*/ 5761 w 9711"/>
                <a:gd name="connsiteY40" fmla="*/ 10000 h 10000"/>
                <a:gd name="connsiteX41" fmla="*/ 6214 w 9711"/>
                <a:gd name="connsiteY41" fmla="*/ 9871 h 10000"/>
                <a:gd name="connsiteX42" fmla="*/ 6624 w 9711"/>
                <a:gd name="connsiteY42" fmla="*/ 9871 h 10000"/>
                <a:gd name="connsiteX43" fmla="*/ 6913 w 9711"/>
                <a:gd name="connsiteY43" fmla="*/ 9743 h 10000"/>
                <a:gd name="connsiteX44" fmla="*/ 7242 w 9711"/>
                <a:gd name="connsiteY44" fmla="*/ 9486 h 10000"/>
                <a:gd name="connsiteX45" fmla="*/ 8106 w 9711"/>
                <a:gd name="connsiteY45" fmla="*/ 9486 h 10000"/>
                <a:gd name="connsiteX46" fmla="*/ 8106 w 9711"/>
                <a:gd name="connsiteY46" fmla="*/ 9132 h 10000"/>
                <a:gd name="connsiteX47" fmla="*/ 7654 w 9711"/>
                <a:gd name="connsiteY47" fmla="*/ 8971 h 10000"/>
                <a:gd name="connsiteX48" fmla="*/ 7407 w 9711"/>
                <a:gd name="connsiteY48" fmla="*/ 8457 h 10000"/>
                <a:gd name="connsiteX49" fmla="*/ 7078 w 9711"/>
                <a:gd name="connsiteY49" fmla="*/ 8264 h 10000"/>
                <a:gd name="connsiteX50" fmla="*/ 6871 w 9711"/>
                <a:gd name="connsiteY50" fmla="*/ 8006 h 10000"/>
                <a:gd name="connsiteX51" fmla="*/ 6337 w 9711"/>
                <a:gd name="connsiteY51" fmla="*/ 7814 h 10000"/>
                <a:gd name="connsiteX52" fmla="*/ 6460 w 9711"/>
                <a:gd name="connsiteY52" fmla="*/ 7749 h 10000"/>
                <a:gd name="connsiteX53" fmla="*/ 6460 w 9711"/>
                <a:gd name="connsiteY53" fmla="*/ 7588 h 10000"/>
                <a:gd name="connsiteX54" fmla="*/ 6831 w 9711"/>
                <a:gd name="connsiteY54" fmla="*/ 7588 h 10000"/>
                <a:gd name="connsiteX55" fmla="*/ 7036 w 9711"/>
                <a:gd name="connsiteY55" fmla="*/ 7460 h 10000"/>
                <a:gd name="connsiteX56" fmla="*/ 7078 w 9711"/>
                <a:gd name="connsiteY56" fmla="*/ 6527 h 10000"/>
                <a:gd name="connsiteX57" fmla="*/ 7118 w 9711"/>
                <a:gd name="connsiteY57" fmla="*/ 6559 h 10000"/>
                <a:gd name="connsiteX58" fmla="*/ 7242 w 9711"/>
                <a:gd name="connsiteY58" fmla="*/ 6367 h 10000"/>
                <a:gd name="connsiteX59" fmla="*/ 7489 w 9711"/>
                <a:gd name="connsiteY59" fmla="*/ 6270 h 10000"/>
                <a:gd name="connsiteX60" fmla="*/ 7612 w 9711"/>
                <a:gd name="connsiteY60" fmla="*/ 5916 h 10000"/>
                <a:gd name="connsiteX61" fmla="*/ 7983 w 9711"/>
                <a:gd name="connsiteY61" fmla="*/ 5498 h 10000"/>
                <a:gd name="connsiteX62" fmla="*/ 8270 w 9711"/>
                <a:gd name="connsiteY62" fmla="*/ 5305 h 10000"/>
                <a:gd name="connsiteX63" fmla="*/ 8476 w 9711"/>
                <a:gd name="connsiteY63" fmla="*/ 4759 h 10000"/>
                <a:gd name="connsiteX64" fmla="*/ 8476 w 9711"/>
                <a:gd name="connsiteY64" fmla="*/ 4630 h 10000"/>
                <a:gd name="connsiteX65" fmla="*/ 8436 w 9711"/>
                <a:gd name="connsiteY65" fmla="*/ 4309 h 10000"/>
                <a:gd name="connsiteX66" fmla="*/ 8847 w 9711"/>
                <a:gd name="connsiteY66" fmla="*/ 3151 h 10000"/>
                <a:gd name="connsiteX67" fmla="*/ 8970 w 9711"/>
                <a:gd name="connsiteY67" fmla="*/ 3151 h 10000"/>
                <a:gd name="connsiteX68" fmla="*/ 9135 w 9711"/>
                <a:gd name="connsiteY68" fmla="*/ 3055 h 10000"/>
                <a:gd name="connsiteX69" fmla="*/ 9629 w 9711"/>
                <a:gd name="connsiteY69" fmla="*/ 2894 h 10000"/>
                <a:gd name="connsiteX70" fmla="*/ 9711 w 9711"/>
                <a:gd name="connsiteY70" fmla="*/ 2637 h 10000"/>
                <a:gd name="connsiteX71" fmla="*/ 9671 w 9711"/>
                <a:gd name="connsiteY71" fmla="*/ 2572 h 10000"/>
                <a:gd name="connsiteX72" fmla="*/ 9505 w 9711"/>
                <a:gd name="connsiteY72" fmla="*/ 2572 h 10000"/>
                <a:gd name="connsiteX73" fmla="*/ 9382 w 9711"/>
                <a:gd name="connsiteY73" fmla="*/ 2412 h 10000"/>
                <a:gd name="connsiteX74" fmla="*/ 9135 w 9711"/>
                <a:gd name="connsiteY74" fmla="*/ 2347 h 10000"/>
                <a:gd name="connsiteX75" fmla="*/ 9011 w 9711"/>
                <a:gd name="connsiteY75" fmla="*/ 2219 h 10000"/>
                <a:gd name="connsiteX76" fmla="*/ 8930 w 9711"/>
                <a:gd name="connsiteY76" fmla="*/ 1736 h 10000"/>
                <a:gd name="connsiteX77" fmla="*/ 8930 w 9711"/>
                <a:gd name="connsiteY77" fmla="*/ 1061 h 10000"/>
                <a:gd name="connsiteX78" fmla="*/ 8723 w 9711"/>
                <a:gd name="connsiteY78" fmla="*/ 836 h 10000"/>
                <a:gd name="connsiteX79" fmla="*/ 8683 w 9711"/>
                <a:gd name="connsiteY79" fmla="*/ 611 h 10000"/>
                <a:gd name="connsiteX80" fmla="*/ 8353 w 9711"/>
                <a:gd name="connsiteY80" fmla="*/ 289 h 10000"/>
                <a:gd name="connsiteX81" fmla="*/ 8065 w 9711"/>
                <a:gd name="connsiteY81" fmla="*/ 161 h 10000"/>
                <a:gd name="connsiteX82" fmla="*/ 7901 w 9711"/>
                <a:gd name="connsiteY82" fmla="*/ 0 h 10000"/>
                <a:gd name="connsiteX83" fmla="*/ 7654 w 9711"/>
                <a:gd name="connsiteY83" fmla="*/ 161 h 10000"/>
                <a:gd name="connsiteX84" fmla="*/ 7489 w 9711"/>
                <a:gd name="connsiteY84" fmla="*/ 129 h 10000"/>
                <a:gd name="connsiteX85" fmla="*/ 7365 w 9711"/>
                <a:gd name="connsiteY85" fmla="*/ 418 h 10000"/>
                <a:gd name="connsiteX86" fmla="*/ 7036 w 9711"/>
                <a:gd name="connsiteY86" fmla="*/ 482 h 10000"/>
                <a:gd name="connsiteX87" fmla="*/ 6954 w 9711"/>
                <a:gd name="connsiteY87" fmla="*/ 707 h 10000"/>
                <a:gd name="connsiteX88" fmla="*/ 6666 w 9711"/>
                <a:gd name="connsiteY88" fmla="*/ 707 h 10000"/>
                <a:gd name="connsiteX89" fmla="*/ 6419 w 9711"/>
                <a:gd name="connsiteY89" fmla="*/ 611 h 10000"/>
                <a:gd name="connsiteX90" fmla="*/ 5884 w 9711"/>
                <a:gd name="connsiteY90" fmla="*/ 611 h 10000"/>
                <a:gd name="connsiteX91" fmla="*/ 5349 w 9711"/>
                <a:gd name="connsiteY91" fmla="*/ 611 h 10000"/>
                <a:gd name="connsiteX92" fmla="*/ 5390 w 9711"/>
                <a:gd name="connsiteY92" fmla="*/ 482 h 10000"/>
                <a:gd name="connsiteX93" fmla="*/ 5308 w 9711"/>
                <a:gd name="connsiteY93" fmla="*/ 482 h 10000"/>
                <a:gd name="connsiteX94" fmla="*/ 5267 w 9711"/>
                <a:gd name="connsiteY94" fmla="*/ 611 h 10000"/>
                <a:gd name="connsiteX95" fmla="*/ 4773 w 9711"/>
                <a:gd name="connsiteY95" fmla="*/ 611 h 10000"/>
                <a:gd name="connsiteX96" fmla="*/ 4280 w 9711"/>
                <a:gd name="connsiteY96" fmla="*/ 611 h 10000"/>
                <a:gd name="connsiteX97" fmla="*/ 3786 w 9711"/>
                <a:gd name="connsiteY97" fmla="*/ 611 h 10000"/>
                <a:gd name="connsiteX98" fmla="*/ 3292 w 9711"/>
                <a:gd name="connsiteY98" fmla="*/ 611 h 10000"/>
                <a:gd name="connsiteX99" fmla="*/ 2840 w 9711"/>
                <a:gd name="connsiteY99" fmla="*/ 611 h 10000"/>
                <a:gd name="connsiteX100" fmla="*/ 2346 w 9711"/>
                <a:gd name="connsiteY100" fmla="*/ 611 h 10000"/>
                <a:gd name="connsiteX101" fmla="*/ 1892 w 9711"/>
                <a:gd name="connsiteY101" fmla="*/ 611 h 10000"/>
                <a:gd name="connsiteX102" fmla="*/ 1399 w 9711"/>
                <a:gd name="connsiteY102" fmla="*/ 611 h 10000"/>
                <a:gd name="connsiteX103" fmla="*/ 1399 w 9711"/>
                <a:gd name="connsiteY103" fmla="*/ 1061 h 10000"/>
                <a:gd name="connsiteX104" fmla="*/ 1399 w 9711"/>
                <a:gd name="connsiteY104" fmla="*/ 1640 h 10000"/>
                <a:gd name="connsiteX105" fmla="*/ 781 w 9711"/>
                <a:gd name="connsiteY105" fmla="*/ 1640 h 10000"/>
                <a:gd name="connsiteX106" fmla="*/ 781 w 9711"/>
                <a:gd name="connsiteY106" fmla="*/ 1897 h 10000"/>
                <a:gd name="connsiteX0" fmla="*/ 719 w 9915"/>
                <a:gd name="connsiteY0" fmla="*/ 1897 h 10000"/>
                <a:gd name="connsiteX1" fmla="*/ 719 w 9915"/>
                <a:gd name="connsiteY1" fmla="*/ 2412 h 10000"/>
                <a:gd name="connsiteX2" fmla="*/ 719 w 9915"/>
                <a:gd name="connsiteY2" fmla="*/ 2894 h 10000"/>
                <a:gd name="connsiteX3" fmla="*/ 719 w 9915"/>
                <a:gd name="connsiteY3" fmla="*/ 3376 h 10000"/>
                <a:gd name="connsiteX4" fmla="*/ 719 w 9915"/>
                <a:gd name="connsiteY4" fmla="*/ 3826 h 10000"/>
                <a:gd name="connsiteX5" fmla="*/ 43 w 9915"/>
                <a:gd name="connsiteY5" fmla="*/ 3923 h 10000"/>
                <a:gd name="connsiteX6" fmla="*/ 4578 w 9915"/>
                <a:gd name="connsiteY6" fmla="*/ 6781 h 10000"/>
                <a:gd name="connsiteX7" fmla="*/ 4368 w 9915"/>
                <a:gd name="connsiteY7" fmla="*/ 7064 h 10000"/>
                <a:gd name="connsiteX8" fmla="*/ 3846 w 9915"/>
                <a:gd name="connsiteY8" fmla="*/ 7281 h 10000"/>
                <a:gd name="connsiteX9" fmla="*/ 3511 w 9915"/>
                <a:gd name="connsiteY9" fmla="*/ 7279 h 10000"/>
                <a:gd name="connsiteX10" fmla="*/ 2780 w 9915"/>
                <a:gd name="connsiteY10" fmla="*/ 7095 h 10000"/>
                <a:gd name="connsiteX11" fmla="*/ 2584 w 9915"/>
                <a:gd name="connsiteY11" fmla="*/ 7195 h 10000"/>
                <a:gd name="connsiteX12" fmla="*/ 2096 w 9915"/>
                <a:gd name="connsiteY12" fmla="*/ 6973 h 10000"/>
                <a:gd name="connsiteX13" fmla="*/ 1881 w 9915"/>
                <a:gd name="connsiteY13" fmla="*/ 6638 h 10000"/>
                <a:gd name="connsiteX14" fmla="*/ 1522 w 9915"/>
                <a:gd name="connsiteY14" fmla="*/ 6729 h 10000"/>
                <a:gd name="connsiteX15" fmla="*/ 1425 w 9915"/>
                <a:gd name="connsiteY15" fmla="*/ 6927 h 10000"/>
                <a:gd name="connsiteX16" fmla="*/ 1045 w 9915"/>
                <a:gd name="connsiteY16" fmla="*/ 7011 h 10000"/>
                <a:gd name="connsiteX17" fmla="*/ 795 w 9915"/>
                <a:gd name="connsiteY17" fmla="*/ 7004 h 10000"/>
                <a:gd name="connsiteX18" fmla="*/ 658 w 9915"/>
                <a:gd name="connsiteY18" fmla="*/ 7161 h 10000"/>
                <a:gd name="connsiteX19" fmla="*/ 424 w 9915"/>
                <a:gd name="connsiteY19" fmla="*/ 6913 h 10000"/>
                <a:gd name="connsiteX20" fmla="*/ 380 w 9915"/>
                <a:gd name="connsiteY20" fmla="*/ 7363 h 10000"/>
                <a:gd name="connsiteX21" fmla="*/ 465 w 9915"/>
                <a:gd name="connsiteY21" fmla="*/ 7428 h 10000"/>
                <a:gd name="connsiteX22" fmla="*/ 805 w 9915"/>
                <a:gd name="connsiteY22" fmla="*/ 7460 h 10000"/>
                <a:gd name="connsiteX23" fmla="*/ 848 w 9915"/>
                <a:gd name="connsiteY23" fmla="*/ 7588 h 10000"/>
                <a:gd name="connsiteX24" fmla="*/ 1228 w 9915"/>
                <a:gd name="connsiteY24" fmla="*/ 7621 h 10000"/>
                <a:gd name="connsiteX25" fmla="*/ 1440 w 9915"/>
                <a:gd name="connsiteY25" fmla="*/ 7749 h 10000"/>
                <a:gd name="connsiteX26" fmla="*/ 1482 w 9915"/>
                <a:gd name="connsiteY26" fmla="*/ 7974 h 10000"/>
                <a:gd name="connsiteX27" fmla="*/ 2161 w 9915"/>
                <a:gd name="connsiteY27" fmla="*/ 8360 h 10000"/>
                <a:gd name="connsiteX28" fmla="*/ 2331 w 9915"/>
                <a:gd name="connsiteY28" fmla="*/ 8746 h 10000"/>
                <a:gd name="connsiteX29" fmla="*/ 2796 w 9915"/>
                <a:gd name="connsiteY29" fmla="*/ 8939 h 10000"/>
                <a:gd name="connsiteX30" fmla="*/ 2966 w 9915"/>
                <a:gd name="connsiteY30" fmla="*/ 9196 h 10000"/>
                <a:gd name="connsiteX31" fmla="*/ 3305 w 9915"/>
                <a:gd name="connsiteY31" fmla="*/ 9518 h 10000"/>
                <a:gd name="connsiteX32" fmla="*/ 3559 w 9915"/>
                <a:gd name="connsiteY32" fmla="*/ 9614 h 10000"/>
                <a:gd name="connsiteX33" fmla="*/ 3729 w 9915"/>
                <a:gd name="connsiteY33" fmla="*/ 9518 h 10000"/>
                <a:gd name="connsiteX34" fmla="*/ 4152 w 9915"/>
                <a:gd name="connsiteY34" fmla="*/ 9550 h 10000"/>
                <a:gd name="connsiteX35" fmla="*/ 4322 w 9915"/>
                <a:gd name="connsiteY35" fmla="*/ 9486 h 10000"/>
                <a:gd name="connsiteX36" fmla="*/ 5084 w 9915"/>
                <a:gd name="connsiteY36" fmla="*/ 9968 h 10000"/>
                <a:gd name="connsiteX37" fmla="*/ 5127 w 9915"/>
                <a:gd name="connsiteY37" fmla="*/ 9968 h 10000"/>
                <a:gd name="connsiteX38" fmla="*/ 5211 w 9915"/>
                <a:gd name="connsiteY38" fmla="*/ 9904 h 10000"/>
                <a:gd name="connsiteX39" fmla="*/ 5761 w 9915"/>
                <a:gd name="connsiteY39" fmla="*/ 9904 h 10000"/>
                <a:gd name="connsiteX40" fmla="*/ 5847 w 9915"/>
                <a:gd name="connsiteY40" fmla="*/ 10000 h 10000"/>
                <a:gd name="connsiteX41" fmla="*/ 6314 w 9915"/>
                <a:gd name="connsiteY41" fmla="*/ 9871 h 10000"/>
                <a:gd name="connsiteX42" fmla="*/ 6736 w 9915"/>
                <a:gd name="connsiteY42" fmla="*/ 9871 h 10000"/>
                <a:gd name="connsiteX43" fmla="*/ 7034 w 9915"/>
                <a:gd name="connsiteY43" fmla="*/ 9743 h 10000"/>
                <a:gd name="connsiteX44" fmla="*/ 7373 w 9915"/>
                <a:gd name="connsiteY44" fmla="*/ 9486 h 10000"/>
                <a:gd name="connsiteX45" fmla="*/ 8262 w 9915"/>
                <a:gd name="connsiteY45" fmla="*/ 9486 h 10000"/>
                <a:gd name="connsiteX46" fmla="*/ 8262 w 9915"/>
                <a:gd name="connsiteY46" fmla="*/ 9132 h 10000"/>
                <a:gd name="connsiteX47" fmla="*/ 7797 w 9915"/>
                <a:gd name="connsiteY47" fmla="*/ 8971 h 10000"/>
                <a:gd name="connsiteX48" fmla="*/ 7542 w 9915"/>
                <a:gd name="connsiteY48" fmla="*/ 8457 h 10000"/>
                <a:gd name="connsiteX49" fmla="*/ 7204 w 9915"/>
                <a:gd name="connsiteY49" fmla="*/ 8264 h 10000"/>
                <a:gd name="connsiteX50" fmla="*/ 6990 w 9915"/>
                <a:gd name="connsiteY50" fmla="*/ 8006 h 10000"/>
                <a:gd name="connsiteX51" fmla="*/ 6441 w 9915"/>
                <a:gd name="connsiteY51" fmla="*/ 7814 h 10000"/>
                <a:gd name="connsiteX52" fmla="*/ 6567 w 9915"/>
                <a:gd name="connsiteY52" fmla="*/ 7749 h 10000"/>
                <a:gd name="connsiteX53" fmla="*/ 6567 w 9915"/>
                <a:gd name="connsiteY53" fmla="*/ 7588 h 10000"/>
                <a:gd name="connsiteX54" fmla="*/ 6949 w 9915"/>
                <a:gd name="connsiteY54" fmla="*/ 7588 h 10000"/>
                <a:gd name="connsiteX55" fmla="*/ 7160 w 9915"/>
                <a:gd name="connsiteY55" fmla="*/ 7460 h 10000"/>
                <a:gd name="connsiteX56" fmla="*/ 7204 w 9915"/>
                <a:gd name="connsiteY56" fmla="*/ 6527 h 10000"/>
                <a:gd name="connsiteX57" fmla="*/ 7245 w 9915"/>
                <a:gd name="connsiteY57" fmla="*/ 6559 h 10000"/>
                <a:gd name="connsiteX58" fmla="*/ 7373 w 9915"/>
                <a:gd name="connsiteY58" fmla="*/ 6367 h 10000"/>
                <a:gd name="connsiteX59" fmla="*/ 7627 w 9915"/>
                <a:gd name="connsiteY59" fmla="*/ 6270 h 10000"/>
                <a:gd name="connsiteX60" fmla="*/ 7754 w 9915"/>
                <a:gd name="connsiteY60" fmla="*/ 5916 h 10000"/>
                <a:gd name="connsiteX61" fmla="*/ 8136 w 9915"/>
                <a:gd name="connsiteY61" fmla="*/ 5498 h 10000"/>
                <a:gd name="connsiteX62" fmla="*/ 8431 w 9915"/>
                <a:gd name="connsiteY62" fmla="*/ 5305 h 10000"/>
                <a:gd name="connsiteX63" fmla="*/ 8643 w 9915"/>
                <a:gd name="connsiteY63" fmla="*/ 4759 h 10000"/>
                <a:gd name="connsiteX64" fmla="*/ 8643 w 9915"/>
                <a:gd name="connsiteY64" fmla="*/ 4630 h 10000"/>
                <a:gd name="connsiteX65" fmla="*/ 8602 w 9915"/>
                <a:gd name="connsiteY65" fmla="*/ 4309 h 10000"/>
                <a:gd name="connsiteX66" fmla="*/ 9025 w 9915"/>
                <a:gd name="connsiteY66" fmla="*/ 3151 h 10000"/>
                <a:gd name="connsiteX67" fmla="*/ 9152 w 9915"/>
                <a:gd name="connsiteY67" fmla="*/ 3151 h 10000"/>
                <a:gd name="connsiteX68" fmla="*/ 9322 w 9915"/>
                <a:gd name="connsiteY68" fmla="*/ 3055 h 10000"/>
                <a:gd name="connsiteX69" fmla="*/ 9831 w 9915"/>
                <a:gd name="connsiteY69" fmla="*/ 2894 h 10000"/>
                <a:gd name="connsiteX70" fmla="*/ 9915 w 9915"/>
                <a:gd name="connsiteY70" fmla="*/ 2637 h 10000"/>
                <a:gd name="connsiteX71" fmla="*/ 9874 w 9915"/>
                <a:gd name="connsiteY71" fmla="*/ 2572 h 10000"/>
                <a:gd name="connsiteX72" fmla="*/ 9703 w 9915"/>
                <a:gd name="connsiteY72" fmla="*/ 2572 h 10000"/>
                <a:gd name="connsiteX73" fmla="*/ 9576 w 9915"/>
                <a:gd name="connsiteY73" fmla="*/ 2412 h 10000"/>
                <a:gd name="connsiteX74" fmla="*/ 9322 w 9915"/>
                <a:gd name="connsiteY74" fmla="*/ 2347 h 10000"/>
                <a:gd name="connsiteX75" fmla="*/ 9194 w 9915"/>
                <a:gd name="connsiteY75" fmla="*/ 2219 h 10000"/>
                <a:gd name="connsiteX76" fmla="*/ 9111 w 9915"/>
                <a:gd name="connsiteY76" fmla="*/ 1736 h 10000"/>
                <a:gd name="connsiteX77" fmla="*/ 9111 w 9915"/>
                <a:gd name="connsiteY77" fmla="*/ 1061 h 10000"/>
                <a:gd name="connsiteX78" fmla="*/ 8898 w 9915"/>
                <a:gd name="connsiteY78" fmla="*/ 836 h 10000"/>
                <a:gd name="connsiteX79" fmla="*/ 8856 w 9915"/>
                <a:gd name="connsiteY79" fmla="*/ 611 h 10000"/>
                <a:gd name="connsiteX80" fmla="*/ 8517 w 9915"/>
                <a:gd name="connsiteY80" fmla="*/ 289 h 10000"/>
                <a:gd name="connsiteX81" fmla="*/ 8220 w 9915"/>
                <a:gd name="connsiteY81" fmla="*/ 161 h 10000"/>
                <a:gd name="connsiteX82" fmla="*/ 8051 w 9915"/>
                <a:gd name="connsiteY82" fmla="*/ 0 h 10000"/>
                <a:gd name="connsiteX83" fmla="*/ 7797 w 9915"/>
                <a:gd name="connsiteY83" fmla="*/ 161 h 10000"/>
                <a:gd name="connsiteX84" fmla="*/ 7627 w 9915"/>
                <a:gd name="connsiteY84" fmla="*/ 129 h 10000"/>
                <a:gd name="connsiteX85" fmla="*/ 7499 w 9915"/>
                <a:gd name="connsiteY85" fmla="*/ 418 h 10000"/>
                <a:gd name="connsiteX86" fmla="*/ 7160 w 9915"/>
                <a:gd name="connsiteY86" fmla="*/ 482 h 10000"/>
                <a:gd name="connsiteX87" fmla="*/ 7076 w 9915"/>
                <a:gd name="connsiteY87" fmla="*/ 707 h 10000"/>
                <a:gd name="connsiteX88" fmla="*/ 6779 w 9915"/>
                <a:gd name="connsiteY88" fmla="*/ 707 h 10000"/>
                <a:gd name="connsiteX89" fmla="*/ 6525 w 9915"/>
                <a:gd name="connsiteY89" fmla="*/ 611 h 10000"/>
                <a:gd name="connsiteX90" fmla="*/ 5974 w 9915"/>
                <a:gd name="connsiteY90" fmla="*/ 611 h 10000"/>
                <a:gd name="connsiteX91" fmla="*/ 5423 w 9915"/>
                <a:gd name="connsiteY91" fmla="*/ 611 h 10000"/>
                <a:gd name="connsiteX92" fmla="*/ 5465 w 9915"/>
                <a:gd name="connsiteY92" fmla="*/ 482 h 10000"/>
                <a:gd name="connsiteX93" fmla="*/ 5381 w 9915"/>
                <a:gd name="connsiteY93" fmla="*/ 482 h 10000"/>
                <a:gd name="connsiteX94" fmla="*/ 5339 w 9915"/>
                <a:gd name="connsiteY94" fmla="*/ 611 h 10000"/>
                <a:gd name="connsiteX95" fmla="*/ 4830 w 9915"/>
                <a:gd name="connsiteY95" fmla="*/ 611 h 10000"/>
                <a:gd name="connsiteX96" fmla="*/ 4322 w 9915"/>
                <a:gd name="connsiteY96" fmla="*/ 611 h 10000"/>
                <a:gd name="connsiteX97" fmla="*/ 3814 w 9915"/>
                <a:gd name="connsiteY97" fmla="*/ 611 h 10000"/>
                <a:gd name="connsiteX98" fmla="*/ 3305 w 9915"/>
                <a:gd name="connsiteY98" fmla="*/ 611 h 10000"/>
                <a:gd name="connsiteX99" fmla="*/ 2840 w 9915"/>
                <a:gd name="connsiteY99" fmla="*/ 611 h 10000"/>
                <a:gd name="connsiteX100" fmla="*/ 2331 w 9915"/>
                <a:gd name="connsiteY100" fmla="*/ 611 h 10000"/>
                <a:gd name="connsiteX101" fmla="*/ 1863 w 9915"/>
                <a:gd name="connsiteY101" fmla="*/ 611 h 10000"/>
                <a:gd name="connsiteX102" fmla="*/ 1356 w 9915"/>
                <a:gd name="connsiteY102" fmla="*/ 611 h 10000"/>
                <a:gd name="connsiteX103" fmla="*/ 1356 w 9915"/>
                <a:gd name="connsiteY103" fmla="*/ 1061 h 10000"/>
                <a:gd name="connsiteX104" fmla="*/ 1356 w 9915"/>
                <a:gd name="connsiteY104" fmla="*/ 1640 h 10000"/>
                <a:gd name="connsiteX105" fmla="*/ 719 w 9915"/>
                <a:gd name="connsiteY105" fmla="*/ 1640 h 10000"/>
                <a:gd name="connsiteX106" fmla="*/ 719 w 9915"/>
                <a:gd name="connsiteY106" fmla="*/ 1897 h 10000"/>
                <a:gd name="connsiteX0" fmla="*/ 342 w 9617"/>
                <a:gd name="connsiteY0" fmla="*/ 1897 h 10000"/>
                <a:gd name="connsiteX1" fmla="*/ 342 w 9617"/>
                <a:gd name="connsiteY1" fmla="*/ 2412 h 10000"/>
                <a:gd name="connsiteX2" fmla="*/ 342 w 9617"/>
                <a:gd name="connsiteY2" fmla="*/ 2894 h 10000"/>
                <a:gd name="connsiteX3" fmla="*/ 342 w 9617"/>
                <a:gd name="connsiteY3" fmla="*/ 3376 h 10000"/>
                <a:gd name="connsiteX4" fmla="*/ 342 w 9617"/>
                <a:gd name="connsiteY4" fmla="*/ 3826 h 10000"/>
                <a:gd name="connsiteX5" fmla="*/ 4662 w 9617"/>
                <a:gd name="connsiteY5" fmla="*/ 6907 h 10000"/>
                <a:gd name="connsiteX6" fmla="*/ 4234 w 9617"/>
                <a:gd name="connsiteY6" fmla="*/ 6781 h 10000"/>
                <a:gd name="connsiteX7" fmla="*/ 4022 w 9617"/>
                <a:gd name="connsiteY7" fmla="*/ 7064 h 10000"/>
                <a:gd name="connsiteX8" fmla="*/ 3496 w 9617"/>
                <a:gd name="connsiteY8" fmla="*/ 7281 h 10000"/>
                <a:gd name="connsiteX9" fmla="*/ 3158 w 9617"/>
                <a:gd name="connsiteY9" fmla="*/ 7279 h 10000"/>
                <a:gd name="connsiteX10" fmla="*/ 2421 w 9617"/>
                <a:gd name="connsiteY10" fmla="*/ 7095 h 10000"/>
                <a:gd name="connsiteX11" fmla="*/ 2223 w 9617"/>
                <a:gd name="connsiteY11" fmla="*/ 7195 h 10000"/>
                <a:gd name="connsiteX12" fmla="*/ 1731 w 9617"/>
                <a:gd name="connsiteY12" fmla="*/ 6973 h 10000"/>
                <a:gd name="connsiteX13" fmla="*/ 1514 w 9617"/>
                <a:gd name="connsiteY13" fmla="*/ 6638 h 10000"/>
                <a:gd name="connsiteX14" fmla="*/ 1152 w 9617"/>
                <a:gd name="connsiteY14" fmla="*/ 6729 h 10000"/>
                <a:gd name="connsiteX15" fmla="*/ 1054 w 9617"/>
                <a:gd name="connsiteY15" fmla="*/ 6927 h 10000"/>
                <a:gd name="connsiteX16" fmla="*/ 671 w 9617"/>
                <a:gd name="connsiteY16" fmla="*/ 7011 h 10000"/>
                <a:gd name="connsiteX17" fmla="*/ 419 w 9617"/>
                <a:gd name="connsiteY17" fmla="*/ 7004 h 10000"/>
                <a:gd name="connsiteX18" fmla="*/ 281 w 9617"/>
                <a:gd name="connsiteY18" fmla="*/ 7161 h 10000"/>
                <a:gd name="connsiteX19" fmla="*/ 45 w 9617"/>
                <a:gd name="connsiteY19" fmla="*/ 6913 h 10000"/>
                <a:gd name="connsiteX20" fmla="*/ 0 w 9617"/>
                <a:gd name="connsiteY20" fmla="*/ 7363 h 10000"/>
                <a:gd name="connsiteX21" fmla="*/ 86 w 9617"/>
                <a:gd name="connsiteY21" fmla="*/ 7428 h 10000"/>
                <a:gd name="connsiteX22" fmla="*/ 429 w 9617"/>
                <a:gd name="connsiteY22" fmla="*/ 7460 h 10000"/>
                <a:gd name="connsiteX23" fmla="*/ 472 w 9617"/>
                <a:gd name="connsiteY23" fmla="*/ 7588 h 10000"/>
                <a:gd name="connsiteX24" fmla="*/ 856 w 9617"/>
                <a:gd name="connsiteY24" fmla="*/ 7621 h 10000"/>
                <a:gd name="connsiteX25" fmla="*/ 1069 w 9617"/>
                <a:gd name="connsiteY25" fmla="*/ 7749 h 10000"/>
                <a:gd name="connsiteX26" fmla="*/ 1112 w 9617"/>
                <a:gd name="connsiteY26" fmla="*/ 7974 h 10000"/>
                <a:gd name="connsiteX27" fmla="*/ 1797 w 9617"/>
                <a:gd name="connsiteY27" fmla="*/ 8360 h 10000"/>
                <a:gd name="connsiteX28" fmla="*/ 1968 w 9617"/>
                <a:gd name="connsiteY28" fmla="*/ 8746 h 10000"/>
                <a:gd name="connsiteX29" fmla="*/ 2437 w 9617"/>
                <a:gd name="connsiteY29" fmla="*/ 8939 h 10000"/>
                <a:gd name="connsiteX30" fmla="*/ 2608 w 9617"/>
                <a:gd name="connsiteY30" fmla="*/ 9196 h 10000"/>
                <a:gd name="connsiteX31" fmla="*/ 2950 w 9617"/>
                <a:gd name="connsiteY31" fmla="*/ 9518 h 10000"/>
                <a:gd name="connsiteX32" fmla="*/ 3207 w 9617"/>
                <a:gd name="connsiteY32" fmla="*/ 9614 h 10000"/>
                <a:gd name="connsiteX33" fmla="*/ 3378 w 9617"/>
                <a:gd name="connsiteY33" fmla="*/ 9518 h 10000"/>
                <a:gd name="connsiteX34" fmla="*/ 3805 w 9617"/>
                <a:gd name="connsiteY34" fmla="*/ 9550 h 10000"/>
                <a:gd name="connsiteX35" fmla="*/ 3976 w 9617"/>
                <a:gd name="connsiteY35" fmla="*/ 9486 h 10000"/>
                <a:gd name="connsiteX36" fmla="*/ 4745 w 9617"/>
                <a:gd name="connsiteY36" fmla="*/ 9968 h 10000"/>
                <a:gd name="connsiteX37" fmla="*/ 4788 w 9617"/>
                <a:gd name="connsiteY37" fmla="*/ 9968 h 10000"/>
                <a:gd name="connsiteX38" fmla="*/ 4873 w 9617"/>
                <a:gd name="connsiteY38" fmla="*/ 9904 h 10000"/>
                <a:gd name="connsiteX39" fmla="*/ 5427 w 9617"/>
                <a:gd name="connsiteY39" fmla="*/ 9904 h 10000"/>
                <a:gd name="connsiteX40" fmla="*/ 5514 w 9617"/>
                <a:gd name="connsiteY40" fmla="*/ 10000 h 10000"/>
                <a:gd name="connsiteX41" fmla="*/ 5985 w 9617"/>
                <a:gd name="connsiteY41" fmla="*/ 9871 h 10000"/>
                <a:gd name="connsiteX42" fmla="*/ 6411 w 9617"/>
                <a:gd name="connsiteY42" fmla="*/ 9871 h 10000"/>
                <a:gd name="connsiteX43" fmla="*/ 6711 w 9617"/>
                <a:gd name="connsiteY43" fmla="*/ 9743 h 10000"/>
                <a:gd name="connsiteX44" fmla="*/ 7053 w 9617"/>
                <a:gd name="connsiteY44" fmla="*/ 9486 h 10000"/>
                <a:gd name="connsiteX45" fmla="*/ 7950 w 9617"/>
                <a:gd name="connsiteY45" fmla="*/ 9486 h 10000"/>
                <a:gd name="connsiteX46" fmla="*/ 7950 w 9617"/>
                <a:gd name="connsiteY46" fmla="*/ 9132 h 10000"/>
                <a:gd name="connsiteX47" fmla="*/ 7481 w 9617"/>
                <a:gd name="connsiteY47" fmla="*/ 8971 h 10000"/>
                <a:gd name="connsiteX48" fmla="*/ 7224 w 9617"/>
                <a:gd name="connsiteY48" fmla="*/ 8457 h 10000"/>
                <a:gd name="connsiteX49" fmla="*/ 6883 w 9617"/>
                <a:gd name="connsiteY49" fmla="*/ 8264 h 10000"/>
                <a:gd name="connsiteX50" fmla="*/ 6667 w 9617"/>
                <a:gd name="connsiteY50" fmla="*/ 8006 h 10000"/>
                <a:gd name="connsiteX51" fmla="*/ 6113 w 9617"/>
                <a:gd name="connsiteY51" fmla="*/ 7814 h 10000"/>
                <a:gd name="connsiteX52" fmla="*/ 6240 w 9617"/>
                <a:gd name="connsiteY52" fmla="*/ 7749 h 10000"/>
                <a:gd name="connsiteX53" fmla="*/ 6240 w 9617"/>
                <a:gd name="connsiteY53" fmla="*/ 7588 h 10000"/>
                <a:gd name="connsiteX54" fmla="*/ 6626 w 9617"/>
                <a:gd name="connsiteY54" fmla="*/ 7588 h 10000"/>
                <a:gd name="connsiteX55" fmla="*/ 6838 w 9617"/>
                <a:gd name="connsiteY55" fmla="*/ 7460 h 10000"/>
                <a:gd name="connsiteX56" fmla="*/ 6883 w 9617"/>
                <a:gd name="connsiteY56" fmla="*/ 6527 h 10000"/>
                <a:gd name="connsiteX57" fmla="*/ 6924 w 9617"/>
                <a:gd name="connsiteY57" fmla="*/ 6559 h 10000"/>
                <a:gd name="connsiteX58" fmla="*/ 7053 w 9617"/>
                <a:gd name="connsiteY58" fmla="*/ 6367 h 10000"/>
                <a:gd name="connsiteX59" fmla="*/ 7309 w 9617"/>
                <a:gd name="connsiteY59" fmla="*/ 6270 h 10000"/>
                <a:gd name="connsiteX60" fmla="*/ 7437 w 9617"/>
                <a:gd name="connsiteY60" fmla="*/ 5916 h 10000"/>
                <a:gd name="connsiteX61" fmla="*/ 7823 w 9617"/>
                <a:gd name="connsiteY61" fmla="*/ 5498 h 10000"/>
                <a:gd name="connsiteX62" fmla="*/ 8120 w 9617"/>
                <a:gd name="connsiteY62" fmla="*/ 5305 h 10000"/>
                <a:gd name="connsiteX63" fmla="*/ 8334 w 9617"/>
                <a:gd name="connsiteY63" fmla="*/ 4759 h 10000"/>
                <a:gd name="connsiteX64" fmla="*/ 8334 w 9617"/>
                <a:gd name="connsiteY64" fmla="*/ 4630 h 10000"/>
                <a:gd name="connsiteX65" fmla="*/ 8293 w 9617"/>
                <a:gd name="connsiteY65" fmla="*/ 4309 h 10000"/>
                <a:gd name="connsiteX66" fmla="*/ 8719 w 9617"/>
                <a:gd name="connsiteY66" fmla="*/ 3151 h 10000"/>
                <a:gd name="connsiteX67" fmla="*/ 8847 w 9617"/>
                <a:gd name="connsiteY67" fmla="*/ 3151 h 10000"/>
                <a:gd name="connsiteX68" fmla="*/ 9019 w 9617"/>
                <a:gd name="connsiteY68" fmla="*/ 3055 h 10000"/>
                <a:gd name="connsiteX69" fmla="*/ 9532 w 9617"/>
                <a:gd name="connsiteY69" fmla="*/ 2894 h 10000"/>
                <a:gd name="connsiteX70" fmla="*/ 9617 w 9617"/>
                <a:gd name="connsiteY70" fmla="*/ 2637 h 10000"/>
                <a:gd name="connsiteX71" fmla="*/ 9576 w 9617"/>
                <a:gd name="connsiteY71" fmla="*/ 2572 h 10000"/>
                <a:gd name="connsiteX72" fmla="*/ 9403 w 9617"/>
                <a:gd name="connsiteY72" fmla="*/ 2572 h 10000"/>
                <a:gd name="connsiteX73" fmla="*/ 9275 w 9617"/>
                <a:gd name="connsiteY73" fmla="*/ 2412 h 10000"/>
                <a:gd name="connsiteX74" fmla="*/ 9019 w 9617"/>
                <a:gd name="connsiteY74" fmla="*/ 2347 h 10000"/>
                <a:gd name="connsiteX75" fmla="*/ 8890 w 9617"/>
                <a:gd name="connsiteY75" fmla="*/ 2219 h 10000"/>
                <a:gd name="connsiteX76" fmla="*/ 8806 w 9617"/>
                <a:gd name="connsiteY76" fmla="*/ 1736 h 10000"/>
                <a:gd name="connsiteX77" fmla="*/ 8806 w 9617"/>
                <a:gd name="connsiteY77" fmla="*/ 1061 h 10000"/>
                <a:gd name="connsiteX78" fmla="*/ 8591 w 9617"/>
                <a:gd name="connsiteY78" fmla="*/ 836 h 10000"/>
                <a:gd name="connsiteX79" fmla="*/ 8549 w 9617"/>
                <a:gd name="connsiteY79" fmla="*/ 611 h 10000"/>
                <a:gd name="connsiteX80" fmla="*/ 8207 w 9617"/>
                <a:gd name="connsiteY80" fmla="*/ 289 h 10000"/>
                <a:gd name="connsiteX81" fmla="*/ 7907 w 9617"/>
                <a:gd name="connsiteY81" fmla="*/ 161 h 10000"/>
                <a:gd name="connsiteX82" fmla="*/ 7737 w 9617"/>
                <a:gd name="connsiteY82" fmla="*/ 0 h 10000"/>
                <a:gd name="connsiteX83" fmla="*/ 7481 w 9617"/>
                <a:gd name="connsiteY83" fmla="*/ 161 h 10000"/>
                <a:gd name="connsiteX84" fmla="*/ 7309 w 9617"/>
                <a:gd name="connsiteY84" fmla="*/ 129 h 10000"/>
                <a:gd name="connsiteX85" fmla="*/ 7180 w 9617"/>
                <a:gd name="connsiteY85" fmla="*/ 418 h 10000"/>
                <a:gd name="connsiteX86" fmla="*/ 6838 w 9617"/>
                <a:gd name="connsiteY86" fmla="*/ 482 h 10000"/>
                <a:gd name="connsiteX87" fmla="*/ 6754 w 9617"/>
                <a:gd name="connsiteY87" fmla="*/ 707 h 10000"/>
                <a:gd name="connsiteX88" fmla="*/ 6454 w 9617"/>
                <a:gd name="connsiteY88" fmla="*/ 707 h 10000"/>
                <a:gd name="connsiteX89" fmla="*/ 6198 w 9617"/>
                <a:gd name="connsiteY89" fmla="*/ 611 h 10000"/>
                <a:gd name="connsiteX90" fmla="*/ 5642 w 9617"/>
                <a:gd name="connsiteY90" fmla="*/ 611 h 10000"/>
                <a:gd name="connsiteX91" fmla="*/ 5086 w 9617"/>
                <a:gd name="connsiteY91" fmla="*/ 611 h 10000"/>
                <a:gd name="connsiteX92" fmla="*/ 5129 w 9617"/>
                <a:gd name="connsiteY92" fmla="*/ 482 h 10000"/>
                <a:gd name="connsiteX93" fmla="*/ 5044 w 9617"/>
                <a:gd name="connsiteY93" fmla="*/ 482 h 10000"/>
                <a:gd name="connsiteX94" fmla="*/ 5002 w 9617"/>
                <a:gd name="connsiteY94" fmla="*/ 611 h 10000"/>
                <a:gd name="connsiteX95" fmla="*/ 4488 w 9617"/>
                <a:gd name="connsiteY95" fmla="*/ 611 h 10000"/>
                <a:gd name="connsiteX96" fmla="*/ 3976 w 9617"/>
                <a:gd name="connsiteY96" fmla="*/ 611 h 10000"/>
                <a:gd name="connsiteX97" fmla="*/ 3464 w 9617"/>
                <a:gd name="connsiteY97" fmla="*/ 611 h 10000"/>
                <a:gd name="connsiteX98" fmla="*/ 2950 w 9617"/>
                <a:gd name="connsiteY98" fmla="*/ 611 h 10000"/>
                <a:gd name="connsiteX99" fmla="*/ 2481 w 9617"/>
                <a:gd name="connsiteY99" fmla="*/ 611 h 10000"/>
                <a:gd name="connsiteX100" fmla="*/ 1968 w 9617"/>
                <a:gd name="connsiteY100" fmla="*/ 611 h 10000"/>
                <a:gd name="connsiteX101" fmla="*/ 1496 w 9617"/>
                <a:gd name="connsiteY101" fmla="*/ 611 h 10000"/>
                <a:gd name="connsiteX102" fmla="*/ 985 w 9617"/>
                <a:gd name="connsiteY102" fmla="*/ 611 h 10000"/>
                <a:gd name="connsiteX103" fmla="*/ 985 w 9617"/>
                <a:gd name="connsiteY103" fmla="*/ 1061 h 10000"/>
                <a:gd name="connsiteX104" fmla="*/ 985 w 9617"/>
                <a:gd name="connsiteY104" fmla="*/ 1640 h 10000"/>
                <a:gd name="connsiteX105" fmla="*/ 342 w 9617"/>
                <a:gd name="connsiteY105" fmla="*/ 1640 h 10000"/>
                <a:gd name="connsiteX106" fmla="*/ 342 w 9617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356 w 10000"/>
                <a:gd name="connsiteY2" fmla="*/ 2894 h 10000"/>
                <a:gd name="connsiteX3" fmla="*/ 356 w 10000"/>
                <a:gd name="connsiteY3" fmla="*/ 3376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861 w 10505"/>
                <a:gd name="connsiteY0" fmla="*/ 1897 h 10000"/>
                <a:gd name="connsiteX1" fmla="*/ 861 w 10505"/>
                <a:gd name="connsiteY1" fmla="*/ 2412 h 10000"/>
                <a:gd name="connsiteX2" fmla="*/ 861 w 10505"/>
                <a:gd name="connsiteY2" fmla="*/ 2894 h 10000"/>
                <a:gd name="connsiteX3" fmla="*/ 6025 w 10505"/>
                <a:gd name="connsiteY3" fmla="*/ 6915 h 10000"/>
                <a:gd name="connsiteX4" fmla="*/ 5660 w 10505"/>
                <a:gd name="connsiteY4" fmla="*/ 7114 h 10000"/>
                <a:gd name="connsiteX5" fmla="*/ 5353 w 10505"/>
                <a:gd name="connsiteY5" fmla="*/ 6907 h 10000"/>
                <a:gd name="connsiteX6" fmla="*/ 4908 w 10505"/>
                <a:gd name="connsiteY6" fmla="*/ 6781 h 10000"/>
                <a:gd name="connsiteX7" fmla="*/ 4687 w 10505"/>
                <a:gd name="connsiteY7" fmla="*/ 7064 h 10000"/>
                <a:gd name="connsiteX8" fmla="*/ 4140 w 10505"/>
                <a:gd name="connsiteY8" fmla="*/ 7281 h 10000"/>
                <a:gd name="connsiteX9" fmla="*/ 3789 w 10505"/>
                <a:gd name="connsiteY9" fmla="*/ 7279 h 10000"/>
                <a:gd name="connsiteX10" fmla="*/ 3022 w 10505"/>
                <a:gd name="connsiteY10" fmla="*/ 7095 h 10000"/>
                <a:gd name="connsiteX11" fmla="*/ 2817 w 10505"/>
                <a:gd name="connsiteY11" fmla="*/ 7195 h 10000"/>
                <a:gd name="connsiteX12" fmla="*/ 2305 w 10505"/>
                <a:gd name="connsiteY12" fmla="*/ 6973 h 10000"/>
                <a:gd name="connsiteX13" fmla="*/ 2079 w 10505"/>
                <a:gd name="connsiteY13" fmla="*/ 6638 h 10000"/>
                <a:gd name="connsiteX14" fmla="*/ 1703 w 10505"/>
                <a:gd name="connsiteY14" fmla="*/ 6729 h 10000"/>
                <a:gd name="connsiteX15" fmla="*/ 1601 w 10505"/>
                <a:gd name="connsiteY15" fmla="*/ 6927 h 10000"/>
                <a:gd name="connsiteX16" fmla="*/ 1203 w 10505"/>
                <a:gd name="connsiteY16" fmla="*/ 7011 h 10000"/>
                <a:gd name="connsiteX17" fmla="*/ 941 w 10505"/>
                <a:gd name="connsiteY17" fmla="*/ 7004 h 10000"/>
                <a:gd name="connsiteX18" fmla="*/ 797 w 10505"/>
                <a:gd name="connsiteY18" fmla="*/ 7161 h 10000"/>
                <a:gd name="connsiteX19" fmla="*/ 552 w 10505"/>
                <a:gd name="connsiteY19" fmla="*/ 6913 h 10000"/>
                <a:gd name="connsiteX20" fmla="*/ 505 w 10505"/>
                <a:gd name="connsiteY20" fmla="*/ 7363 h 10000"/>
                <a:gd name="connsiteX21" fmla="*/ 594 w 10505"/>
                <a:gd name="connsiteY21" fmla="*/ 7428 h 10000"/>
                <a:gd name="connsiteX22" fmla="*/ 951 w 10505"/>
                <a:gd name="connsiteY22" fmla="*/ 7460 h 10000"/>
                <a:gd name="connsiteX23" fmla="*/ 996 w 10505"/>
                <a:gd name="connsiteY23" fmla="*/ 7588 h 10000"/>
                <a:gd name="connsiteX24" fmla="*/ 1395 w 10505"/>
                <a:gd name="connsiteY24" fmla="*/ 7621 h 10000"/>
                <a:gd name="connsiteX25" fmla="*/ 1617 w 10505"/>
                <a:gd name="connsiteY25" fmla="*/ 7749 h 10000"/>
                <a:gd name="connsiteX26" fmla="*/ 1661 w 10505"/>
                <a:gd name="connsiteY26" fmla="*/ 7974 h 10000"/>
                <a:gd name="connsiteX27" fmla="*/ 2374 w 10505"/>
                <a:gd name="connsiteY27" fmla="*/ 8360 h 10000"/>
                <a:gd name="connsiteX28" fmla="*/ 2551 w 10505"/>
                <a:gd name="connsiteY28" fmla="*/ 8746 h 10000"/>
                <a:gd name="connsiteX29" fmla="*/ 3039 w 10505"/>
                <a:gd name="connsiteY29" fmla="*/ 8939 h 10000"/>
                <a:gd name="connsiteX30" fmla="*/ 3217 w 10505"/>
                <a:gd name="connsiteY30" fmla="*/ 9196 h 10000"/>
                <a:gd name="connsiteX31" fmla="*/ 3572 w 10505"/>
                <a:gd name="connsiteY31" fmla="*/ 9518 h 10000"/>
                <a:gd name="connsiteX32" fmla="*/ 3840 w 10505"/>
                <a:gd name="connsiteY32" fmla="*/ 9614 h 10000"/>
                <a:gd name="connsiteX33" fmla="*/ 4018 w 10505"/>
                <a:gd name="connsiteY33" fmla="*/ 9518 h 10000"/>
                <a:gd name="connsiteX34" fmla="*/ 4462 w 10505"/>
                <a:gd name="connsiteY34" fmla="*/ 9550 h 10000"/>
                <a:gd name="connsiteX35" fmla="*/ 4639 w 10505"/>
                <a:gd name="connsiteY35" fmla="*/ 9486 h 10000"/>
                <a:gd name="connsiteX36" fmla="*/ 5439 w 10505"/>
                <a:gd name="connsiteY36" fmla="*/ 9968 h 10000"/>
                <a:gd name="connsiteX37" fmla="*/ 5484 w 10505"/>
                <a:gd name="connsiteY37" fmla="*/ 9968 h 10000"/>
                <a:gd name="connsiteX38" fmla="*/ 5572 w 10505"/>
                <a:gd name="connsiteY38" fmla="*/ 9904 h 10000"/>
                <a:gd name="connsiteX39" fmla="*/ 6148 w 10505"/>
                <a:gd name="connsiteY39" fmla="*/ 9904 h 10000"/>
                <a:gd name="connsiteX40" fmla="*/ 6239 w 10505"/>
                <a:gd name="connsiteY40" fmla="*/ 10000 h 10000"/>
                <a:gd name="connsiteX41" fmla="*/ 6728 w 10505"/>
                <a:gd name="connsiteY41" fmla="*/ 9871 h 10000"/>
                <a:gd name="connsiteX42" fmla="*/ 7171 w 10505"/>
                <a:gd name="connsiteY42" fmla="*/ 9871 h 10000"/>
                <a:gd name="connsiteX43" fmla="*/ 7483 w 10505"/>
                <a:gd name="connsiteY43" fmla="*/ 9743 h 10000"/>
                <a:gd name="connsiteX44" fmla="*/ 7839 w 10505"/>
                <a:gd name="connsiteY44" fmla="*/ 9486 h 10000"/>
                <a:gd name="connsiteX45" fmla="*/ 8772 w 10505"/>
                <a:gd name="connsiteY45" fmla="*/ 9486 h 10000"/>
                <a:gd name="connsiteX46" fmla="*/ 8772 w 10505"/>
                <a:gd name="connsiteY46" fmla="*/ 9132 h 10000"/>
                <a:gd name="connsiteX47" fmla="*/ 8284 w 10505"/>
                <a:gd name="connsiteY47" fmla="*/ 8971 h 10000"/>
                <a:gd name="connsiteX48" fmla="*/ 8017 w 10505"/>
                <a:gd name="connsiteY48" fmla="*/ 8457 h 10000"/>
                <a:gd name="connsiteX49" fmla="*/ 7662 w 10505"/>
                <a:gd name="connsiteY49" fmla="*/ 8264 h 10000"/>
                <a:gd name="connsiteX50" fmla="*/ 7438 w 10505"/>
                <a:gd name="connsiteY50" fmla="*/ 8006 h 10000"/>
                <a:gd name="connsiteX51" fmla="*/ 6861 w 10505"/>
                <a:gd name="connsiteY51" fmla="*/ 7814 h 10000"/>
                <a:gd name="connsiteX52" fmla="*/ 6994 w 10505"/>
                <a:gd name="connsiteY52" fmla="*/ 7749 h 10000"/>
                <a:gd name="connsiteX53" fmla="*/ 6994 w 10505"/>
                <a:gd name="connsiteY53" fmla="*/ 7588 h 10000"/>
                <a:gd name="connsiteX54" fmla="*/ 7395 w 10505"/>
                <a:gd name="connsiteY54" fmla="*/ 7588 h 10000"/>
                <a:gd name="connsiteX55" fmla="*/ 7615 w 10505"/>
                <a:gd name="connsiteY55" fmla="*/ 7460 h 10000"/>
                <a:gd name="connsiteX56" fmla="*/ 7662 w 10505"/>
                <a:gd name="connsiteY56" fmla="*/ 6527 h 10000"/>
                <a:gd name="connsiteX57" fmla="*/ 7705 w 10505"/>
                <a:gd name="connsiteY57" fmla="*/ 6559 h 10000"/>
                <a:gd name="connsiteX58" fmla="*/ 7839 w 10505"/>
                <a:gd name="connsiteY58" fmla="*/ 6367 h 10000"/>
                <a:gd name="connsiteX59" fmla="*/ 8105 w 10505"/>
                <a:gd name="connsiteY59" fmla="*/ 6270 h 10000"/>
                <a:gd name="connsiteX60" fmla="*/ 8238 w 10505"/>
                <a:gd name="connsiteY60" fmla="*/ 5916 h 10000"/>
                <a:gd name="connsiteX61" fmla="*/ 8640 w 10505"/>
                <a:gd name="connsiteY61" fmla="*/ 5498 h 10000"/>
                <a:gd name="connsiteX62" fmla="*/ 8948 w 10505"/>
                <a:gd name="connsiteY62" fmla="*/ 5305 h 10000"/>
                <a:gd name="connsiteX63" fmla="*/ 9171 w 10505"/>
                <a:gd name="connsiteY63" fmla="*/ 4759 h 10000"/>
                <a:gd name="connsiteX64" fmla="*/ 9171 w 10505"/>
                <a:gd name="connsiteY64" fmla="*/ 4630 h 10000"/>
                <a:gd name="connsiteX65" fmla="*/ 9128 w 10505"/>
                <a:gd name="connsiteY65" fmla="*/ 4309 h 10000"/>
                <a:gd name="connsiteX66" fmla="*/ 9571 w 10505"/>
                <a:gd name="connsiteY66" fmla="*/ 3151 h 10000"/>
                <a:gd name="connsiteX67" fmla="*/ 9704 w 10505"/>
                <a:gd name="connsiteY67" fmla="*/ 3151 h 10000"/>
                <a:gd name="connsiteX68" fmla="*/ 9883 w 10505"/>
                <a:gd name="connsiteY68" fmla="*/ 3055 h 10000"/>
                <a:gd name="connsiteX69" fmla="*/ 10417 w 10505"/>
                <a:gd name="connsiteY69" fmla="*/ 2894 h 10000"/>
                <a:gd name="connsiteX70" fmla="*/ 10505 w 10505"/>
                <a:gd name="connsiteY70" fmla="*/ 2637 h 10000"/>
                <a:gd name="connsiteX71" fmla="*/ 10462 w 10505"/>
                <a:gd name="connsiteY71" fmla="*/ 2572 h 10000"/>
                <a:gd name="connsiteX72" fmla="*/ 10282 w 10505"/>
                <a:gd name="connsiteY72" fmla="*/ 2572 h 10000"/>
                <a:gd name="connsiteX73" fmla="*/ 10149 w 10505"/>
                <a:gd name="connsiteY73" fmla="*/ 2412 h 10000"/>
                <a:gd name="connsiteX74" fmla="*/ 9883 w 10505"/>
                <a:gd name="connsiteY74" fmla="*/ 2347 h 10000"/>
                <a:gd name="connsiteX75" fmla="*/ 9749 w 10505"/>
                <a:gd name="connsiteY75" fmla="*/ 2219 h 10000"/>
                <a:gd name="connsiteX76" fmla="*/ 9662 w 10505"/>
                <a:gd name="connsiteY76" fmla="*/ 1736 h 10000"/>
                <a:gd name="connsiteX77" fmla="*/ 9662 w 10505"/>
                <a:gd name="connsiteY77" fmla="*/ 1061 h 10000"/>
                <a:gd name="connsiteX78" fmla="*/ 9438 w 10505"/>
                <a:gd name="connsiteY78" fmla="*/ 836 h 10000"/>
                <a:gd name="connsiteX79" fmla="*/ 9394 w 10505"/>
                <a:gd name="connsiteY79" fmla="*/ 611 h 10000"/>
                <a:gd name="connsiteX80" fmla="*/ 9039 w 10505"/>
                <a:gd name="connsiteY80" fmla="*/ 289 h 10000"/>
                <a:gd name="connsiteX81" fmla="*/ 8727 w 10505"/>
                <a:gd name="connsiteY81" fmla="*/ 161 h 10000"/>
                <a:gd name="connsiteX82" fmla="*/ 8550 w 10505"/>
                <a:gd name="connsiteY82" fmla="*/ 0 h 10000"/>
                <a:gd name="connsiteX83" fmla="*/ 8284 w 10505"/>
                <a:gd name="connsiteY83" fmla="*/ 161 h 10000"/>
                <a:gd name="connsiteX84" fmla="*/ 8105 w 10505"/>
                <a:gd name="connsiteY84" fmla="*/ 129 h 10000"/>
                <a:gd name="connsiteX85" fmla="*/ 7971 w 10505"/>
                <a:gd name="connsiteY85" fmla="*/ 418 h 10000"/>
                <a:gd name="connsiteX86" fmla="*/ 7615 w 10505"/>
                <a:gd name="connsiteY86" fmla="*/ 482 h 10000"/>
                <a:gd name="connsiteX87" fmla="*/ 7528 w 10505"/>
                <a:gd name="connsiteY87" fmla="*/ 707 h 10000"/>
                <a:gd name="connsiteX88" fmla="*/ 7216 w 10505"/>
                <a:gd name="connsiteY88" fmla="*/ 707 h 10000"/>
                <a:gd name="connsiteX89" fmla="*/ 6950 w 10505"/>
                <a:gd name="connsiteY89" fmla="*/ 611 h 10000"/>
                <a:gd name="connsiteX90" fmla="*/ 6372 w 10505"/>
                <a:gd name="connsiteY90" fmla="*/ 611 h 10000"/>
                <a:gd name="connsiteX91" fmla="*/ 5794 w 10505"/>
                <a:gd name="connsiteY91" fmla="*/ 611 h 10000"/>
                <a:gd name="connsiteX92" fmla="*/ 5838 w 10505"/>
                <a:gd name="connsiteY92" fmla="*/ 482 h 10000"/>
                <a:gd name="connsiteX93" fmla="*/ 5750 w 10505"/>
                <a:gd name="connsiteY93" fmla="*/ 482 h 10000"/>
                <a:gd name="connsiteX94" fmla="*/ 5706 w 10505"/>
                <a:gd name="connsiteY94" fmla="*/ 611 h 10000"/>
                <a:gd name="connsiteX95" fmla="*/ 5172 w 10505"/>
                <a:gd name="connsiteY95" fmla="*/ 611 h 10000"/>
                <a:gd name="connsiteX96" fmla="*/ 4639 w 10505"/>
                <a:gd name="connsiteY96" fmla="*/ 611 h 10000"/>
                <a:gd name="connsiteX97" fmla="*/ 4107 w 10505"/>
                <a:gd name="connsiteY97" fmla="*/ 611 h 10000"/>
                <a:gd name="connsiteX98" fmla="*/ 3572 w 10505"/>
                <a:gd name="connsiteY98" fmla="*/ 611 h 10000"/>
                <a:gd name="connsiteX99" fmla="*/ 3085 w 10505"/>
                <a:gd name="connsiteY99" fmla="*/ 611 h 10000"/>
                <a:gd name="connsiteX100" fmla="*/ 2551 w 10505"/>
                <a:gd name="connsiteY100" fmla="*/ 611 h 10000"/>
                <a:gd name="connsiteX101" fmla="*/ 2061 w 10505"/>
                <a:gd name="connsiteY101" fmla="*/ 611 h 10000"/>
                <a:gd name="connsiteX102" fmla="*/ 1529 w 10505"/>
                <a:gd name="connsiteY102" fmla="*/ 611 h 10000"/>
                <a:gd name="connsiteX103" fmla="*/ 1529 w 10505"/>
                <a:gd name="connsiteY103" fmla="*/ 1061 h 10000"/>
                <a:gd name="connsiteX104" fmla="*/ 1529 w 10505"/>
                <a:gd name="connsiteY104" fmla="*/ 1640 h 10000"/>
                <a:gd name="connsiteX105" fmla="*/ 861 w 10505"/>
                <a:gd name="connsiteY105" fmla="*/ 1640 h 10000"/>
                <a:gd name="connsiteX106" fmla="*/ 861 w 10505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4973 w 10000"/>
                <a:gd name="connsiteY2" fmla="*/ 5205 h 10000"/>
                <a:gd name="connsiteX3" fmla="*/ 5520 w 10000"/>
                <a:gd name="connsiteY3" fmla="*/ 6915 h 10000"/>
                <a:gd name="connsiteX4" fmla="*/ 5155 w 10000"/>
                <a:gd name="connsiteY4" fmla="*/ 7114 h 10000"/>
                <a:gd name="connsiteX5" fmla="*/ 4848 w 10000"/>
                <a:gd name="connsiteY5" fmla="*/ 6907 h 10000"/>
                <a:gd name="connsiteX6" fmla="*/ 4403 w 10000"/>
                <a:gd name="connsiteY6" fmla="*/ 6781 h 10000"/>
                <a:gd name="connsiteX7" fmla="*/ 4182 w 10000"/>
                <a:gd name="connsiteY7" fmla="*/ 7064 h 10000"/>
                <a:gd name="connsiteX8" fmla="*/ 3635 w 10000"/>
                <a:gd name="connsiteY8" fmla="*/ 7281 h 10000"/>
                <a:gd name="connsiteX9" fmla="*/ 3284 w 10000"/>
                <a:gd name="connsiteY9" fmla="*/ 7279 h 10000"/>
                <a:gd name="connsiteX10" fmla="*/ 2517 w 10000"/>
                <a:gd name="connsiteY10" fmla="*/ 7095 h 10000"/>
                <a:gd name="connsiteX11" fmla="*/ 2312 w 10000"/>
                <a:gd name="connsiteY11" fmla="*/ 7195 h 10000"/>
                <a:gd name="connsiteX12" fmla="*/ 1800 w 10000"/>
                <a:gd name="connsiteY12" fmla="*/ 6973 h 10000"/>
                <a:gd name="connsiteX13" fmla="*/ 1574 w 10000"/>
                <a:gd name="connsiteY13" fmla="*/ 6638 h 10000"/>
                <a:gd name="connsiteX14" fmla="*/ 1198 w 10000"/>
                <a:gd name="connsiteY14" fmla="*/ 6729 h 10000"/>
                <a:gd name="connsiteX15" fmla="*/ 1096 w 10000"/>
                <a:gd name="connsiteY15" fmla="*/ 6927 h 10000"/>
                <a:gd name="connsiteX16" fmla="*/ 698 w 10000"/>
                <a:gd name="connsiteY16" fmla="*/ 7011 h 10000"/>
                <a:gd name="connsiteX17" fmla="*/ 436 w 10000"/>
                <a:gd name="connsiteY17" fmla="*/ 7004 h 10000"/>
                <a:gd name="connsiteX18" fmla="*/ 292 w 10000"/>
                <a:gd name="connsiteY18" fmla="*/ 7161 h 10000"/>
                <a:gd name="connsiteX19" fmla="*/ 47 w 10000"/>
                <a:gd name="connsiteY19" fmla="*/ 6913 h 10000"/>
                <a:gd name="connsiteX20" fmla="*/ 0 w 10000"/>
                <a:gd name="connsiteY20" fmla="*/ 7363 h 10000"/>
                <a:gd name="connsiteX21" fmla="*/ 89 w 10000"/>
                <a:gd name="connsiteY21" fmla="*/ 7428 h 10000"/>
                <a:gd name="connsiteX22" fmla="*/ 446 w 10000"/>
                <a:gd name="connsiteY22" fmla="*/ 7460 h 10000"/>
                <a:gd name="connsiteX23" fmla="*/ 491 w 10000"/>
                <a:gd name="connsiteY23" fmla="*/ 7588 h 10000"/>
                <a:gd name="connsiteX24" fmla="*/ 890 w 10000"/>
                <a:gd name="connsiteY24" fmla="*/ 7621 h 10000"/>
                <a:gd name="connsiteX25" fmla="*/ 1112 w 10000"/>
                <a:gd name="connsiteY25" fmla="*/ 7749 h 10000"/>
                <a:gd name="connsiteX26" fmla="*/ 1156 w 10000"/>
                <a:gd name="connsiteY26" fmla="*/ 7974 h 10000"/>
                <a:gd name="connsiteX27" fmla="*/ 1869 w 10000"/>
                <a:gd name="connsiteY27" fmla="*/ 8360 h 10000"/>
                <a:gd name="connsiteX28" fmla="*/ 2046 w 10000"/>
                <a:gd name="connsiteY28" fmla="*/ 8746 h 10000"/>
                <a:gd name="connsiteX29" fmla="*/ 2534 w 10000"/>
                <a:gd name="connsiteY29" fmla="*/ 8939 h 10000"/>
                <a:gd name="connsiteX30" fmla="*/ 2712 w 10000"/>
                <a:gd name="connsiteY30" fmla="*/ 9196 h 10000"/>
                <a:gd name="connsiteX31" fmla="*/ 3067 w 10000"/>
                <a:gd name="connsiteY31" fmla="*/ 9518 h 10000"/>
                <a:gd name="connsiteX32" fmla="*/ 3335 w 10000"/>
                <a:gd name="connsiteY32" fmla="*/ 9614 h 10000"/>
                <a:gd name="connsiteX33" fmla="*/ 3513 w 10000"/>
                <a:gd name="connsiteY33" fmla="*/ 9518 h 10000"/>
                <a:gd name="connsiteX34" fmla="*/ 3957 w 10000"/>
                <a:gd name="connsiteY34" fmla="*/ 9550 h 10000"/>
                <a:gd name="connsiteX35" fmla="*/ 4134 w 10000"/>
                <a:gd name="connsiteY35" fmla="*/ 9486 h 10000"/>
                <a:gd name="connsiteX36" fmla="*/ 4934 w 10000"/>
                <a:gd name="connsiteY36" fmla="*/ 9968 h 10000"/>
                <a:gd name="connsiteX37" fmla="*/ 4979 w 10000"/>
                <a:gd name="connsiteY37" fmla="*/ 9968 h 10000"/>
                <a:gd name="connsiteX38" fmla="*/ 5067 w 10000"/>
                <a:gd name="connsiteY38" fmla="*/ 9904 h 10000"/>
                <a:gd name="connsiteX39" fmla="*/ 5643 w 10000"/>
                <a:gd name="connsiteY39" fmla="*/ 9904 h 10000"/>
                <a:gd name="connsiteX40" fmla="*/ 5734 w 10000"/>
                <a:gd name="connsiteY40" fmla="*/ 10000 h 10000"/>
                <a:gd name="connsiteX41" fmla="*/ 6223 w 10000"/>
                <a:gd name="connsiteY41" fmla="*/ 9871 h 10000"/>
                <a:gd name="connsiteX42" fmla="*/ 6666 w 10000"/>
                <a:gd name="connsiteY42" fmla="*/ 9871 h 10000"/>
                <a:gd name="connsiteX43" fmla="*/ 6978 w 10000"/>
                <a:gd name="connsiteY43" fmla="*/ 9743 h 10000"/>
                <a:gd name="connsiteX44" fmla="*/ 7334 w 10000"/>
                <a:gd name="connsiteY44" fmla="*/ 9486 h 10000"/>
                <a:gd name="connsiteX45" fmla="*/ 8267 w 10000"/>
                <a:gd name="connsiteY45" fmla="*/ 9486 h 10000"/>
                <a:gd name="connsiteX46" fmla="*/ 8267 w 10000"/>
                <a:gd name="connsiteY46" fmla="*/ 9132 h 10000"/>
                <a:gd name="connsiteX47" fmla="*/ 7779 w 10000"/>
                <a:gd name="connsiteY47" fmla="*/ 8971 h 10000"/>
                <a:gd name="connsiteX48" fmla="*/ 7512 w 10000"/>
                <a:gd name="connsiteY48" fmla="*/ 8457 h 10000"/>
                <a:gd name="connsiteX49" fmla="*/ 7157 w 10000"/>
                <a:gd name="connsiteY49" fmla="*/ 8264 h 10000"/>
                <a:gd name="connsiteX50" fmla="*/ 6933 w 10000"/>
                <a:gd name="connsiteY50" fmla="*/ 8006 h 10000"/>
                <a:gd name="connsiteX51" fmla="*/ 6356 w 10000"/>
                <a:gd name="connsiteY51" fmla="*/ 7814 h 10000"/>
                <a:gd name="connsiteX52" fmla="*/ 6489 w 10000"/>
                <a:gd name="connsiteY52" fmla="*/ 7749 h 10000"/>
                <a:gd name="connsiteX53" fmla="*/ 6489 w 10000"/>
                <a:gd name="connsiteY53" fmla="*/ 7588 h 10000"/>
                <a:gd name="connsiteX54" fmla="*/ 6890 w 10000"/>
                <a:gd name="connsiteY54" fmla="*/ 7588 h 10000"/>
                <a:gd name="connsiteX55" fmla="*/ 7110 w 10000"/>
                <a:gd name="connsiteY55" fmla="*/ 7460 h 10000"/>
                <a:gd name="connsiteX56" fmla="*/ 7157 w 10000"/>
                <a:gd name="connsiteY56" fmla="*/ 6527 h 10000"/>
                <a:gd name="connsiteX57" fmla="*/ 7200 w 10000"/>
                <a:gd name="connsiteY57" fmla="*/ 6559 h 10000"/>
                <a:gd name="connsiteX58" fmla="*/ 7334 w 10000"/>
                <a:gd name="connsiteY58" fmla="*/ 6367 h 10000"/>
                <a:gd name="connsiteX59" fmla="*/ 7600 w 10000"/>
                <a:gd name="connsiteY59" fmla="*/ 6270 h 10000"/>
                <a:gd name="connsiteX60" fmla="*/ 7733 w 10000"/>
                <a:gd name="connsiteY60" fmla="*/ 5916 h 10000"/>
                <a:gd name="connsiteX61" fmla="*/ 8135 w 10000"/>
                <a:gd name="connsiteY61" fmla="*/ 5498 h 10000"/>
                <a:gd name="connsiteX62" fmla="*/ 8443 w 10000"/>
                <a:gd name="connsiteY62" fmla="*/ 5305 h 10000"/>
                <a:gd name="connsiteX63" fmla="*/ 8666 w 10000"/>
                <a:gd name="connsiteY63" fmla="*/ 4759 h 10000"/>
                <a:gd name="connsiteX64" fmla="*/ 8666 w 10000"/>
                <a:gd name="connsiteY64" fmla="*/ 4630 h 10000"/>
                <a:gd name="connsiteX65" fmla="*/ 8623 w 10000"/>
                <a:gd name="connsiteY65" fmla="*/ 4309 h 10000"/>
                <a:gd name="connsiteX66" fmla="*/ 9066 w 10000"/>
                <a:gd name="connsiteY66" fmla="*/ 3151 h 10000"/>
                <a:gd name="connsiteX67" fmla="*/ 9199 w 10000"/>
                <a:gd name="connsiteY67" fmla="*/ 3151 h 10000"/>
                <a:gd name="connsiteX68" fmla="*/ 9378 w 10000"/>
                <a:gd name="connsiteY68" fmla="*/ 3055 h 10000"/>
                <a:gd name="connsiteX69" fmla="*/ 9912 w 10000"/>
                <a:gd name="connsiteY69" fmla="*/ 2894 h 10000"/>
                <a:gd name="connsiteX70" fmla="*/ 10000 w 10000"/>
                <a:gd name="connsiteY70" fmla="*/ 2637 h 10000"/>
                <a:gd name="connsiteX71" fmla="*/ 9957 w 10000"/>
                <a:gd name="connsiteY71" fmla="*/ 2572 h 10000"/>
                <a:gd name="connsiteX72" fmla="*/ 9777 w 10000"/>
                <a:gd name="connsiteY72" fmla="*/ 2572 h 10000"/>
                <a:gd name="connsiteX73" fmla="*/ 9644 w 10000"/>
                <a:gd name="connsiteY73" fmla="*/ 2412 h 10000"/>
                <a:gd name="connsiteX74" fmla="*/ 9378 w 10000"/>
                <a:gd name="connsiteY74" fmla="*/ 2347 h 10000"/>
                <a:gd name="connsiteX75" fmla="*/ 9244 w 10000"/>
                <a:gd name="connsiteY75" fmla="*/ 2219 h 10000"/>
                <a:gd name="connsiteX76" fmla="*/ 9157 w 10000"/>
                <a:gd name="connsiteY76" fmla="*/ 1736 h 10000"/>
                <a:gd name="connsiteX77" fmla="*/ 9157 w 10000"/>
                <a:gd name="connsiteY77" fmla="*/ 1061 h 10000"/>
                <a:gd name="connsiteX78" fmla="*/ 8933 w 10000"/>
                <a:gd name="connsiteY78" fmla="*/ 836 h 10000"/>
                <a:gd name="connsiteX79" fmla="*/ 8889 w 10000"/>
                <a:gd name="connsiteY79" fmla="*/ 611 h 10000"/>
                <a:gd name="connsiteX80" fmla="*/ 8534 w 10000"/>
                <a:gd name="connsiteY80" fmla="*/ 289 h 10000"/>
                <a:gd name="connsiteX81" fmla="*/ 8222 w 10000"/>
                <a:gd name="connsiteY81" fmla="*/ 161 h 10000"/>
                <a:gd name="connsiteX82" fmla="*/ 8045 w 10000"/>
                <a:gd name="connsiteY82" fmla="*/ 0 h 10000"/>
                <a:gd name="connsiteX83" fmla="*/ 7779 w 10000"/>
                <a:gd name="connsiteY83" fmla="*/ 161 h 10000"/>
                <a:gd name="connsiteX84" fmla="*/ 7600 w 10000"/>
                <a:gd name="connsiteY84" fmla="*/ 129 h 10000"/>
                <a:gd name="connsiteX85" fmla="*/ 7466 w 10000"/>
                <a:gd name="connsiteY85" fmla="*/ 418 h 10000"/>
                <a:gd name="connsiteX86" fmla="*/ 7110 w 10000"/>
                <a:gd name="connsiteY86" fmla="*/ 482 h 10000"/>
                <a:gd name="connsiteX87" fmla="*/ 7023 w 10000"/>
                <a:gd name="connsiteY87" fmla="*/ 707 h 10000"/>
                <a:gd name="connsiteX88" fmla="*/ 6711 w 10000"/>
                <a:gd name="connsiteY88" fmla="*/ 707 h 10000"/>
                <a:gd name="connsiteX89" fmla="*/ 6445 w 10000"/>
                <a:gd name="connsiteY89" fmla="*/ 611 h 10000"/>
                <a:gd name="connsiteX90" fmla="*/ 5867 w 10000"/>
                <a:gd name="connsiteY90" fmla="*/ 611 h 10000"/>
                <a:gd name="connsiteX91" fmla="*/ 5289 w 10000"/>
                <a:gd name="connsiteY91" fmla="*/ 611 h 10000"/>
                <a:gd name="connsiteX92" fmla="*/ 5333 w 10000"/>
                <a:gd name="connsiteY92" fmla="*/ 482 h 10000"/>
                <a:gd name="connsiteX93" fmla="*/ 5245 w 10000"/>
                <a:gd name="connsiteY93" fmla="*/ 482 h 10000"/>
                <a:gd name="connsiteX94" fmla="*/ 5201 w 10000"/>
                <a:gd name="connsiteY94" fmla="*/ 611 h 10000"/>
                <a:gd name="connsiteX95" fmla="*/ 4667 w 10000"/>
                <a:gd name="connsiteY95" fmla="*/ 611 h 10000"/>
                <a:gd name="connsiteX96" fmla="*/ 4134 w 10000"/>
                <a:gd name="connsiteY96" fmla="*/ 611 h 10000"/>
                <a:gd name="connsiteX97" fmla="*/ 3602 w 10000"/>
                <a:gd name="connsiteY97" fmla="*/ 611 h 10000"/>
                <a:gd name="connsiteX98" fmla="*/ 3067 w 10000"/>
                <a:gd name="connsiteY98" fmla="*/ 611 h 10000"/>
                <a:gd name="connsiteX99" fmla="*/ 2580 w 10000"/>
                <a:gd name="connsiteY99" fmla="*/ 611 h 10000"/>
                <a:gd name="connsiteX100" fmla="*/ 2046 w 10000"/>
                <a:gd name="connsiteY100" fmla="*/ 611 h 10000"/>
                <a:gd name="connsiteX101" fmla="*/ 1556 w 10000"/>
                <a:gd name="connsiteY101" fmla="*/ 611 h 10000"/>
                <a:gd name="connsiteX102" fmla="*/ 1024 w 10000"/>
                <a:gd name="connsiteY102" fmla="*/ 611 h 10000"/>
                <a:gd name="connsiteX103" fmla="*/ 1024 w 10000"/>
                <a:gd name="connsiteY103" fmla="*/ 1061 h 10000"/>
                <a:gd name="connsiteX104" fmla="*/ 1024 w 10000"/>
                <a:gd name="connsiteY104" fmla="*/ 1640 h 10000"/>
                <a:gd name="connsiteX105" fmla="*/ 356 w 10000"/>
                <a:gd name="connsiteY105" fmla="*/ 1640 h 10000"/>
                <a:gd name="connsiteX106" fmla="*/ 356 w 10000"/>
                <a:gd name="connsiteY106" fmla="*/ 1897 h 10000"/>
                <a:gd name="connsiteX0" fmla="*/ 356 w 10000"/>
                <a:gd name="connsiteY0" fmla="*/ 1897 h 10000"/>
                <a:gd name="connsiteX1" fmla="*/ 356 w 10000"/>
                <a:gd name="connsiteY1" fmla="*/ 2412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484 w 10000"/>
                <a:gd name="connsiteY1" fmla="*/ 5713 h 10000"/>
                <a:gd name="connsiteX2" fmla="*/ 5520 w 10000"/>
                <a:gd name="connsiteY2" fmla="*/ 6915 h 10000"/>
                <a:gd name="connsiteX3" fmla="*/ 5155 w 10000"/>
                <a:gd name="connsiteY3" fmla="*/ 7114 h 10000"/>
                <a:gd name="connsiteX4" fmla="*/ 4848 w 10000"/>
                <a:gd name="connsiteY4" fmla="*/ 6907 h 10000"/>
                <a:gd name="connsiteX5" fmla="*/ 4403 w 10000"/>
                <a:gd name="connsiteY5" fmla="*/ 6781 h 10000"/>
                <a:gd name="connsiteX6" fmla="*/ 4182 w 10000"/>
                <a:gd name="connsiteY6" fmla="*/ 7064 h 10000"/>
                <a:gd name="connsiteX7" fmla="*/ 3635 w 10000"/>
                <a:gd name="connsiteY7" fmla="*/ 7281 h 10000"/>
                <a:gd name="connsiteX8" fmla="*/ 3284 w 10000"/>
                <a:gd name="connsiteY8" fmla="*/ 7279 h 10000"/>
                <a:gd name="connsiteX9" fmla="*/ 2517 w 10000"/>
                <a:gd name="connsiteY9" fmla="*/ 7095 h 10000"/>
                <a:gd name="connsiteX10" fmla="*/ 2312 w 10000"/>
                <a:gd name="connsiteY10" fmla="*/ 7195 h 10000"/>
                <a:gd name="connsiteX11" fmla="*/ 1800 w 10000"/>
                <a:gd name="connsiteY11" fmla="*/ 6973 h 10000"/>
                <a:gd name="connsiteX12" fmla="*/ 1574 w 10000"/>
                <a:gd name="connsiteY12" fmla="*/ 6638 h 10000"/>
                <a:gd name="connsiteX13" fmla="*/ 1198 w 10000"/>
                <a:gd name="connsiteY13" fmla="*/ 6729 h 10000"/>
                <a:gd name="connsiteX14" fmla="*/ 1096 w 10000"/>
                <a:gd name="connsiteY14" fmla="*/ 6927 h 10000"/>
                <a:gd name="connsiteX15" fmla="*/ 698 w 10000"/>
                <a:gd name="connsiteY15" fmla="*/ 7011 h 10000"/>
                <a:gd name="connsiteX16" fmla="*/ 436 w 10000"/>
                <a:gd name="connsiteY16" fmla="*/ 7004 h 10000"/>
                <a:gd name="connsiteX17" fmla="*/ 292 w 10000"/>
                <a:gd name="connsiteY17" fmla="*/ 7161 h 10000"/>
                <a:gd name="connsiteX18" fmla="*/ 47 w 10000"/>
                <a:gd name="connsiteY18" fmla="*/ 6913 h 10000"/>
                <a:gd name="connsiteX19" fmla="*/ 0 w 10000"/>
                <a:gd name="connsiteY19" fmla="*/ 7363 h 10000"/>
                <a:gd name="connsiteX20" fmla="*/ 89 w 10000"/>
                <a:gd name="connsiteY20" fmla="*/ 7428 h 10000"/>
                <a:gd name="connsiteX21" fmla="*/ 446 w 10000"/>
                <a:gd name="connsiteY21" fmla="*/ 7460 h 10000"/>
                <a:gd name="connsiteX22" fmla="*/ 491 w 10000"/>
                <a:gd name="connsiteY22" fmla="*/ 7588 h 10000"/>
                <a:gd name="connsiteX23" fmla="*/ 890 w 10000"/>
                <a:gd name="connsiteY23" fmla="*/ 7621 h 10000"/>
                <a:gd name="connsiteX24" fmla="*/ 1112 w 10000"/>
                <a:gd name="connsiteY24" fmla="*/ 7749 h 10000"/>
                <a:gd name="connsiteX25" fmla="*/ 1156 w 10000"/>
                <a:gd name="connsiteY25" fmla="*/ 7974 h 10000"/>
                <a:gd name="connsiteX26" fmla="*/ 1869 w 10000"/>
                <a:gd name="connsiteY26" fmla="*/ 8360 h 10000"/>
                <a:gd name="connsiteX27" fmla="*/ 2046 w 10000"/>
                <a:gd name="connsiteY27" fmla="*/ 8746 h 10000"/>
                <a:gd name="connsiteX28" fmla="*/ 2534 w 10000"/>
                <a:gd name="connsiteY28" fmla="*/ 8939 h 10000"/>
                <a:gd name="connsiteX29" fmla="*/ 2712 w 10000"/>
                <a:gd name="connsiteY29" fmla="*/ 9196 h 10000"/>
                <a:gd name="connsiteX30" fmla="*/ 3067 w 10000"/>
                <a:gd name="connsiteY30" fmla="*/ 9518 h 10000"/>
                <a:gd name="connsiteX31" fmla="*/ 3335 w 10000"/>
                <a:gd name="connsiteY31" fmla="*/ 9614 h 10000"/>
                <a:gd name="connsiteX32" fmla="*/ 3513 w 10000"/>
                <a:gd name="connsiteY32" fmla="*/ 9518 h 10000"/>
                <a:gd name="connsiteX33" fmla="*/ 3957 w 10000"/>
                <a:gd name="connsiteY33" fmla="*/ 9550 h 10000"/>
                <a:gd name="connsiteX34" fmla="*/ 4134 w 10000"/>
                <a:gd name="connsiteY34" fmla="*/ 9486 h 10000"/>
                <a:gd name="connsiteX35" fmla="*/ 4934 w 10000"/>
                <a:gd name="connsiteY35" fmla="*/ 9968 h 10000"/>
                <a:gd name="connsiteX36" fmla="*/ 4979 w 10000"/>
                <a:gd name="connsiteY36" fmla="*/ 9968 h 10000"/>
                <a:gd name="connsiteX37" fmla="*/ 5067 w 10000"/>
                <a:gd name="connsiteY37" fmla="*/ 9904 h 10000"/>
                <a:gd name="connsiteX38" fmla="*/ 5643 w 10000"/>
                <a:gd name="connsiteY38" fmla="*/ 9904 h 10000"/>
                <a:gd name="connsiteX39" fmla="*/ 5734 w 10000"/>
                <a:gd name="connsiteY39" fmla="*/ 10000 h 10000"/>
                <a:gd name="connsiteX40" fmla="*/ 6223 w 10000"/>
                <a:gd name="connsiteY40" fmla="*/ 9871 h 10000"/>
                <a:gd name="connsiteX41" fmla="*/ 6666 w 10000"/>
                <a:gd name="connsiteY41" fmla="*/ 9871 h 10000"/>
                <a:gd name="connsiteX42" fmla="*/ 6978 w 10000"/>
                <a:gd name="connsiteY42" fmla="*/ 9743 h 10000"/>
                <a:gd name="connsiteX43" fmla="*/ 7334 w 10000"/>
                <a:gd name="connsiteY43" fmla="*/ 9486 h 10000"/>
                <a:gd name="connsiteX44" fmla="*/ 8267 w 10000"/>
                <a:gd name="connsiteY44" fmla="*/ 9486 h 10000"/>
                <a:gd name="connsiteX45" fmla="*/ 8267 w 10000"/>
                <a:gd name="connsiteY45" fmla="*/ 9132 h 10000"/>
                <a:gd name="connsiteX46" fmla="*/ 7779 w 10000"/>
                <a:gd name="connsiteY46" fmla="*/ 8971 h 10000"/>
                <a:gd name="connsiteX47" fmla="*/ 7512 w 10000"/>
                <a:gd name="connsiteY47" fmla="*/ 8457 h 10000"/>
                <a:gd name="connsiteX48" fmla="*/ 7157 w 10000"/>
                <a:gd name="connsiteY48" fmla="*/ 8264 h 10000"/>
                <a:gd name="connsiteX49" fmla="*/ 6933 w 10000"/>
                <a:gd name="connsiteY49" fmla="*/ 8006 h 10000"/>
                <a:gd name="connsiteX50" fmla="*/ 6356 w 10000"/>
                <a:gd name="connsiteY50" fmla="*/ 7814 h 10000"/>
                <a:gd name="connsiteX51" fmla="*/ 6489 w 10000"/>
                <a:gd name="connsiteY51" fmla="*/ 7749 h 10000"/>
                <a:gd name="connsiteX52" fmla="*/ 6489 w 10000"/>
                <a:gd name="connsiteY52" fmla="*/ 7588 h 10000"/>
                <a:gd name="connsiteX53" fmla="*/ 6890 w 10000"/>
                <a:gd name="connsiteY53" fmla="*/ 7588 h 10000"/>
                <a:gd name="connsiteX54" fmla="*/ 7110 w 10000"/>
                <a:gd name="connsiteY54" fmla="*/ 7460 h 10000"/>
                <a:gd name="connsiteX55" fmla="*/ 7157 w 10000"/>
                <a:gd name="connsiteY55" fmla="*/ 6527 h 10000"/>
                <a:gd name="connsiteX56" fmla="*/ 7200 w 10000"/>
                <a:gd name="connsiteY56" fmla="*/ 6559 h 10000"/>
                <a:gd name="connsiteX57" fmla="*/ 7334 w 10000"/>
                <a:gd name="connsiteY57" fmla="*/ 6367 h 10000"/>
                <a:gd name="connsiteX58" fmla="*/ 7600 w 10000"/>
                <a:gd name="connsiteY58" fmla="*/ 6270 h 10000"/>
                <a:gd name="connsiteX59" fmla="*/ 7733 w 10000"/>
                <a:gd name="connsiteY59" fmla="*/ 5916 h 10000"/>
                <a:gd name="connsiteX60" fmla="*/ 8135 w 10000"/>
                <a:gd name="connsiteY60" fmla="*/ 5498 h 10000"/>
                <a:gd name="connsiteX61" fmla="*/ 8443 w 10000"/>
                <a:gd name="connsiteY61" fmla="*/ 5305 h 10000"/>
                <a:gd name="connsiteX62" fmla="*/ 8666 w 10000"/>
                <a:gd name="connsiteY62" fmla="*/ 4759 h 10000"/>
                <a:gd name="connsiteX63" fmla="*/ 8666 w 10000"/>
                <a:gd name="connsiteY63" fmla="*/ 4630 h 10000"/>
                <a:gd name="connsiteX64" fmla="*/ 8623 w 10000"/>
                <a:gd name="connsiteY64" fmla="*/ 4309 h 10000"/>
                <a:gd name="connsiteX65" fmla="*/ 9066 w 10000"/>
                <a:gd name="connsiteY65" fmla="*/ 3151 h 10000"/>
                <a:gd name="connsiteX66" fmla="*/ 9199 w 10000"/>
                <a:gd name="connsiteY66" fmla="*/ 3151 h 10000"/>
                <a:gd name="connsiteX67" fmla="*/ 9378 w 10000"/>
                <a:gd name="connsiteY67" fmla="*/ 3055 h 10000"/>
                <a:gd name="connsiteX68" fmla="*/ 9912 w 10000"/>
                <a:gd name="connsiteY68" fmla="*/ 2894 h 10000"/>
                <a:gd name="connsiteX69" fmla="*/ 10000 w 10000"/>
                <a:gd name="connsiteY69" fmla="*/ 2637 h 10000"/>
                <a:gd name="connsiteX70" fmla="*/ 9957 w 10000"/>
                <a:gd name="connsiteY70" fmla="*/ 2572 h 10000"/>
                <a:gd name="connsiteX71" fmla="*/ 9777 w 10000"/>
                <a:gd name="connsiteY71" fmla="*/ 2572 h 10000"/>
                <a:gd name="connsiteX72" fmla="*/ 9644 w 10000"/>
                <a:gd name="connsiteY72" fmla="*/ 2412 h 10000"/>
                <a:gd name="connsiteX73" fmla="*/ 9378 w 10000"/>
                <a:gd name="connsiteY73" fmla="*/ 2347 h 10000"/>
                <a:gd name="connsiteX74" fmla="*/ 9244 w 10000"/>
                <a:gd name="connsiteY74" fmla="*/ 2219 h 10000"/>
                <a:gd name="connsiteX75" fmla="*/ 9157 w 10000"/>
                <a:gd name="connsiteY75" fmla="*/ 1736 h 10000"/>
                <a:gd name="connsiteX76" fmla="*/ 9157 w 10000"/>
                <a:gd name="connsiteY76" fmla="*/ 1061 h 10000"/>
                <a:gd name="connsiteX77" fmla="*/ 8933 w 10000"/>
                <a:gd name="connsiteY77" fmla="*/ 836 h 10000"/>
                <a:gd name="connsiteX78" fmla="*/ 8889 w 10000"/>
                <a:gd name="connsiteY78" fmla="*/ 611 h 10000"/>
                <a:gd name="connsiteX79" fmla="*/ 8534 w 10000"/>
                <a:gd name="connsiteY79" fmla="*/ 289 h 10000"/>
                <a:gd name="connsiteX80" fmla="*/ 8222 w 10000"/>
                <a:gd name="connsiteY80" fmla="*/ 161 h 10000"/>
                <a:gd name="connsiteX81" fmla="*/ 8045 w 10000"/>
                <a:gd name="connsiteY81" fmla="*/ 0 h 10000"/>
                <a:gd name="connsiteX82" fmla="*/ 7779 w 10000"/>
                <a:gd name="connsiteY82" fmla="*/ 161 h 10000"/>
                <a:gd name="connsiteX83" fmla="*/ 7600 w 10000"/>
                <a:gd name="connsiteY83" fmla="*/ 129 h 10000"/>
                <a:gd name="connsiteX84" fmla="*/ 7466 w 10000"/>
                <a:gd name="connsiteY84" fmla="*/ 418 h 10000"/>
                <a:gd name="connsiteX85" fmla="*/ 7110 w 10000"/>
                <a:gd name="connsiteY85" fmla="*/ 482 h 10000"/>
                <a:gd name="connsiteX86" fmla="*/ 7023 w 10000"/>
                <a:gd name="connsiteY86" fmla="*/ 707 h 10000"/>
                <a:gd name="connsiteX87" fmla="*/ 6711 w 10000"/>
                <a:gd name="connsiteY87" fmla="*/ 707 h 10000"/>
                <a:gd name="connsiteX88" fmla="*/ 6445 w 10000"/>
                <a:gd name="connsiteY88" fmla="*/ 611 h 10000"/>
                <a:gd name="connsiteX89" fmla="*/ 5867 w 10000"/>
                <a:gd name="connsiteY89" fmla="*/ 611 h 10000"/>
                <a:gd name="connsiteX90" fmla="*/ 5289 w 10000"/>
                <a:gd name="connsiteY90" fmla="*/ 611 h 10000"/>
                <a:gd name="connsiteX91" fmla="*/ 5333 w 10000"/>
                <a:gd name="connsiteY91" fmla="*/ 482 h 10000"/>
                <a:gd name="connsiteX92" fmla="*/ 5245 w 10000"/>
                <a:gd name="connsiteY92" fmla="*/ 482 h 10000"/>
                <a:gd name="connsiteX93" fmla="*/ 5201 w 10000"/>
                <a:gd name="connsiteY93" fmla="*/ 611 h 10000"/>
                <a:gd name="connsiteX94" fmla="*/ 4667 w 10000"/>
                <a:gd name="connsiteY94" fmla="*/ 611 h 10000"/>
                <a:gd name="connsiteX95" fmla="*/ 4134 w 10000"/>
                <a:gd name="connsiteY95" fmla="*/ 611 h 10000"/>
                <a:gd name="connsiteX96" fmla="*/ 3602 w 10000"/>
                <a:gd name="connsiteY96" fmla="*/ 611 h 10000"/>
                <a:gd name="connsiteX97" fmla="*/ 3067 w 10000"/>
                <a:gd name="connsiteY97" fmla="*/ 611 h 10000"/>
                <a:gd name="connsiteX98" fmla="*/ 2580 w 10000"/>
                <a:gd name="connsiteY98" fmla="*/ 611 h 10000"/>
                <a:gd name="connsiteX99" fmla="*/ 2046 w 10000"/>
                <a:gd name="connsiteY99" fmla="*/ 611 h 10000"/>
                <a:gd name="connsiteX100" fmla="*/ 1556 w 10000"/>
                <a:gd name="connsiteY100" fmla="*/ 611 h 10000"/>
                <a:gd name="connsiteX101" fmla="*/ 1024 w 10000"/>
                <a:gd name="connsiteY101" fmla="*/ 611 h 10000"/>
                <a:gd name="connsiteX102" fmla="*/ 1024 w 10000"/>
                <a:gd name="connsiteY102" fmla="*/ 1061 h 10000"/>
                <a:gd name="connsiteX103" fmla="*/ 1024 w 10000"/>
                <a:gd name="connsiteY103" fmla="*/ 1640 h 10000"/>
                <a:gd name="connsiteX104" fmla="*/ 356 w 10000"/>
                <a:gd name="connsiteY104" fmla="*/ 1640 h 10000"/>
                <a:gd name="connsiteX105" fmla="*/ 356 w 10000"/>
                <a:gd name="connsiteY105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334 w 10000"/>
                <a:gd name="connsiteY56" fmla="*/ 6367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7600 w 10000"/>
                <a:gd name="connsiteY57" fmla="*/ 6270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7733 w 10000"/>
                <a:gd name="connsiteY58" fmla="*/ 5916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8135 w 10000"/>
                <a:gd name="connsiteY59" fmla="*/ 549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443 w 10000"/>
                <a:gd name="connsiteY60" fmla="*/ 5305 h 10000"/>
                <a:gd name="connsiteX61" fmla="*/ 8666 w 10000"/>
                <a:gd name="connsiteY61" fmla="*/ 4759 h 10000"/>
                <a:gd name="connsiteX62" fmla="*/ 8666 w 10000"/>
                <a:gd name="connsiteY62" fmla="*/ 4630 h 10000"/>
                <a:gd name="connsiteX63" fmla="*/ 8623 w 10000"/>
                <a:gd name="connsiteY63" fmla="*/ 4309 h 10000"/>
                <a:gd name="connsiteX64" fmla="*/ 9066 w 10000"/>
                <a:gd name="connsiteY64" fmla="*/ 3151 h 10000"/>
                <a:gd name="connsiteX65" fmla="*/ 9199 w 10000"/>
                <a:gd name="connsiteY65" fmla="*/ 3151 h 10000"/>
                <a:gd name="connsiteX66" fmla="*/ 9378 w 10000"/>
                <a:gd name="connsiteY66" fmla="*/ 3055 h 10000"/>
                <a:gd name="connsiteX67" fmla="*/ 9912 w 10000"/>
                <a:gd name="connsiteY67" fmla="*/ 2894 h 10000"/>
                <a:gd name="connsiteX68" fmla="*/ 10000 w 10000"/>
                <a:gd name="connsiteY68" fmla="*/ 2637 h 10000"/>
                <a:gd name="connsiteX69" fmla="*/ 9957 w 10000"/>
                <a:gd name="connsiteY69" fmla="*/ 2572 h 10000"/>
                <a:gd name="connsiteX70" fmla="*/ 9777 w 10000"/>
                <a:gd name="connsiteY70" fmla="*/ 2572 h 10000"/>
                <a:gd name="connsiteX71" fmla="*/ 9644 w 10000"/>
                <a:gd name="connsiteY71" fmla="*/ 2412 h 10000"/>
                <a:gd name="connsiteX72" fmla="*/ 9378 w 10000"/>
                <a:gd name="connsiteY72" fmla="*/ 2347 h 10000"/>
                <a:gd name="connsiteX73" fmla="*/ 9244 w 10000"/>
                <a:gd name="connsiteY73" fmla="*/ 2219 h 10000"/>
                <a:gd name="connsiteX74" fmla="*/ 9157 w 10000"/>
                <a:gd name="connsiteY74" fmla="*/ 1736 h 10000"/>
                <a:gd name="connsiteX75" fmla="*/ 9157 w 10000"/>
                <a:gd name="connsiteY75" fmla="*/ 1061 h 10000"/>
                <a:gd name="connsiteX76" fmla="*/ 8933 w 10000"/>
                <a:gd name="connsiteY76" fmla="*/ 836 h 10000"/>
                <a:gd name="connsiteX77" fmla="*/ 8889 w 10000"/>
                <a:gd name="connsiteY77" fmla="*/ 611 h 10000"/>
                <a:gd name="connsiteX78" fmla="*/ 8534 w 10000"/>
                <a:gd name="connsiteY78" fmla="*/ 289 h 10000"/>
                <a:gd name="connsiteX79" fmla="*/ 8222 w 10000"/>
                <a:gd name="connsiteY79" fmla="*/ 161 h 10000"/>
                <a:gd name="connsiteX80" fmla="*/ 8045 w 10000"/>
                <a:gd name="connsiteY80" fmla="*/ 0 h 10000"/>
                <a:gd name="connsiteX81" fmla="*/ 7779 w 10000"/>
                <a:gd name="connsiteY81" fmla="*/ 161 h 10000"/>
                <a:gd name="connsiteX82" fmla="*/ 7600 w 10000"/>
                <a:gd name="connsiteY82" fmla="*/ 129 h 10000"/>
                <a:gd name="connsiteX83" fmla="*/ 7466 w 10000"/>
                <a:gd name="connsiteY83" fmla="*/ 418 h 10000"/>
                <a:gd name="connsiteX84" fmla="*/ 7110 w 10000"/>
                <a:gd name="connsiteY84" fmla="*/ 482 h 10000"/>
                <a:gd name="connsiteX85" fmla="*/ 7023 w 10000"/>
                <a:gd name="connsiteY85" fmla="*/ 707 h 10000"/>
                <a:gd name="connsiteX86" fmla="*/ 6711 w 10000"/>
                <a:gd name="connsiteY86" fmla="*/ 707 h 10000"/>
                <a:gd name="connsiteX87" fmla="*/ 6445 w 10000"/>
                <a:gd name="connsiteY87" fmla="*/ 611 h 10000"/>
                <a:gd name="connsiteX88" fmla="*/ 5867 w 10000"/>
                <a:gd name="connsiteY88" fmla="*/ 611 h 10000"/>
                <a:gd name="connsiteX89" fmla="*/ 5289 w 10000"/>
                <a:gd name="connsiteY89" fmla="*/ 611 h 10000"/>
                <a:gd name="connsiteX90" fmla="*/ 5333 w 10000"/>
                <a:gd name="connsiteY90" fmla="*/ 482 h 10000"/>
                <a:gd name="connsiteX91" fmla="*/ 5245 w 10000"/>
                <a:gd name="connsiteY91" fmla="*/ 482 h 10000"/>
                <a:gd name="connsiteX92" fmla="*/ 5201 w 10000"/>
                <a:gd name="connsiteY92" fmla="*/ 611 h 10000"/>
                <a:gd name="connsiteX93" fmla="*/ 4667 w 10000"/>
                <a:gd name="connsiteY93" fmla="*/ 611 h 10000"/>
                <a:gd name="connsiteX94" fmla="*/ 4134 w 10000"/>
                <a:gd name="connsiteY94" fmla="*/ 611 h 10000"/>
                <a:gd name="connsiteX95" fmla="*/ 3602 w 10000"/>
                <a:gd name="connsiteY95" fmla="*/ 611 h 10000"/>
                <a:gd name="connsiteX96" fmla="*/ 3067 w 10000"/>
                <a:gd name="connsiteY96" fmla="*/ 611 h 10000"/>
                <a:gd name="connsiteX97" fmla="*/ 2580 w 10000"/>
                <a:gd name="connsiteY97" fmla="*/ 611 h 10000"/>
                <a:gd name="connsiteX98" fmla="*/ 2046 w 10000"/>
                <a:gd name="connsiteY98" fmla="*/ 611 h 10000"/>
                <a:gd name="connsiteX99" fmla="*/ 1556 w 10000"/>
                <a:gd name="connsiteY99" fmla="*/ 611 h 10000"/>
                <a:gd name="connsiteX100" fmla="*/ 1024 w 10000"/>
                <a:gd name="connsiteY100" fmla="*/ 611 h 10000"/>
                <a:gd name="connsiteX101" fmla="*/ 1024 w 10000"/>
                <a:gd name="connsiteY101" fmla="*/ 1061 h 10000"/>
                <a:gd name="connsiteX102" fmla="*/ 1024 w 10000"/>
                <a:gd name="connsiteY102" fmla="*/ 1640 h 10000"/>
                <a:gd name="connsiteX103" fmla="*/ 356 w 10000"/>
                <a:gd name="connsiteY103" fmla="*/ 1640 h 10000"/>
                <a:gd name="connsiteX104" fmla="*/ 356 w 10000"/>
                <a:gd name="connsiteY104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759 h 10000"/>
                <a:gd name="connsiteX61" fmla="*/ 8666 w 10000"/>
                <a:gd name="connsiteY61" fmla="*/ 4630 h 10000"/>
                <a:gd name="connsiteX62" fmla="*/ 8623 w 10000"/>
                <a:gd name="connsiteY62" fmla="*/ 4309 h 10000"/>
                <a:gd name="connsiteX63" fmla="*/ 9066 w 10000"/>
                <a:gd name="connsiteY63" fmla="*/ 3151 h 10000"/>
                <a:gd name="connsiteX64" fmla="*/ 9199 w 10000"/>
                <a:gd name="connsiteY64" fmla="*/ 3151 h 10000"/>
                <a:gd name="connsiteX65" fmla="*/ 9378 w 10000"/>
                <a:gd name="connsiteY65" fmla="*/ 3055 h 10000"/>
                <a:gd name="connsiteX66" fmla="*/ 9912 w 10000"/>
                <a:gd name="connsiteY66" fmla="*/ 2894 h 10000"/>
                <a:gd name="connsiteX67" fmla="*/ 10000 w 10000"/>
                <a:gd name="connsiteY67" fmla="*/ 2637 h 10000"/>
                <a:gd name="connsiteX68" fmla="*/ 9957 w 10000"/>
                <a:gd name="connsiteY68" fmla="*/ 2572 h 10000"/>
                <a:gd name="connsiteX69" fmla="*/ 9777 w 10000"/>
                <a:gd name="connsiteY69" fmla="*/ 2572 h 10000"/>
                <a:gd name="connsiteX70" fmla="*/ 9644 w 10000"/>
                <a:gd name="connsiteY70" fmla="*/ 2412 h 10000"/>
                <a:gd name="connsiteX71" fmla="*/ 9378 w 10000"/>
                <a:gd name="connsiteY71" fmla="*/ 2347 h 10000"/>
                <a:gd name="connsiteX72" fmla="*/ 9244 w 10000"/>
                <a:gd name="connsiteY72" fmla="*/ 2219 h 10000"/>
                <a:gd name="connsiteX73" fmla="*/ 9157 w 10000"/>
                <a:gd name="connsiteY73" fmla="*/ 1736 h 10000"/>
                <a:gd name="connsiteX74" fmla="*/ 9157 w 10000"/>
                <a:gd name="connsiteY74" fmla="*/ 1061 h 10000"/>
                <a:gd name="connsiteX75" fmla="*/ 8933 w 10000"/>
                <a:gd name="connsiteY75" fmla="*/ 836 h 10000"/>
                <a:gd name="connsiteX76" fmla="*/ 8889 w 10000"/>
                <a:gd name="connsiteY76" fmla="*/ 611 h 10000"/>
                <a:gd name="connsiteX77" fmla="*/ 8534 w 10000"/>
                <a:gd name="connsiteY77" fmla="*/ 289 h 10000"/>
                <a:gd name="connsiteX78" fmla="*/ 8222 w 10000"/>
                <a:gd name="connsiteY78" fmla="*/ 161 h 10000"/>
                <a:gd name="connsiteX79" fmla="*/ 8045 w 10000"/>
                <a:gd name="connsiteY79" fmla="*/ 0 h 10000"/>
                <a:gd name="connsiteX80" fmla="*/ 7779 w 10000"/>
                <a:gd name="connsiteY80" fmla="*/ 161 h 10000"/>
                <a:gd name="connsiteX81" fmla="*/ 7600 w 10000"/>
                <a:gd name="connsiteY81" fmla="*/ 129 h 10000"/>
                <a:gd name="connsiteX82" fmla="*/ 7466 w 10000"/>
                <a:gd name="connsiteY82" fmla="*/ 418 h 10000"/>
                <a:gd name="connsiteX83" fmla="*/ 7110 w 10000"/>
                <a:gd name="connsiteY83" fmla="*/ 482 h 10000"/>
                <a:gd name="connsiteX84" fmla="*/ 7023 w 10000"/>
                <a:gd name="connsiteY84" fmla="*/ 707 h 10000"/>
                <a:gd name="connsiteX85" fmla="*/ 6711 w 10000"/>
                <a:gd name="connsiteY85" fmla="*/ 707 h 10000"/>
                <a:gd name="connsiteX86" fmla="*/ 6445 w 10000"/>
                <a:gd name="connsiteY86" fmla="*/ 611 h 10000"/>
                <a:gd name="connsiteX87" fmla="*/ 5867 w 10000"/>
                <a:gd name="connsiteY87" fmla="*/ 611 h 10000"/>
                <a:gd name="connsiteX88" fmla="*/ 5289 w 10000"/>
                <a:gd name="connsiteY88" fmla="*/ 611 h 10000"/>
                <a:gd name="connsiteX89" fmla="*/ 5333 w 10000"/>
                <a:gd name="connsiteY89" fmla="*/ 482 h 10000"/>
                <a:gd name="connsiteX90" fmla="*/ 5245 w 10000"/>
                <a:gd name="connsiteY90" fmla="*/ 482 h 10000"/>
                <a:gd name="connsiteX91" fmla="*/ 5201 w 10000"/>
                <a:gd name="connsiteY91" fmla="*/ 611 h 10000"/>
                <a:gd name="connsiteX92" fmla="*/ 4667 w 10000"/>
                <a:gd name="connsiteY92" fmla="*/ 611 h 10000"/>
                <a:gd name="connsiteX93" fmla="*/ 4134 w 10000"/>
                <a:gd name="connsiteY93" fmla="*/ 611 h 10000"/>
                <a:gd name="connsiteX94" fmla="*/ 3602 w 10000"/>
                <a:gd name="connsiteY94" fmla="*/ 611 h 10000"/>
                <a:gd name="connsiteX95" fmla="*/ 3067 w 10000"/>
                <a:gd name="connsiteY95" fmla="*/ 611 h 10000"/>
                <a:gd name="connsiteX96" fmla="*/ 2580 w 10000"/>
                <a:gd name="connsiteY96" fmla="*/ 611 h 10000"/>
                <a:gd name="connsiteX97" fmla="*/ 2046 w 10000"/>
                <a:gd name="connsiteY97" fmla="*/ 611 h 10000"/>
                <a:gd name="connsiteX98" fmla="*/ 1556 w 10000"/>
                <a:gd name="connsiteY98" fmla="*/ 611 h 10000"/>
                <a:gd name="connsiteX99" fmla="*/ 1024 w 10000"/>
                <a:gd name="connsiteY99" fmla="*/ 611 h 10000"/>
                <a:gd name="connsiteX100" fmla="*/ 1024 w 10000"/>
                <a:gd name="connsiteY100" fmla="*/ 1061 h 10000"/>
                <a:gd name="connsiteX101" fmla="*/ 1024 w 10000"/>
                <a:gd name="connsiteY101" fmla="*/ 1640 h 10000"/>
                <a:gd name="connsiteX102" fmla="*/ 356 w 10000"/>
                <a:gd name="connsiteY102" fmla="*/ 1640 h 10000"/>
                <a:gd name="connsiteX103" fmla="*/ 356 w 10000"/>
                <a:gd name="connsiteY103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66 w 10000"/>
                <a:gd name="connsiteY60" fmla="*/ 4630 h 10000"/>
                <a:gd name="connsiteX61" fmla="*/ 8623 w 10000"/>
                <a:gd name="connsiteY61" fmla="*/ 4309 h 10000"/>
                <a:gd name="connsiteX62" fmla="*/ 9066 w 10000"/>
                <a:gd name="connsiteY62" fmla="*/ 3151 h 10000"/>
                <a:gd name="connsiteX63" fmla="*/ 9199 w 10000"/>
                <a:gd name="connsiteY63" fmla="*/ 3151 h 10000"/>
                <a:gd name="connsiteX64" fmla="*/ 9378 w 10000"/>
                <a:gd name="connsiteY64" fmla="*/ 3055 h 10000"/>
                <a:gd name="connsiteX65" fmla="*/ 9912 w 10000"/>
                <a:gd name="connsiteY65" fmla="*/ 2894 h 10000"/>
                <a:gd name="connsiteX66" fmla="*/ 10000 w 10000"/>
                <a:gd name="connsiteY66" fmla="*/ 2637 h 10000"/>
                <a:gd name="connsiteX67" fmla="*/ 9957 w 10000"/>
                <a:gd name="connsiteY67" fmla="*/ 2572 h 10000"/>
                <a:gd name="connsiteX68" fmla="*/ 9777 w 10000"/>
                <a:gd name="connsiteY68" fmla="*/ 2572 h 10000"/>
                <a:gd name="connsiteX69" fmla="*/ 9644 w 10000"/>
                <a:gd name="connsiteY69" fmla="*/ 2412 h 10000"/>
                <a:gd name="connsiteX70" fmla="*/ 9378 w 10000"/>
                <a:gd name="connsiteY70" fmla="*/ 2347 h 10000"/>
                <a:gd name="connsiteX71" fmla="*/ 9244 w 10000"/>
                <a:gd name="connsiteY71" fmla="*/ 2219 h 10000"/>
                <a:gd name="connsiteX72" fmla="*/ 9157 w 10000"/>
                <a:gd name="connsiteY72" fmla="*/ 1736 h 10000"/>
                <a:gd name="connsiteX73" fmla="*/ 9157 w 10000"/>
                <a:gd name="connsiteY73" fmla="*/ 1061 h 10000"/>
                <a:gd name="connsiteX74" fmla="*/ 8933 w 10000"/>
                <a:gd name="connsiteY74" fmla="*/ 836 h 10000"/>
                <a:gd name="connsiteX75" fmla="*/ 8889 w 10000"/>
                <a:gd name="connsiteY75" fmla="*/ 611 h 10000"/>
                <a:gd name="connsiteX76" fmla="*/ 8534 w 10000"/>
                <a:gd name="connsiteY76" fmla="*/ 289 h 10000"/>
                <a:gd name="connsiteX77" fmla="*/ 8222 w 10000"/>
                <a:gd name="connsiteY77" fmla="*/ 161 h 10000"/>
                <a:gd name="connsiteX78" fmla="*/ 8045 w 10000"/>
                <a:gd name="connsiteY78" fmla="*/ 0 h 10000"/>
                <a:gd name="connsiteX79" fmla="*/ 7779 w 10000"/>
                <a:gd name="connsiteY79" fmla="*/ 161 h 10000"/>
                <a:gd name="connsiteX80" fmla="*/ 7600 w 10000"/>
                <a:gd name="connsiteY80" fmla="*/ 129 h 10000"/>
                <a:gd name="connsiteX81" fmla="*/ 7466 w 10000"/>
                <a:gd name="connsiteY81" fmla="*/ 418 h 10000"/>
                <a:gd name="connsiteX82" fmla="*/ 7110 w 10000"/>
                <a:gd name="connsiteY82" fmla="*/ 482 h 10000"/>
                <a:gd name="connsiteX83" fmla="*/ 7023 w 10000"/>
                <a:gd name="connsiteY83" fmla="*/ 707 h 10000"/>
                <a:gd name="connsiteX84" fmla="*/ 6711 w 10000"/>
                <a:gd name="connsiteY84" fmla="*/ 707 h 10000"/>
                <a:gd name="connsiteX85" fmla="*/ 6445 w 10000"/>
                <a:gd name="connsiteY85" fmla="*/ 611 h 10000"/>
                <a:gd name="connsiteX86" fmla="*/ 5867 w 10000"/>
                <a:gd name="connsiteY86" fmla="*/ 611 h 10000"/>
                <a:gd name="connsiteX87" fmla="*/ 5289 w 10000"/>
                <a:gd name="connsiteY87" fmla="*/ 611 h 10000"/>
                <a:gd name="connsiteX88" fmla="*/ 5333 w 10000"/>
                <a:gd name="connsiteY88" fmla="*/ 482 h 10000"/>
                <a:gd name="connsiteX89" fmla="*/ 5245 w 10000"/>
                <a:gd name="connsiteY89" fmla="*/ 482 h 10000"/>
                <a:gd name="connsiteX90" fmla="*/ 5201 w 10000"/>
                <a:gd name="connsiteY90" fmla="*/ 611 h 10000"/>
                <a:gd name="connsiteX91" fmla="*/ 4667 w 10000"/>
                <a:gd name="connsiteY91" fmla="*/ 611 h 10000"/>
                <a:gd name="connsiteX92" fmla="*/ 4134 w 10000"/>
                <a:gd name="connsiteY92" fmla="*/ 611 h 10000"/>
                <a:gd name="connsiteX93" fmla="*/ 3602 w 10000"/>
                <a:gd name="connsiteY93" fmla="*/ 611 h 10000"/>
                <a:gd name="connsiteX94" fmla="*/ 3067 w 10000"/>
                <a:gd name="connsiteY94" fmla="*/ 611 h 10000"/>
                <a:gd name="connsiteX95" fmla="*/ 2580 w 10000"/>
                <a:gd name="connsiteY95" fmla="*/ 611 h 10000"/>
                <a:gd name="connsiteX96" fmla="*/ 2046 w 10000"/>
                <a:gd name="connsiteY96" fmla="*/ 611 h 10000"/>
                <a:gd name="connsiteX97" fmla="*/ 1556 w 10000"/>
                <a:gd name="connsiteY97" fmla="*/ 611 h 10000"/>
                <a:gd name="connsiteX98" fmla="*/ 1024 w 10000"/>
                <a:gd name="connsiteY98" fmla="*/ 611 h 10000"/>
                <a:gd name="connsiteX99" fmla="*/ 1024 w 10000"/>
                <a:gd name="connsiteY99" fmla="*/ 1061 h 10000"/>
                <a:gd name="connsiteX100" fmla="*/ 1024 w 10000"/>
                <a:gd name="connsiteY100" fmla="*/ 1640 h 10000"/>
                <a:gd name="connsiteX101" fmla="*/ 356 w 10000"/>
                <a:gd name="connsiteY101" fmla="*/ 1640 h 10000"/>
                <a:gd name="connsiteX102" fmla="*/ 356 w 10000"/>
                <a:gd name="connsiteY102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8623 w 10000"/>
                <a:gd name="connsiteY60" fmla="*/ 4309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066 w 10000"/>
                <a:gd name="connsiteY61" fmla="*/ 3151 h 10000"/>
                <a:gd name="connsiteX62" fmla="*/ 9199 w 10000"/>
                <a:gd name="connsiteY62" fmla="*/ 3151 h 10000"/>
                <a:gd name="connsiteX63" fmla="*/ 9378 w 10000"/>
                <a:gd name="connsiteY63" fmla="*/ 3055 h 10000"/>
                <a:gd name="connsiteX64" fmla="*/ 9912 w 10000"/>
                <a:gd name="connsiteY64" fmla="*/ 2894 h 10000"/>
                <a:gd name="connsiteX65" fmla="*/ 10000 w 10000"/>
                <a:gd name="connsiteY65" fmla="*/ 2637 h 10000"/>
                <a:gd name="connsiteX66" fmla="*/ 9957 w 10000"/>
                <a:gd name="connsiteY66" fmla="*/ 2572 h 10000"/>
                <a:gd name="connsiteX67" fmla="*/ 9777 w 10000"/>
                <a:gd name="connsiteY67" fmla="*/ 2572 h 10000"/>
                <a:gd name="connsiteX68" fmla="*/ 9644 w 10000"/>
                <a:gd name="connsiteY68" fmla="*/ 2412 h 10000"/>
                <a:gd name="connsiteX69" fmla="*/ 9378 w 10000"/>
                <a:gd name="connsiteY69" fmla="*/ 2347 h 10000"/>
                <a:gd name="connsiteX70" fmla="*/ 9244 w 10000"/>
                <a:gd name="connsiteY70" fmla="*/ 2219 h 10000"/>
                <a:gd name="connsiteX71" fmla="*/ 9157 w 10000"/>
                <a:gd name="connsiteY71" fmla="*/ 1736 h 10000"/>
                <a:gd name="connsiteX72" fmla="*/ 9157 w 10000"/>
                <a:gd name="connsiteY72" fmla="*/ 1061 h 10000"/>
                <a:gd name="connsiteX73" fmla="*/ 8933 w 10000"/>
                <a:gd name="connsiteY73" fmla="*/ 836 h 10000"/>
                <a:gd name="connsiteX74" fmla="*/ 8889 w 10000"/>
                <a:gd name="connsiteY74" fmla="*/ 611 h 10000"/>
                <a:gd name="connsiteX75" fmla="*/ 8534 w 10000"/>
                <a:gd name="connsiteY75" fmla="*/ 289 h 10000"/>
                <a:gd name="connsiteX76" fmla="*/ 8222 w 10000"/>
                <a:gd name="connsiteY76" fmla="*/ 161 h 10000"/>
                <a:gd name="connsiteX77" fmla="*/ 8045 w 10000"/>
                <a:gd name="connsiteY77" fmla="*/ 0 h 10000"/>
                <a:gd name="connsiteX78" fmla="*/ 7779 w 10000"/>
                <a:gd name="connsiteY78" fmla="*/ 161 h 10000"/>
                <a:gd name="connsiteX79" fmla="*/ 7600 w 10000"/>
                <a:gd name="connsiteY79" fmla="*/ 129 h 10000"/>
                <a:gd name="connsiteX80" fmla="*/ 7466 w 10000"/>
                <a:gd name="connsiteY80" fmla="*/ 418 h 10000"/>
                <a:gd name="connsiteX81" fmla="*/ 7110 w 10000"/>
                <a:gd name="connsiteY81" fmla="*/ 482 h 10000"/>
                <a:gd name="connsiteX82" fmla="*/ 7023 w 10000"/>
                <a:gd name="connsiteY82" fmla="*/ 707 h 10000"/>
                <a:gd name="connsiteX83" fmla="*/ 6711 w 10000"/>
                <a:gd name="connsiteY83" fmla="*/ 707 h 10000"/>
                <a:gd name="connsiteX84" fmla="*/ 6445 w 10000"/>
                <a:gd name="connsiteY84" fmla="*/ 611 h 10000"/>
                <a:gd name="connsiteX85" fmla="*/ 5867 w 10000"/>
                <a:gd name="connsiteY85" fmla="*/ 611 h 10000"/>
                <a:gd name="connsiteX86" fmla="*/ 5289 w 10000"/>
                <a:gd name="connsiteY86" fmla="*/ 611 h 10000"/>
                <a:gd name="connsiteX87" fmla="*/ 5333 w 10000"/>
                <a:gd name="connsiteY87" fmla="*/ 482 h 10000"/>
                <a:gd name="connsiteX88" fmla="*/ 5245 w 10000"/>
                <a:gd name="connsiteY88" fmla="*/ 482 h 10000"/>
                <a:gd name="connsiteX89" fmla="*/ 5201 w 10000"/>
                <a:gd name="connsiteY89" fmla="*/ 611 h 10000"/>
                <a:gd name="connsiteX90" fmla="*/ 4667 w 10000"/>
                <a:gd name="connsiteY90" fmla="*/ 611 h 10000"/>
                <a:gd name="connsiteX91" fmla="*/ 4134 w 10000"/>
                <a:gd name="connsiteY91" fmla="*/ 611 h 10000"/>
                <a:gd name="connsiteX92" fmla="*/ 3602 w 10000"/>
                <a:gd name="connsiteY92" fmla="*/ 611 h 10000"/>
                <a:gd name="connsiteX93" fmla="*/ 3067 w 10000"/>
                <a:gd name="connsiteY93" fmla="*/ 611 h 10000"/>
                <a:gd name="connsiteX94" fmla="*/ 2580 w 10000"/>
                <a:gd name="connsiteY94" fmla="*/ 611 h 10000"/>
                <a:gd name="connsiteX95" fmla="*/ 2046 w 10000"/>
                <a:gd name="connsiteY95" fmla="*/ 611 h 10000"/>
                <a:gd name="connsiteX96" fmla="*/ 1556 w 10000"/>
                <a:gd name="connsiteY96" fmla="*/ 611 h 10000"/>
                <a:gd name="connsiteX97" fmla="*/ 1024 w 10000"/>
                <a:gd name="connsiteY97" fmla="*/ 611 h 10000"/>
                <a:gd name="connsiteX98" fmla="*/ 1024 w 10000"/>
                <a:gd name="connsiteY98" fmla="*/ 1061 h 10000"/>
                <a:gd name="connsiteX99" fmla="*/ 1024 w 10000"/>
                <a:gd name="connsiteY99" fmla="*/ 1640 h 10000"/>
                <a:gd name="connsiteX100" fmla="*/ 356 w 10000"/>
                <a:gd name="connsiteY100" fmla="*/ 1640 h 10000"/>
                <a:gd name="connsiteX101" fmla="*/ 356 w 10000"/>
                <a:gd name="connsiteY101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199 w 10000"/>
                <a:gd name="connsiteY61" fmla="*/ 3151 h 10000"/>
                <a:gd name="connsiteX62" fmla="*/ 9378 w 10000"/>
                <a:gd name="connsiteY62" fmla="*/ 3055 h 10000"/>
                <a:gd name="connsiteX63" fmla="*/ 9912 w 10000"/>
                <a:gd name="connsiteY63" fmla="*/ 2894 h 10000"/>
                <a:gd name="connsiteX64" fmla="*/ 10000 w 10000"/>
                <a:gd name="connsiteY64" fmla="*/ 2637 h 10000"/>
                <a:gd name="connsiteX65" fmla="*/ 9957 w 10000"/>
                <a:gd name="connsiteY65" fmla="*/ 2572 h 10000"/>
                <a:gd name="connsiteX66" fmla="*/ 9777 w 10000"/>
                <a:gd name="connsiteY66" fmla="*/ 2572 h 10000"/>
                <a:gd name="connsiteX67" fmla="*/ 9644 w 10000"/>
                <a:gd name="connsiteY67" fmla="*/ 2412 h 10000"/>
                <a:gd name="connsiteX68" fmla="*/ 9378 w 10000"/>
                <a:gd name="connsiteY68" fmla="*/ 2347 h 10000"/>
                <a:gd name="connsiteX69" fmla="*/ 9244 w 10000"/>
                <a:gd name="connsiteY69" fmla="*/ 2219 h 10000"/>
                <a:gd name="connsiteX70" fmla="*/ 9157 w 10000"/>
                <a:gd name="connsiteY70" fmla="*/ 1736 h 10000"/>
                <a:gd name="connsiteX71" fmla="*/ 9157 w 10000"/>
                <a:gd name="connsiteY71" fmla="*/ 1061 h 10000"/>
                <a:gd name="connsiteX72" fmla="*/ 8933 w 10000"/>
                <a:gd name="connsiteY72" fmla="*/ 836 h 10000"/>
                <a:gd name="connsiteX73" fmla="*/ 8889 w 10000"/>
                <a:gd name="connsiteY73" fmla="*/ 611 h 10000"/>
                <a:gd name="connsiteX74" fmla="*/ 8534 w 10000"/>
                <a:gd name="connsiteY74" fmla="*/ 289 h 10000"/>
                <a:gd name="connsiteX75" fmla="*/ 8222 w 10000"/>
                <a:gd name="connsiteY75" fmla="*/ 161 h 10000"/>
                <a:gd name="connsiteX76" fmla="*/ 8045 w 10000"/>
                <a:gd name="connsiteY76" fmla="*/ 0 h 10000"/>
                <a:gd name="connsiteX77" fmla="*/ 7779 w 10000"/>
                <a:gd name="connsiteY77" fmla="*/ 161 h 10000"/>
                <a:gd name="connsiteX78" fmla="*/ 7600 w 10000"/>
                <a:gd name="connsiteY78" fmla="*/ 129 h 10000"/>
                <a:gd name="connsiteX79" fmla="*/ 7466 w 10000"/>
                <a:gd name="connsiteY79" fmla="*/ 418 h 10000"/>
                <a:gd name="connsiteX80" fmla="*/ 7110 w 10000"/>
                <a:gd name="connsiteY80" fmla="*/ 482 h 10000"/>
                <a:gd name="connsiteX81" fmla="*/ 7023 w 10000"/>
                <a:gd name="connsiteY81" fmla="*/ 707 h 10000"/>
                <a:gd name="connsiteX82" fmla="*/ 6711 w 10000"/>
                <a:gd name="connsiteY82" fmla="*/ 707 h 10000"/>
                <a:gd name="connsiteX83" fmla="*/ 6445 w 10000"/>
                <a:gd name="connsiteY83" fmla="*/ 611 h 10000"/>
                <a:gd name="connsiteX84" fmla="*/ 5867 w 10000"/>
                <a:gd name="connsiteY84" fmla="*/ 611 h 10000"/>
                <a:gd name="connsiteX85" fmla="*/ 5289 w 10000"/>
                <a:gd name="connsiteY85" fmla="*/ 611 h 10000"/>
                <a:gd name="connsiteX86" fmla="*/ 5333 w 10000"/>
                <a:gd name="connsiteY86" fmla="*/ 482 h 10000"/>
                <a:gd name="connsiteX87" fmla="*/ 5245 w 10000"/>
                <a:gd name="connsiteY87" fmla="*/ 482 h 10000"/>
                <a:gd name="connsiteX88" fmla="*/ 5201 w 10000"/>
                <a:gd name="connsiteY88" fmla="*/ 611 h 10000"/>
                <a:gd name="connsiteX89" fmla="*/ 4667 w 10000"/>
                <a:gd name="connsiteY89" fmla="*/ 611 h 10000"/>
                <a:gd name="connsiteX90" fmla="*/ 4134 w 10000"/>
                <a:gd name="connsiteY90" fmla="*/ 611 h 10000"/>
                <a:gd name="connsiteX91" fmla="*/ 3602 w 10000"/>
                <a:gd name="connsiteY91" fmla="*/ 611 h 10000"/>
                <a:gd name="connsiteX92" fmla="*/ 3067 w 10000"/>
                <a:gd name="connsiteY92" fmla="*/ 611 h 10000"/>
                <a:gd name="connsiteX93" fmla="*/ 2580 w 10000"/>
                <a:gd name="connsiteY93" fmla="*/ 611 h 10000"/>
                <a:gd name="connsiteX94" fmla="*/ 2046 w 10000"/>
                <a:gd name="connsiteY94" fmla="*/ 611 h 10000"/>
                <a:gd name="connsiteX95" fmla="*/ 1556 w 10000"/>
                <a:gd name="connsiteY95" fmla="*/ 611 h 10000"/>
                <a:gd name="connsiteX96" fmla="*/ 1024 w 10000"/>
                <a:gd name="connsiteY96" fmla="*/ 611 h 10000"/>
                <a:gd name="connsiteX97" fmla="*/ 1024 w 10000"/>
                <a:gd name="connsiteY97" fmla="*/ 1061 h 10000"/>
                <a:gd name="connsiteX98" fmla="*/ 1024 w 10000"/>
                <a:gd name="connsiteY98" fmla="*/ 1640 h 10000"/>
                <a:gd name="connsiteX99" fmla="*/ 356 w 10000"/>
                <a:gd name="connsiteY99" fmla="*/ 1640 h 10000"/>
                <a:gd name="connsiteX100" fmla="*/ 356 w 10000"/>
                <a:gd name="connsiteY100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9378 w 10000"/>
                <a:gd name="connsiteY61" fmla="*/ 3055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9912 w 10000"/>
                <a:gd name="connsiteY62" fmla="*/ 2894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10000"/>
                <a:gd name="connsiteY0" fmla="*/ 1897 h 10000"/>
                <a:gd name="connsiteX1" fmla="*/ 5520 w 10000"/>
                <a:gd name="connsiteY1" fmla="*/ 6915 h 10000"/>
                <a:gd name="connsiteX2" fmla="*/ 5155 w 10000"/>
                <a:gd name="connsiteY2" fmla="*/ 7114 h 10000"/>
                <a:gd name="connsiteX3" fmla="*/ 4848 w 10000"/>
                <a:gd name="connsiteY3" fmla="*/ 6907 h 10000"/>
                <a:gd name="connsiteX4" fmla="*/ 4403 w 10000"/>
                <a:gd name="connsiteY4" fmla="*/ 6781 h 10000"/>
                <a:gd name="connsiteX5" fmla="*/ 4182 w 10000"/>
                <a:gd name="connsiteY5" fmla="*/ 7064 h 10000"/>
                <a:gd name="connsiteX6" fmla="*/ 3635 w 10000"/>
                <a:gd name="connsiteY6" fmla="*/ 7281 h 10000"/>
                <a:gd name="connsiteX7" fmla="*/ 3284 w 10000"/>
                <a:gd name="connsiteY7" fmla="*/ 7279 h 10000"/>
                <a:gd name="connsiteX8" fmla="*/ 2517 w 10000"/>
                <a:gd name="connsiteY8" fmla="*/ 7095 h 10000"/>
                <a:gd name="connsiteX9" fmla="*/ 2312 w 10000"/>
                <a:gd name="connsiteY9" fmla="*/ 7195 h 10000"/>
                <a:gd name="connsiteX10" fmla="*/ 1800 w 10000"/>
                <a:gd name="connsiteY10" fmla="*/ 6973 h 10000"/>
                <a:gd name="connsiteX11" fmla="*/ 1574 w 10000"/>
                <a:gd name="connsiteY11" fmla="*/ 6638 h 10000"/>
                <a:gd name="connsiteX12" fmla="*/ 1198 w 10000"/>
                <a:gd name="connsiteY12" fmla="*/ 6729 h 10000"/>
                <a:gd name="connsiteX13" fmla="*/ 1096 w 10000"/>
                <a:gd name="connsiteY13" fmla="*/ 6927 h 10000"/>
                <a:gd name="connsiteX14" fmla="*/ 698 w 10000"/>
                <a:gd name="connsiteY14" fmla="*/ 7011 h 10000"/>
                <a:gd name="connsiteX15" fmla="*/ 436 w 10000"/>
                <a:gd name="connsiteY15" fmla="*/ 7004 h 10000"/>
                <a:gd name="connsiteX16" fmla="*/ 292 w 10000"/>
                <a:gd name="connsiteY16" fmla="*/ 7161 h 10000"/>
                <a:gd name="connsiteX17" fmla="*/ 47 w 10000"/>
                <a:gd name="connsiteY17" fmla="*/ 6913 h 10000"/>
                <a:gd name="connsiteX18" fmla="*/ 0 w 10000"/>
                <a:gd name="connsiteY18" fmla="*/ 7363 h 10000"/>
                <a:gd name="connsiteX19" fmla="*/ 89 w 10000"/>
                <a:gd name="connsiteY19" fmla="*/ 7428 h 10000"/>
                <a:gd name="connsiteX20" fmla="*/ 446 w 10000"/>
                <a:gd name="connsiteY20" fmla="*/ 7460 h 10000"/>
                <a:gd name="connsiteX21" fmla="*/ 491 w 10000"/>
                <a:gd name="connsiteY21" fmla="*/ 7588 h 10000"/>
                <a:gd name="connsiteX22" fmla="*/ 890 w 10000"/>
                <a:gd name="connsiteY22" fmla="*/ 7621 h 10000"/>
                <a:gd name="connsiteX23" fmla="*/ 1112 w 10000"/>
                <a:gd name="connsiteY23" fmla="*/ 7749 h 10000"/>
                <a:gd name="connsiteX24" fmla="*/ 1156 w 10000"/>
                <a:gd name="connsiteY24" fmla="*/ 7974 h 10000"/>
                <a:gd name="connsiteX25" fmla="*/ 1869 w 10000"/>
                <a:gd name="connsiteY25" fmla="*/ 8360 h 10000"/>
                <a:gd name="connsiteX26" fmla="*/ 2046 w 10000"/>
                <a:gd name="connsiteY26" fmla="*/ 8746 h 10000"/>
                <a:gd name="connsiteX27" fmla="*/ 2534 w 10000"/>
                <a:gd name="connsiteY27" fmla="*/ 8939 h 10000"/>
                <a:gd name="connsiteX28" fmla="*/ 2712 w 10000"/>
                <a:gd name="connsiteY28" fmla="*/ 9196 h 10000"/>
                <a:gd name="connsiteX29" fmla="*/ 3067 w 10000"/>
                <a:gd name="connsiteY29" fmla="*/ 9518 h 10000"/>
                <a:gd name="connsiteX30" fmla="*/ 3335 w 10000"/>
                <a:gd name="connsiteY30" fmla="*/ 9614 h 10000"/>
                <a:gd name="connsiteX31" fmla="*/ 3513 w 10000"/>
                <a:gd name="connsiteY31" fmla="*/ 9518 h 10000"/>
                <a:gd name="connsiteX32" fmla="*/ 3957 w 10000"/>
                <a:gd name="connsiteY32" fmla="*/ 9550 h 10000"/>
                <a:gd name="connsiteX33" fmla="*/ 4134 w 10000"/>
                <a:gd name="connsiteY33" fmla="*/ 9486 h 10000"/>
                <a:gd name="connsiteX34" fmla="*/ 4934 w 10000"/>
                <a:gd name="connsiteY34" fmla="*/ 9968 h 10000"/>
                <a:gd name="connsiteX35" fmla="*/ 4979 w 10000"/>
                <a:gd name="connsiteY35" fmla="*/ 9968 h 10000"/>
                <a:gd name="connsiteX36" fmla="*/ 5067 w 10000"/>
                <a:gd name="connsiteY36" fmla="*/ 9904 h 10000"/>
                <a:gd name="connsiteX37" fmla="*/ 5643 w 10000"/>
                <a:gd name="connsiteY37" fmla="*/ 9904 h 10000"/>
                <a:gd name="connsiteX38" fmla="*/ 5734 w 10000"/>
                <a:gd name="connsiteY38" fmla="*/ 10000 h 10000"/>
                <a:gd name="connsiteX39" fmla="*/ 6223 w 10000"/>
                <a:gd name="connsiteY39" fmla="*/ 9871 h 10000"/>
                <a:gd name="connsiteX40" fmla="*/ 6666 w 10000"/>
                <a:gd name="connsiteY40" fmla="*/ 9871 h 10000"/>
                <a:gd name="connsiteX41" fmla="*/ 6978 w 10000"/>
                <a:gd name="connsiteY41" fmla="*/ 9743 h 10000"/>
                <a:gd name="connsiteX42" fmla="*/ 7334 w 10000"/>
                <a:gd name="connsiteY42" fmla="*/ 9486 h 10000"/>
                <a:gd name="connsiteX43" fmla="*/ 8267 w 10000"/>
                <a:gd name="connsiteY43" fmla="*/ 9486 h 10000"/>
                <a:gd name="connsiteX44" fmla="*/ 8267 w 10000"/>
                <a:gd name="connsiteY44" fmla="*/ 9132 h 10000"/>
                <a:gd name="connsiteX45" fmla="*/ 7779 w 10000"/>
                <a:gd name="connsiteY45" fmla="*/ 8971 h 10000"/>
                <a:gd name="connsiteX46" fmla="*/ 7512 w 10000"/>
                <a:gd name="connsiteY46" fmla="*/ 8457 h 10000"/>
                <a:gd name="connsiteX47" fmla="*/ 7157 w 10000"/>
                <a:gd name="connsiteY47" fmla="*/ 8264 h 10000"/>
                <a:gd name="connsiteX48" fmla="*/ 6933 w 10000"/>
                <a:gd name="connsiteY48" fmla="*/ 8006 h 10000"/>
                <a:gd name="connsiteX49" fmla="*/ 6356 w 10000"/>
                <a:gd name="connsiteY49" fmla="*/ 7814 h 10000"/>
                <a:gd name="connsiteX50" fmla="*/ 6489 w 10000"/>
                <a:gd name="connsiteY50" fmla="*/ 7749 h 10000"/>
                <a:gd name="connsiteX51" fmla="*/ 6489 w 10000"/>
                <a:gd name="connsiteY51" fmla="*/ 7588 h 10000"/>
                <a:gd name="connsiteX52" fmla="*/ 6890 w 10000"/>
                <a:gd name="connsiteY52" fmla="*/ 7588 h 10000"/>
                <a:gd name="connsiteX53" fmla="*/ 7110 w 10000"/>
                <a:gd name="connsiteY53" fmla="*/ 7460 h 10000"/>
                <a:gd name="connsiteX54" fmla="*/ 7157 w 10000"/>
                <a:gd name="connsiteY54" fmla="*/ 6527 h 10000"/>
                <a:gd name="connsiteX55" fmla="*/ 7200 w 10000"/>
                <a:gd name="connsiteY55" fmla="*/ 6559 h 10000"/>
                <a:gd name="connsiteX56" fmla="*/ 7042 w 10000"/>
                <a:gd name="connsiteY56" fmla="*/ 6618 h 10000"/>
                <a:gd name="connsiteX57" fmla="*/ 6980 w 10000"/>
                <a:gd name="connsiteY57" fmla="*/ 6745 h 10000"/>
                <a:gd name="connsiteX58" fmla="*/ 6583 w 10000"/>
                <a:gd name="connsiteY58" fmla="*/ 6497 h 10000"/>
                <a:gd name="connsiteX59" fmla="*/ 6511 w 10000"/>
                <a:gd name="connsiteY59" fmla="*/ 5828 h 10000"/>
                <a:gd name="connsiteX60" fmla="*/ 6086 w 10000"/>
                <a:gd name="connsiteY60" fmla="*/ 6118 h 10000"/>
                <a:gd name="connsiteX61" fmla="*/ 6093 w 10000"/>
                <a:gd name="connsiteY61" fmla="*/ 6462 h 10000"/>
                <a:gd name="connsiteX62" fmla="*/ 5751 w 10000"/>
                <a:gd name="connsiteY62" fmla="*/ 6670 h 10000"/>
                <a:gd name="connsiteX63" fmla="*/ 10000 w 10000"/>
                <a:gd name="connsiteY63" fmla="*/ 2637 h 10000"/>
                <a:gd name="connsiteX64" fmla="*/ 9957 w 10000"/>
                <a:gd name="connsiteY64" fmla="*/ 2572 h 10000"/>
                <a:gd name="connsiteX65" fmla="*/ 9777 w 10000"/>
                <a:gd name="connsiteY65" fmla="*/ 2572 h 10000"/>
                <a:gd name="connsiteX66" fmla="*/ 9644 w 10000"/>
                <a:gd name="connsiteY66" fmla="*/ 2412 h 10000"/>
                <a:gd name="connsiteX67" fmla="*/ 9378 w 10000"/>
                <a:gd name="connsiteY67" fmla="*/ 2347 h 10000"/>
                <a:gd name="connsiteX68" fmla="*/ 9244 w 10000"/>
                <a:gd name="connsiteY68" fmla="*/ 2219 h 10000"/>
                <a:gd name="connsiteX69" fmla="*/ 9157 w 10000"/>
                <a:gd name="connsiteY69" fmla="*/ 1736 h 10000"/>
                <a:gd name="connsiteX70" fmla="*/ 9157 w 10000"/>
                <a:gd name="connsiteY70" fmla="*/ 1061 h 10000"/>
                <a:gd name="connsiteX71" fmla="*/ 8933 w 10000"/>
                <a:gd name="connsiteY71" fmla="*/ 836 h 10000"/>
                <a:gd name="connsiteX72" fmla="*/ 8889 w 10000"/>
                <a:gd name="connsiteY72" fmla="*/ 611 h 10000"/>
                <a:gd name="connsiteX73" fmla="*/ 8534 w 10000"/>
                <a:gd name="connsiteY73" fmla="*/ 289 h 10000"/>
                <a:gd name="connsiteX74" fmla="*/ 8222 w 10000"/>
                <a:gd name="connsiteY74" fmla="*/ 161 h 10000"/>
                <a:gd name="connsiteX75" fmla="*/ 8045 w 10000"/>
                <a:gd name="connsiteY75" fmla="*/ 0 h 10000"/>
                <a:gd name="connsiteX76" fmla="*/ 7779 w 10000"/>
                <a:gd name="connsiteY76" fmla="*/ 161 h 10000"/>
                <a:gd name="connsiteX77" fmla="*/ 7600 w 10000"/>
                <a:gd name="connsiteY77" fmla="*/ 129 h 10000"/>
                <a:gd name="connsiteX78" fmla="*/ 7466 w 10000"/>
                <a:gd name="connsiteY78" fmla="*/ 418 h 10000"/>
                <a:gd name="connsiteX79" fmla="*/ 7110 w 10000"/>
                <a:gd name="connsiteY79" fmla="*/ 482 h 10000"/>
                <a:gd name="connsiteX80" fmla="*/ 7023 w 10000"/>
                <a:gd name="connsiteY80" fmla="*/ 707 h 10000"/>
                <a:gd name="connsiteX81" fmla="*/ 6711 w 10000"/>
                <a:gd name="connsiteY81" fmla="*/ 707 h 10000"/>
                <a:gd name="connsiteX82" fmla="*/ 6445 w 10000"/>
                <a:gd name="connsiteY82" fmla="*/ 611 h 10000"/>
                <a:gd name="connsiteX83" fmla="*/ 5867 w 10000"/>
                <a:gd name="connsiteY83" fmla="*/ 611 h 10000"/>
                <a:gd name="connsiteX84" fmla="*/ 5289 w 10000"/>
                <a:gd name="connsiteY84" fmla="*/ 611 h 10000"/>
                <a:gd name="connsiteX85" fmla="*/ 5333 w 10000"/>
                <a:gd name="connsiteY85" fmla="*/ 482 h 10000"/>
                <a:gd name="connsiteX86" fmla="*/ 5245 w 10000"/>
                <a:gd name="connsiteY86" fmla="*/ 482 h 10000"/>
                <a:gd name="connsiteX87" fmla="*/ 5201 w 10000"/>
                <a:gd name="connsiteY87" fmla="*/ 611 h 10000"/>
                <a:gd name="connsiteX88" fmla="*/ 4667 w 10000"/>
                <a:gd name="connsiteY88" fmla="*/ 611 h 10000"/>
                <a:gd name="connsiteX89" fmla="*/ 4134 w 10000"/>
                <a:gd name="connsiteY89" fmla="*/ 611 h 10000"/>
                <a:gd name="connsiteX90" fmla="*/ 3602 w 10000"/>
                <a:gd name="connsiteY90" fmla="*/ 611 h 10000"/>
                <a:gd name="connsiteX91" fmla="*/ 3067 w 10000"/>
                <a:gd name="connsiteY91" fmla="*/ 611 h 10000"/>
                <a:gd name="connsiteX92" fmla="*/ 2580 w 10000"/>
                <a:gd name="connsiteY92" fmla="*/ 611 h 10000"/>
                <a:gd name="connsiteX93" fmla="*/ 2046 w 10000"/>
                <a:gd name="connsiteY93" fmla="*/ 611 h 10000"/>
                <a:gd name="connsiteX94" fmla="*/ 1556 w 10000"/>
                <a:gd name="connsiteY94" fmla="*/ 611 h 10000"/>
                <a:gd name="connsiteX95" fmla="*/ 1024 w 10000"/>
                <a:gd name="connsiteY95" fmla="*/ 611 h 10000"/>
                <a:gd name="connsiteX96" fmla="*/ 1024 w 10000"/>
                <a:gd name="connsiteY96" fmla="*/ 1061 h 10000"/>
                <a:gd name="connsiteX97" fmla="*/ 1024 w 10000"/>
                <a:gd name="connsiteY97" fmla="*/ 1640 h 10000"/>
                <a:gd name="connsiteX98" fmla="*/ 356 w 10000"/>
                <a:gd name="connsiteY98" fmla="*/ 1640 h 10000"/>
                <a:gd name="connsiteX99" fmla="*/ 356 w 10000"/>
                <a:gd name="connsiteY99" fmla="*/ 1897 h 10000"/>
                <a:gd name="connsiteX0" fmla="*/ 356 w 9957"/>
                <a:gd name="connsiteY0" fmla="*/ 1897 h 10000"/>
                <a:gd name="connsiteX1" fmla="*/ 5520 w 9957"/>
                <a:gd name="connsiteY1" fmla="*/ 6915 h 10000"/>
                <a:gd name="connsiteX2" fmla="*/ 5155 w 9957"/>
                <a:gd name="connsiteY2" fmla="*/ 7114 h 10000"/>
                <a:gd name="connsiteX3" fmla="*/ 4848 w 9957"/>
                <a:gd name="connsiteY3" fmla="*/ 6907 h 10000"/>
                <a:gd name="connsiteX4" fmla="*/ 4403 w 9957"/>
                <a:gd name="connsiteY4" fmla="*/ 6781 h 10000"/>
                <a:gd name="connsiteX5" fmla="*/ 4182 w 9957"/>
                <a:gd name="connsiteY5" fmla="*/ 7064 h 10000"/>
                <a:gd name="connsiteX6" fmla="*/ 3635 w 9957"/>
                <a:gd name="connsiteY6" fmla="*/ 7281 h 10000"/>
                <a:gd name="connsiteX7" fmla="*/ 3284 w 9957"/>
                <a:gd name="connsiteY7" fmla="*/ 7279 h 10000"/>
                <a:gd name="connsiteX8" fmla="*/ 2517 w 9957"/>
                <a:gd name="connsiteY8" fmla="*/ 7095 h 10000"/>
                <a:gd name="connsiteX9" fmla="*/ 2312 w 9957"/>
                <a:gd name="connsiteY9" fmla="*/ 7195 h 10000"/>
                <a:gd name="connsiteX10" fmla="*/ 1800 w 9957"/>
                <a:gd name="connsiteY10" fmla="*/ 6973 h 10000"/>
                <a:gd name="connsiteX11" fmla="*/ 1574 w 9957"/>
                <a:gd name="connsiteY11" fmla="*/ 6638 h 10000"/>
                <a:gd name="connsiteX12" fmla="*/ 1198 w 9957"/>
                <a:gd name="connsiteY12" fmla="*/ 6729 h 10000"/>
                <a:gd name="connsiteX13" fmla="*/ 1096 w 9957"/>
                <a:gd name="connsiteY13" fmla="*/ 6927 h 10000"/>
                <a:gd name="connsiteX14" fmla="*/ 698 w 9957"/>
                <a:gd name="connsiteY14" fmla="*/ 7011 h 10000"/>
                <a:gd name="connsiteX15" fmla="*/ 436 w 9957"/>
                <a:gd name="connsiteY15" fmla="*/ 7004 h 10000"/>
                <a:gd name="connsiteX16" fmla="*/ 292 w 9957"/>
                <a:gd name="connsiteY16" fmla="*/ 7161 h 10000"/>
                <a:gd name="connsiteX17" fmla="*/ 47 w 9957"/>
                <a:gd name="connsiteY17" fmla="*/ 6913 h 10000"/>
                <a:gd name="connsiteX18" fmla="*/ 0 w 9957"/>
                <a:gd name="connsiteY18" fmla="*/ 7363 h 10000"/>
                <a:gd name="connsiteX19" fmla="*/ 89 w 9957"/>
                <a:gd name="connsiteY19" fmla="*/ 7428 h 10000"/>
                <a:gd name="connsiteX20" fmla="*/ 446 w 9957"/>
                <a:gd name="connsiteY20" fmla="*/ 7460 h 10000"/>
                <a:gd name="connsiteX21" fmla="*/ 491 w 9957"/>
                <a:gd name="connsiteY21" fmla="*/ 7588 h 10000"/>
                <a:gd name="connsiteX22" fmla="*/ 890 w 9957"/>
                <a:gd name="connsiteY22" fmla="*/ 7621 h 10000"/>
                <a:gd name="connsiteX23" fmla="*/ 1112 w 9957"/>
                <a:gd name="connsiteY23" fmla="*/ 7749 h 10000"/>
                <a:gd name="connsiteX24" fmla="*/ 1156 w 9957"/>
                <a:gd name="connsiteY24" fmla="*/ 7974 h 10000"/>
                <a:gd name="connsiteX25" fmla="*/ 1869 w 9957"/>
                <a:gd name="connsiteY25" fmla="*/ 8360 h 10000"/>
                <a:gd name="connsiteX26" fmla="*/ 2046 w 9957"/>
                <a:gd name="connsiteY26" fmla="*/ 8746 h 10000"/>
                <a:gd name="connsiteX27" fmla="*/ 2534 w 9957"/>
                <a:gd name="connsiteY27" fmla="*/ 8939 h 10000"/>
                <a:gd name="connsiteX28" fmla="*/ 2712 w 9957"/>
                <a:gd name="connsiteY28" fmla="*/ 9196 h 10000"/>
                <a:gd name="connsiteX29" fmla="*/ 3067 w 9957"/>
                <a:gd name="connsiteY29" fmla="*/ 9518 h 10000"/>
                <a:gd name="connsiteX30" fmla="*/ 3335 w 9957"/>
                <a:gd name="connsiteY30" fmla="*/ 9614 h 10000"/>
                <a:gd name="connsiteX31" fmla="*/ 3513 w 9957"/>
                <a:gd name="connsiteY31" fmla="*/ 9518 h 10000"/>
                <a:gd name="connsiteX32" fmla="*/ 3957 w 9957"/>
                <a:gd name="connsiteY32" fmla="*/ 9550 h 10000"/>
                <a:gd name="connsiteX33" fmla="*/ 4134 w 9957"/>
                <a:gd name="connsiteY33" fmla="*/ 9486 h 10000"/>
                <a:gd name="connsiteX34" fmla="*/ 4934 w 9957"/>
                <a:gd name="connsiteY34" fmla="*/ 9968 h 10000"/>
                <a:gd name="connsiteX35" fmla="*/ 4979 w 9957"/>
                <a:gd name="connsiteY35" fmla="*/ 9968 h 10000"/>
                <a:gd name="connsiteX36" fmla="*/ 5067 w 9957"/>
                <a:gd name="connsiteY36" fmla="*/ 9904 h 10000"/>
                <a:gd name="connsiteX37" fmla="*/ 5643 w 9957"/>
                <a:gd name="connsiteY37" fmla="*/ 9904 h 10000"/>
                <a:gd name="connsiteX38" fmla="*/ 5734 w 9957"/>
                <a:gd name="connsiteY38" fmla="*/ 10000 h 10000"/>
                <a:gd name="connsiteX39" fmla="*/ 6223 w 9957"/>
                <a:gd name="connsiteY39" fmla="*/ 9871 h 10000"/>
                <a:gd name="connsiteX40" fmla="*/ 6666 w 9957"/>
                <a:gd name="connsiteY40" fmla="*/ 9871 h 10000"/>
                <a:gd name="connsiteX41" fmla="*/ 6978 w 9957"/>
                <a:gd name="connsiteY41" fmla="*/ 9743 h 10000"/>
                <a:gd name="connsiteX42" fmla="*/ 7334 w 9957"/>
                <a:gd name="connsiteY42" fmla="*/ 9486 h 10000"/>
                <a:gd name="connsiteX43" fmla="*/ 8267 w 9957"/>
                <a:gd name="connsiteY43" fmla="*/ 9486 h 10000"/>
                <a:gd name="connsiteX44" fmla="*/ 8267 w 9957"/>
                <a:gd name="connsiteY44" fmla="*/ 9132 h 10000"/>
                <a:gd name="connsiteX45" fmla="*/ 7779 w 9957"/>
                <a:gd name="connsiteY45" fmla="*/ 8971 h 10000"/>
                <a:gd name="connsiteX46" fmla="*/ 7512 w 9957"/>
                <a:gd name="connsiteY46" fmla="*/ 8457 h 10000"/>
                <a:gd name="connsiteX47" fmla="*/ 7157 w 9957"/>
                <a:gd name="connsiteY47" fmla="*/ 8264 h 10000"/>
                <a:gd name="connsiteX48" fmla="*/ 6933 w 9957"/>
                <a:gd name="connsiteY48" fmla="*/ 8006 h 10000"/>
                <a:gd name="connsiteX49" fmla="*/ 6356 w 9957"/>
                <a:gd name="connsiteY49" fmla="*/ 7814 h 10000"/>
                <a:gd name="connsiteX50" fmla="*/ 6489 w 9957"/>
                <a:gd name="connsiteY50" fmla="*/ 7749 h 10000"/>
                <a:gd name="connsiteX51" fmla="*/ 6489 w 9957"/>
                <a:gd name="connsiteY51" fmla="*/ 7588 h 10000"/>
                <a:gd name="connsiteX52" fmla="*/ 6890 w 9957"/>
                <a:gd name="connsiteY52" fmla="*/ 7588 h 10000"/>
                <a:gd name="connsiteX53" fmla="*/ 7110 w 9957"/>
                <a:gd name="connsiteY53" fmla="*/ 7460 h 10000"/>
                <a:gd name="connsiteX54" fmla="*/ 7157 w 9957"/>
                <a:gd name="connsiteY54" fmla="*/ 6527 h 10000"/>
                <a:gd name="connsiteX55" fmla="*/ 7200 w 9957"/>
                <a:gd name="connsiteY55" fmla="*/ 6559 h 10000"/>
                <a:gd name="connsiteX56" fmla="*/ 7042 w 9957"/>
                <a:gd name="connsiteY56" fmla="*/ 6618 h 10000"/>
                <a:gd name="connsiteX57" fmla="*/ 6980 w 9957"/>
                <a:gd name="connsiteY57" fmla="*/ 6745 h 10000"/>
                <a:gd name="connsiteX58" fmla="*/ 6583 w 9957"/>
                <a:gd name="connsiteY58" fmla="*/ 6497 h 10000"/>
                <a:gd name="connsiteX59" fmla="*/ 6511 w 9957"/>
                <a:gd name="connsiteY59" fmla="*/ 5828 h 10000"/>
                <a:gd name="connsiteX60" fmla="*/ 6086 w 9957"/>
                <a:gd name="connsiteY60" fmla="*/ 6118 h 10000"/>
                <a:gd name="connsiteX61" fmla="*/ 6093 w 9957"/>
                <a:gd name="connsiteY61" fmla="*/ 6462 h 10000"/>
                <a:gd name="connsiteX62" fmla="*/ 5751 w 9957"/>
                <a:gd name="connsiteY62" fmla="*/ 6670 h 10000"/>
                <a:gd name="connsiteX63" fmla="*/ 9957 w 9957"/>
                <a:gd name="connsiteY63" fmla="*/ 2572 h 10000"/>
                <a:gd name="connsiteX64" fmla="*/ 9777 w 9957"/>
                <a:gd name="connsiteY64" fmla="*/ 2572 h 10000"/>
                <a:gd name="connsiteX65" fmla="*/ 9644 w 9957"/>
                <a:gd name="connsiteY65" fmla="*/ 2412 h 10000"/>
                <a:gd name="connsiteX66" fmla="*/ 9378 w 9957"/>
                <a:gd name="connsiteY66" fmla="*/ 2347 h 10000"/>
                <a:gd name="connsiteX67" fmla="*/ 9244 w 9957"/>
                <a:gd name="connsiteY67" fmla="*/ 2219 h 10000"/>
                <a:gd name="connsiteX68" fmla="*/ 9157 w 9957"/>
                <a:gd name="connsiteY68" fmla="*/ 1736 h 10000"/>
                <a:gd name="connsiteX69" fmla="*/ 9157 w 9957"/>
                <a:gd name="connsiteY69" fmla="*/ 1061 h 10000"/>
                <a:gd name="connsiteX70" fmla="*/ 8933 w 9957"/>
                <a:gd name="connsiteY70" fmla="*/ 836 h 10000"/>
                <a:gd name="connsiteX71" fmla="*/ 8889 w 9957"/>
                <a:gd name="connsiteY71" fmla="*/ 611 h 10000"/>
                <a:gd name="connsiteX72" fmla="*/ 8534 w 9957"/>
                <a:gd name="connsiteY72" fmla="*/ 289 h 10000"/>
                <a:gd name="connsiteX73" fmla="*/ 8222 w 9957"/>
                <a:gd name="connsiteY73" fmla="*/ 161 h 10000"/>
                <a:gd name="connsiteX74" fmla="*/ 8045 w 9957"/>
                <a:gd name="connsiteY74" fmla="*/ 0 h 10000"/>
                <a:gd name="connsiteX75" fmla="*/ 7779 w 9957"/>
                <a:gd name="connsiteY75" fmla="*/ 161 h 10000"/>
                <a:gd name="connsiteX76" fmla="*/ 7600 w 9957"/>
                <a:gd name="connsiteY76" fmla="*/ 129 h 10000"/>
                <a:gd name="connsiteX77" fmla="*/ 7466 w 9957"/>
                <a:gd name="connsiteY77" fmla="*/ 418 h 10000"/>
                <a:gd name="connsiteX78" fmla="*/ 7110 w 9957"/>
                <a:gd name="connsiteY78" fmla="*/ 482 h 10000"/>
                <a:gd name="connsiteX79" fmla="*/ 7023 w 9957"/>
                <a:gd name="connsiteY79" fmla="*/ 707 h 10000"/>
                <a:gd name="connsiteX80" fmla="*/ 6711 w 9957"/>
                <a:gd name="connsiteY80" fmla="*/ 707 h 10000"/>
                <a:gd name="connsiteX81" fmla="*/ 6445 w 9957"/>
                <a:gd name="connsiteY81" fmla="*/ 611 h 10000"/>
                <a:gd name="connsiteX82" fmla="*/ 5867 w 9957"/>
                <a:gd name="connsiteY82" fmla="*/ 611 h 10000"/>
                <a:gd name="connsiteX83" fmla="*/ 5289 w 9957"/>
                <a:gd name="connsiteY83" fmla="*/ 611 h 10000"/>
                <a:gd name="connsiteX84" fmla="*/ 5333 w 9957"/>
                <a:gd name="connsiteY84" fmla="*/ 482 h 10000"/>
                <a:gd name="connsiteX85" fmla="*/ 5245 w 9957"/>
                <a:gd name="connsiteY85" fmla="*/ 482 h 10000"/>
                <a:gd name="connsiteX86" fmla="*/ 5201 w 9957"/>
                <a:gd name="connsiteY86" fmla="*/ 611 h 10000"/>
                <a:gd name="connsiteX87" fmla="*/ 4667 w 9957"/>
                <a:gd name="connsiteY87" fmla="*/ 611 h 10000"/>
                <a:gd name="connsiteX88" fmla="*/ 4134 w 9957"/>
                <a:gd name="connsiteY88" fmla="*/ 611 h 10000"/>
                <a:gd name="connsiteX89" fmla="*/ 3602 w 9957"/>
                <a:gd name="connsiteY89" fmla="*/ 611 h 10000"/>
                <a:gd name="connsiteX90" fmla="*/ 3067 w 9957"/>
                <a:gd name="connsiteY90" fmla="*/ 611 h 10000"/>
                <a:gd name="connsiteX91" fmla="*/ 2580 w 9957"/>
                <a:gd name="connsiteY91" fmla="*/ 611 h 10000"/>
                <a:gd name="connsiteX92" fmla="*/ 2046 w 9957"/>
                <a:gd name="connsiteY92" fmla="*/ 611 h 10000"/>
                <a:gd name="connsiteX93" fmla="*/ 1556 w 9957"/>
                <a:gd name="connsiteY93" fmla="*/ 611 h 10000"/>
                <a:gd name="connsiteX94" fmla="*/ 1024 w 9957"/>
                <a:gd name="connsiteY94" fmla="*/ 611 h 10000"/>
                <a:gd name="connsiteX95" fmla="*/ 1024 w 9957"/>
                <a:gd name="connsiteY95" fmla="*/ 1061 h 10000"/>
                <a:gd name="connsiteX96" fmla="*/ 1024 w 9957"/>
                <a:gd name="connsiteY96" fmla="*/ 1640 h 10000"/>
                <a:gd name="connsiteX97" fmla="*/ 356 w 9957"/>
                <a:gd name="connsiteY97" fmla="*/ 1640 h 10000"/>
                <a:gd name="connsiteX98" fmla="*/ 356 w 9957"/>
                <a:gd name="connsiteY98" fmla="*/ 1897 h 10000"/>
                <a:gd name="connsiteX0" fmla="*/ 358 w 9819"/>
                <a:gd name="connsiteY0" fmla="*/ 1897 h 10000"/>
                <a:gd name="connsiteX1" fmla="*/ 5544 w 9819"/>
                <a:gd name="connsiteY1" fmla="*/ 6915 h 10000"/>
                <a:gd name="connsiteX2" fmla="*/ 5177 w 9819"/>
                <a:gd name="connsiteY2" fmla="*/ 7114 h 10000"/>
                <a:gd name="connsiteX3" fmla="*/ 4869 w 9819"/>
                <a:gd name="connsiteY3" fmla="*/ 6907 h 10000"/>
                <a:gd name="connsiteX4" fmla="*/ 4422 w 9819"/>
                <a:gd name="connsiteY4" fmla="*/ 6781 h 10000"/>
                <a:gd name="connsiteX5" fmla="*/ 4200 w 9819"/>
                <a:gd name="connsiteY5" fmla="*/ 7064 h 10000"/>
                <a:gd name="connsiteX6" fmla="*/ 3651 w 9819"/>
                <a:gd name="connsiteY6" fmla="*/ 7281 h 10000"/>
                <a:gd name="connsiteX7" fmla="*/ 3298 w 9819"/>
                <a:gd name="connsiteY7" fmla="*/ 7279 h 10000"/>
                <a:gd name="connsiteX8" fmla="*/ 2528 w 9819"/>
                <a:gd name="connsiteY8" fmla="*/ 7095 h 10000"/>
                <a:gd name="connsiteX9" fmla="*/ 2322 w 9819"/>
                <a:gd name="connsiteY9" fmla="*/ 7195 h 10000"/>
                <a:gd name="connsiteX10" fmla="*/ 1808 w 9819"/>
                <a:gd name="connsiteY10" fmla="*/ 6973 h 10000"/>
                <a:gd name="connsiteX11" fmla="*/ 1581 w 9819"/>
                <a:gd name="connsiteY11" fmla="*/ 6638 h 10000"/>
                <a:gd name="connsiteX12" fmla="*/ 1203 w 9819"/>
                <a:gd name="connsiteY12" fmla="*/ 6729 h 10000"/>
                <a:gd name="connsiteX13" fmla="*/ 1101 w 9819"/>
                <a:gd name="connsiteY13" fmla="*/ 6927 h 10000"/>
                <a:gd name="connsiteX14" fmla="*/ 701 w 9819"/>
                <a:gd name="connsiteY14" fmla="*/ 7011 h 10000"/>
                <a:gd name="connsiteX15" fmla="*/ 438 w 9819"/>
                <a:gd name="connsiteY15" fmla="*/ 7004 h 10000"/>
                <a:gd name="connsiteX16" fmla="*/ 293 w 9819"/>
                <a:gd name="connsiteY16" fmla="*/ 7161 h 10000"/>
                <a:gd name="connsiteX17" fmla="*/ 47 w 9819"/>
                <a:gd name="connsiteY17" fmla="*/ 6913 h 10000"/>
                <a:gd name="connsiteX18" fmla="*/ 0 w 9819"/>
                <a:gd name="connsiteY18" fmla="*/ 7363 h 10000"/>
                <a:gd name="connsiteX19" fmla="*/ 89 w 9819"/>
                <a:gd name="connsiteY19" fmla="*/ 7428 h 10000"/>
                <a:gd name="connsiteX20" fmla="*/ 448 w 9819"/>
                <a:gd name="connsiteY20" fmla="*/ 7460 h 10000"/>
                <a:gd name="connsiteX21" fmla="*/ 493 w 9819"/>
                <a:gd name="connsiteY21" fmla="*/ 7588 h 10000"/>
                <a:gd name="connsiteX22" fmla="*/ 894 w 9819"/>
                <a:gd name="connsiteY22" fmla="*/ 7621 h 10000"/>
                <a:gd name="connsiteX23" fmla="*/ 1117 w 9819"/>
                <a:gd name="connsiteY23" fmla="*/ 7749 h 10000"/>
                <a:gd name="connsiteX24" fmla="*/ 1161 w 9819"/>
                <a:gd name="connsiteY24" fmla="*/ 7974 h 10000"/>
                <a:gd name="connsiteX25" fmla="*/ 1877 w 9819"/>
                <a:gd name="connsiteY25" fmla="*/ 8360 h 10000"/>
                <a:gd name="connsiteX26" fmla="*/ 2055 w 9819"/>
                <a:gd name="connsiteY26" fmla="*/ 8746 h 10000"/>
                <a:gd name="connsiteX27" fmla="*/ 2545 w 9819"/>
                <a:gd name="connsiteY27" fmla="*/ 8939 h 10000"/>
                <a:gd name="connsiteX28" fmla="*/ 2724 w 9819"/>
                <a:gd name="connsiteY28" fmla="*/ 9196 h 10000"/>
                <a:gd name="connsiteX29" fmla="*/ 3080 w 9819"/>
                <a:gd name="connsiteY29" fmla="*/ 9518 h 10000"/>
                <a:gd name="connsiteX30" fmla="*/ 3349 w 9819"/>
                <a:gd name="connsiteY30" fmla="*/ 9614 h 10000"/>
                <a:gd name="connsiteX31" fmla="*/ 3528 w 9819"/>
                <a:gd name="connsiteY31" fmla="*/ 9518 h 10000"/>
                <a:gd name="connsiteX32" fmla="*/ 3974 w 9819"/>
                <a:gd name="connsiteY32" fmla="*/ 9550 h 10000"/>
                <a:gd name="connsiteX33" fmla="*/ 4152 w 9819"/>
                <a:gd name="connsiteY33" fmla="*/ 9486 h 10000"/>
                <a:gd name="connsiteX34" fmla="*/ 4955 w 9819"/>
                <a:gd name="connsiteY34" fmla="*/ 9968 h 10000"/>
                <a:gd name="connsiteX35" fmla="*/ 5001 w 9819"/>
                <a:gd name="connsiteY35" fmla="*/ 9968 h 10000"/>
                <a:gd name="connsiteX36" fmla="*/ 5089 w 9819"/>
                <a:gd name="connsiteY36" fmla="*/ 9904 h 10000"/>
                <a:gd name="connsiteX37" fmla="*/ 5667 w 9819"/>
                <a:gd name="connsiteY37" fmla="*/ 9904 h 10000"/>
                <a:gd name="connsiteX38" fmla="*/ 5759 w 9819"/>
                <a:gd name="connsiteY38" fmla="*/ 10000 h 10000"/>
                <a:gd name="connsiteX39" fmla="*/ 6250 w 9819"/>
                <a:gd name="connsiteY39" fmla="*/ 9871 h 10000"/>
                <a:gd name="connsiteX40" fmla="*/ 6695 w 9819"/>
                <a:gd name="connsiteY40" fmla="*/ 9871 h 10000"/>
                <a:gd name="connsiteX41" fmla="*/ 7008 w 9819"/>
                <a:gd name="connsiteY41" fmla="*/ 9743 h 10000"/>
                <a:gd name="connsiteX42" fmla="*/ 7366 w 9819"/>
                <a:gd name="connsiteY42" fmla="*/ 9486 h 10000"/>
                <a:gd name="connsiteX43" fmla="*/ 8303 w 9819"/>
                <a:gd name="connsiteY43" fmla="*/ 9486 h 10000"/>
                <a:gd name="connsiteX44" fmla="*/ 8303 w 9819"/>
                <a:gd name="connsiteY44" fmla="*/ 9132 h 10000"/>
                <a:gd name="connsiteX45" fmla="*/ 7813 w 9819"/>
                <a:gd name="connsiteY45" fmla="*/ 8971 h 10000"/>
                <a:gd name="connsiteX46" fmla="*/ 7544 w 9819"/>
                <a:gd name="connsiteY46" fmla="*/ 8457 h 10000"/>
                <a:gd name="connsiteX47" fmla="*/ 7188 w 9819"/>
                <a:gd name="connsiteY47" fmla="*/ 8264 h 10000"/>
                <a:gd name="connsiteX48" fmla="*/ 6963 w 9819"/>
                <a:gd name="connsiteY48" fmla="*/ 8006 h 10000"/>
                <a:gd name="connsiteX49" fmla="*/ 6383 w 9819"/>
                <a:gd name="connsiteY49" fmla="*/ 7814 h 10000"/>
                <a:gd name="connsiteX50" fmla="*/ 6517 w 9819"/>
                <a:gd name="connsiteY50" fmla="*/ 7749 h 10000"/>
                <a:gd name="connsiteX51" fmla="*/ 6517 w 9819"/>
                <a:gd name="connsiteY51" fmla="*/ 7588 h 10000"/>
                <a:gd name="connsiteX52" fmla="*/ 6920 w 9819"/>
                <a:gd name="connsiteY52" fmla="*/ 7588 h 10000"/>
                <a:gd name="connsiteX53" fmla="*/ 7141 w 9819"/>
                <a:gd name="connsiteY53" fmla="*/ 7460 h 10000"/>
                <a:gd name="connsiteX54" fmla="*/ 7188 w 9819"/>
                <a:gd name="connsiteY54" fmla="*/ 6527 h 10000"/>
                <a:gd name="connsiteX55" fmla="*/ 7231 w 9819"/>
                <a:gd name="connsiteY55" fmla="*/ 6559 h 10000"/>
                <a:gd name="connsiteX56" fmla="*/ 7072 w 9819"/>
                <a:gd name="connsiteY56" fmla="*/ 6618 h 10000"/>
                <a:gd name="connsiteX57" fmla="*/ 7010 w 9819"/>
                <a:gd name="connsiteY57" fmla="*/ 6745 h 10000"/>
                <a:gd name="connsiteX58" fmla="*/ 6611 w 9819"/>
                <a:gd name="connsiteY58" fmla="*/ 6497 h 10000"/>
                <a:gd name="connsiteX59" fmla="*/ 6539 w 9819"/>
                <a:gd name="connsiteY59" fmla="*/ 5828 h 10000"/>
                <a:gd name="connsiteX60" fmla="*/ 6112 w 9819"/>
                <a:gd name="connsiteY60" fmla="*/ 6118 h 10000"/>
                <a:gd name="connsiteX61" fmla="*/ 6119 w 9819"/>
                <a:gd name="connsiteY61" fmla="*/ 6462 h 10000"/>
                <a:gd name="connsiteX62" fmla="*/ 5776 w 9819"/>
                <a:gd name="connsiteY62" fmla="*/ 6670 h 10000"/>
                <a:gd name="connsiteX63" fmla="*/ 9819 w 9819"/>
                <a:gd name="connsiteY63" fmla="*/ 2572 h 10000"/>
                <a:gd name="connsiteX64" fmla="*/ 9686 w 9819"/>
                <a:gd name="connsiteY64" fmla="*/ 2412 h 10000"/>
                <a:gd name="connsiteX65" fmla="*/ 9418 w 9819"/>
                <a:gd name="connsiteY65" fmla="*/ 2347 h 10000"/>
                <a:gd name="connsiteX66" fmla="*/ 9284 w 9819"/>
                <a:gd name="connsiteY66" fmla="*/ 2219 h 10000"/>
                <a:gd name="connsiteX67" fmla="*/ 9197 w 9819"/>
                <a:gd name="connsiteY67" fmla="*/ 1736 h 10000"/>
                <a:gd name="connsiteX68" fmla="*/ 9197 w 9819"/>
                <a:gd name="connsiteY68" fmla="*/ 1061 h 10000"/>
                <a:gd name="connsiteX69" fmla="*/ 8972 w 9819"/>
                <a:gd name="connsiteY69" fmla="*/ 836 h 10000"/>
                <a:gd name="connsiteX70" fmla="*/ 8927 w 9819"/>
                <a:gd name="connsiteY70" fmla="*/ 611 h 10000"/>
                <a:gd name="connsiteX71" fmla="*/ 8571 w 9819"/>
                <a:gd name="connsiteY71" fmla="*/ 289 h 10000"/>
                <a:gd name="connsiteX72" fmla="*/ 8258 w 9819"/>
                <a:gd name="connsiteY72" fmla="*/ 161 h 10000"/>
                <a:gd name="connsiteX73" fmla="*/ 8080 w 9819"/>
                <a:gd name="connsiteY73" fmla="*/ 0 h 10000"/>
                <a:gd name="connsiteX74" fmla="*/ 7813 w 9819"/>
                <a:gd name="connsiteY74" fmla="*/ 161 h 10000"/>
                <a:gd name="connsiteX75" fmla="*/ 7633 w 9819"/>
                <a:gd name="connsiteY75" fmla="*/ 129 h 10000"/>
                <a:gd name="connsiteX76" fmla="*/ 7498 w 9819"/>
                <a:gd name="connsiteY76" fmla="*/ 418 h 10000"/>
                <a:gd name="connsiteX77" fmla="*/ 7141 w 9819"/>
                <a:gd name="connsiteY77" fmla="*/ 482 h 10000"/>
                <a:gd name="connsiteX78" fmla="*/ 7053 w 9819"/>
                <a:gd name="connsiteY78" fmla="*/ 707 h 10000"/>
                <a:gd name="connsiteX79" fmla="*/ 6740 w 9819"/>
                <a:gd name="connsiteY79" fmla="*/ 707 h 10000"/>
                <a:gd name="connsiteX80" fmla="*/ 6473 w 9819"/>
                <a:gd name="connsiteY80" fmla="*/ 611 h 10000"/>
                <a:gd name="connsiteX81" fmla="*/ 5892 w 9819"/>
                <a:gd name="connsiteY81" fmla="*/ 611 h 10000"/>
                <a:gd name="connsiteX82" fmla="*/ 5312 w 9819"/>
                <a:gd name="connsiteY82" fmla="*/ 611 h 10000"/>
                <a:gd name="connsiteX83" fmla="*/ 5356 w 9819"/>
                <a:gd name="connsiteY83" fmla="*/ 482 h 10000"/>
                <a:gd name="connsiteX84" fmla="*/ 5268 w 9819"/>
                <a:gd name="connsiteY84" fmla="*/ 482 h 10000"/>
                <a:gd name="connsiteX85" fmla="*/ 5223 w 9819"/>
                <a:gd name="connsiteY85" fmla="*/ 611 h 10000"/>
                <a:gd name="connsiteX86" fmla="*/ 4687 w 9819"/>
                <a:gd name="connsiteY86" fmla="*/ 611 h 10000"/>
                <a:gd name="connsiteX87" fmla="*/ 4152 w 9819"/>
                <a:gd name="connsiteY87" fmla="*/ 611 h 10000"/>
                <a:gd name="connsiteX88" fmla="*/ 3618 w 9819"/>
                <a:gd name="connsiteY88" fmla="*/ 611 h 10000"/>
                <a:gd name="connsiteX89" fmla="*/ 3080 w 9819"/>
                <a:gd name="connsiteY89" fmla="*/ 611 h 10000"/>
                <a:gd name="connsiteX90" fmla="*/ 2591 w 9819"/>
                <a:gd name="connsiteY90" fmla="*/ 611 h 10000"/>
                <a:gd name="connsiteX91" fmla="*/ 2055 w 9819"/>
                <a:gd name="connsiteY91" fmla="*/ 611 h 10000"/>
                <a:gd name="connsiteX92" fmla="*/ 1563 w 9819"/>
                <a:gd name="connsiteY92" fmla="*/ 611 h 10000"/>
                <a:gd name="connsiteX93" fmla="*/ 1028 w 9819"/>
                <a:gd name="connsiteY93" fmla="*/ 611 h 10000"/>
                <a:gd name="connsiteX94" fmla="*/ 1028 w 9819"/>
                <a:gd name="connsiteY94" fmla="*/ 1061 h 10000"/>
                <a:gd name="connsiteX95" fmla="*/ 1028 w 9819"/>
                <a:gd name="connsiteY95" fmla="*/ 1640 h 10000"/>
                <a:gd name="connsiteX96" fmla="*/ 358 w 9819"/>
                <a:gd name="connsiteY96" fmla="*/ 1640 h 10000"/>
                <a:gd name="connsiteX97" fmla="*/ 358 w 9819"/>
                <a:gd name="connsiteY97" fmla="*/ 1897 h 10000"/>
                <a:gd name="connsiteX0" fmla="*/ 365 w 9865"/>
                <a:gd name="connsiteY0" fmla="*/ 1897 h 10000"/>
                <a:gd name="connsiteX1" fmla="*/ 5646 w 9865"/>
                <a:gd name="connsiteY1" fmla="*/ 6915 h 10000"/>
                <a:gd name="connsiteX2" fmla="*/ 5272 w 9865"/>
                <a:gd name="connsiteY2" fmla="*/ 7114 h 10000"/>
                <a:gd name="connsiteX3" fmla="*/ 4959 w 9865"/>
                <a:gd name="connsiteY3" fmla="*/ 6907 h 10000"/>
                <a:gd name="connsiteX4" fmla="*/ 4504 w 9865"/>
                <a:gd name="connsiteY4" fmla="*/ 6781 h 10000"/>
                <a:gd name="connsiteX5" fmla="*/ 4277 w 9865"/>
                <a:gd name="connsiteY5" fmla="*/ 7064 h 10000"/>
                <a:gd name="connsiteX6" fmla="*/ 3718 w 9865"/>
                <a:gd name="connsiteY6" fmla="*/ 7281 h 10000"/>
                <a:gd name="connsiteX7" fmla="*/ 3359 w 9865"/>
                <a:gd name="connsiteY7" fmla="*/ 7279 h 10000"/>
                <a:gd name="connsiteX8" fmla="*/ 2575 w 9865"/>
                <a:gd name="connsiteY8" fmla="*/ 7095 h 10000"/>
                <a:gd name="connsiteX9" fmla="*/ 2365 w 9865"/>
                <a:gd name="connsiteY9" fmla="*/ 7195 h 10000"/>
                <a:gd name="connsiteX10" fmla="*/ 1841 w 9865"/>
                <a:gd name="connsiteY10" fmla="*/ 6973 h 10000"/>
                <a:gd name="connsiteX11" fmla="*/ 1610 w 9865"/>
                <a:gd name="connsiteY11" fmla="*/ 6638 h 10000"/>
                <a:gd name="connsiteX12" fmla="*/ 1225 w 9865"/>
                <a:gd name="connsiteY12" fmla="*/ 6729 h 10000"/>
                <a:gd name="connsiteX13" fmla="*/ 1121 w 9865"/>
                <a:gd name="connsiteY13" fmla="*/ 6927 h 10000"/>
                <a:gd name="connsiteX14" fmla="*/ 714 w 9865"/>
                <a:gd name="connsiteY14" fmla="*/ 7011 h 10000"/>
                <a:gd name="connsiteX15" fmla="*/ 446 w 9865"/>
                <a:gd name="connsiteY15" fmla="*/ 7004 h 10000"/>
                <a:gd name="connsiteX16" fmla="*/ 298 w 9865"/>
                <a:gd name="connsiteY16" fmla="*/ 7161 h 10000"/>
                <a:gd name="connsiteX17" fmla="*/ 48 w 9865"/>
                <a:gd name="connsiteY17" fmla="*/ 6913 h 10000"/>
                <a:gd name="connsiteX18" fmla="*/ 0 w 9865"/>
                <a:gd name="connsiteY18" fmla="*/ 7363 h 10000"/>
                <a:gd name="connsiteX19" fmla="*/ 91 w 9865"/>
                <a:gd name="connsiteY19" fmla="*/ 7428 h 10000"/>
                <a:gd name="connsiteX20" fmla="*/ 456 w 9865"/>
                <a:gd name="connsiteY20" fmla="*/ 7460 h 10000"/>
                <a:gd name="connsiteX21" fmla="*/ 502 w 9865"/>
                <a:gd name="connsiteY21" fmla="*/ 7588 h 10000"/>
                <a:gd name="connsiteX22" fmla="*/ 910 w 9865"/>
                <a:gd name="connsiteY22" fmla="*/ 7621 h 10000"/>
                <a:gd name="connsiteX23" fmla="*/ 1138 w 9865"/>
                <a:gd name="connsiteY23" fmla="*/ 7749 h 10000"/>
                <a:gd name="connsiteX24" fmla="*/ 1182 w 9865"/>
                <a:gd name="connsiteY24" fmla="*/ 7974 h 10000"/>
                <a:gd name="connsiteX25" fmla="*/ 1912 w 9865"/>
                <a:gd name="connsiteY25" fmla="*/ 8360 h 10000"/>
                <a:gd name="connsiteX26" fmla="*/ 2093 w 9865"/>
                <a:gd name="connsiteY26" fmla="*/ 8746 h 10000"/>
                <a:gd name="connsiteX27" fmla="*/ 2592 w 9865"/>
                <a:gd name="connsiteY27" fmla="*/ 8939 h 10000"/>
                <a:gd name="connsiteX28" fmla="*/ 2774 w 9865"/>
                <a:gd name="connsiteY28" fmla="*/ 9196 h 10000"/>
                <a:gd name="connsiteX29" fmla="*/ 3137 w 9865"/>
                <a:gd name="connsiteY29" fmla="*/ 9518 h 10000"/>
                <a:gd name="connsiteX30" fmla="*/ 3411 w 9865"/>
                <a:gd name="connsiteY30" fmla="*/ 9614 h 10000"/>
                <a:gd name="connsiteX31" fmla="*/ 3593 w 9865"/>
                <a:gd name="connsiteY31" fmla="*/ 9518 h 10000"/>
                <a:gd name="connsiteX32" fmla="*/ 4047 w 9865"/>
                <a:gd name="connsiteY32" fmla="*/ 9550 h 10000"/>
                <a:gd name="connsiteX33" fmla="*/ 4229 w 9865"/>
                <a:gd name="connsiteY33" fmla="*/ 9486 h 10000"/>
                <a:gd name="connsiteX34" fmla="*/ 5046 w 9865"/>
                <a:gd name="connsiteY34" fmla="*/ 9968 h 10000"/>
                <a:gd name="connsiteX35" fmla="*/ 5093 w 9865"/>
                <a:gd name="connsiteY35" fmla="*/ 9968 h 10000"/>
                <a:gd name="connsiteX36" fmla="*/ 5183 w 9865"/>
                <a:gd name="connsiteY36" fmla="*/ 9904 h 10000"/>
                <a:gd name="connsiteX37" fmla="*/ 5771 w 9865"/>
                <a:gd name="connsiteY37" fmla="*/ 9904 h 10000"/>
                <a:gd name="connsiteX38" fmla="*/ 5865 w 9865"/>
                <a:gd name="connsiteY38" fmla="*/ 10000 h 10000"/>
                <a:gd name="connsiteX39" fmla="*/ 6365 w 9865"/>
                <a:gd name="connsiteY39" fmla="*/ 9871 h 10000"/>
                <a:gd name="connsiteX40" fmla="*/ 6818 w 9865"/>
                <a:gd name="connsiteY40" fmla="*/ 9871 h 10000"/>
                <a:gd name="connsiteX41" fmla="*/ 7137 w 9865"/>
                <a:gd name="connsiteY41" fmla="*/ 9743 h 10000"/>
                <a:gd name="connsiteX42" fmla="*/ 7502 w 9865"/>
                <a:gd name="connsiteY42" fmla="*/ 9486 h 10000"/>
                <a:gd name="connsiteX43" fmla="*/ 8456 w 9865"/>
                <a:gd name="connsiteY43" fmla="*/ 9486 h 10000"/>
                <a:gd name="connsiteX44" fmla="*/ 8456 w 9865"/>
                <a:gd name="connsiteY44" fmla="*/ 9132 h 10000"/>
                <a:gd name="connsiteX45" fmla="*/ 7957 w 9865"/>
                <a:gd name="connsiteY45" fmla="*/ 8971 h 10000"/>
                <a:gd name="connsiteX46" fmla="*/ 7683 w 9865"/>
                <a:gd name="connsiteY46" fmla="*/ 8457 h 10000"/>
                <a:gd name="connsiteX47" fmla="*/ 7321 w 9865"/>
                <a:gd name="connsiteY47" fmla="*/ 8264 h 10000"/>
                <a:gd name="connsiteX48" fmla="*/ 7091 w 9865"/>
                <a:gd name="connsiteY48" fmla="*/ 8006 h 10000"/>
                <a:gd name="connsiteX49" fmla="*/ 6501 w 9865"/>
                <a:gd name="connsiteY49" fmla="*/ 7814 h 10000"/>
                <a:gd name="connsiteX50" fmla="*/ 6637 w 9865"/>
                <a:gd name="connsiteY50" fmla="*/ 7749 h 10000"/>
                <a:gd name="connsiteX51" fmla="*/ 6637 w 9865"/>
                <a:gd name="connsiteY51" fmla="*/ 7588 h 10000"/>
                <a:gd name="connsiteX52" fmla="*/ 7048 w 9865"/>
                <a:gd name="connsiteY52" fmla="*/ 7588 h 10000"/>
                <a:gd name="connsiteX53" fmla="*/ 7273 w 9865"/>
                <a:gd name="connsiteY53" fmla="*/ 7460 h 10000"/>
                <a:gd name="connsiteX54" fmla="*/ 7321 w 9865"/>
                <a:gd name="connsiteY54" fmla="*/ 6527 h 10000"/>
                <a:gd name="connsiteX55" fmla="*/ 7364 w 9865"/>
                <a:gd name="connsiteY55" fmla="*/ 6559 h 10000"/>
                <a:gd name="connsiteX56" fmla="*/ 7202 w 9865"/>
                <a:gd name="connsiteY56" fmla="*/ 6618 h 10000"/>
                <a:gd name="connsiteX57" fmla="*/ 7139 w 9865"/>
                <a:gd name="connsiteY57" fmla="*/ 6745 h 10000"/>
                <a:gd name="connsiteX58" fmla="*/ 6733 w 9865"/>
                <a:gd name="connsiteY58" fmla="*/ 6497 h 10000"/>
                <a:gd name="connsiteX59" fmla="*/ 6660 w 9865"/>
                <a:gd name="connsiteY59" fmla="*/ 5828 h 10000"/>
                <a:gd name="connsiteX60" fmla="*/ 6225 w 9865"/>
                <a:gd name="connsiteY60" fmla="*/ 6118 h 10000"/>
                <a:gd name="connsiteX61" fmla="*/ 6232 w 9865"/>
                <a:gd name="connsiteY61" fmla="*/ 6462 h 10000"/>
                <a:gd name="connsiteX62" fmla="*/ 5882 w 9865"/>
                <a:gd name="connsiteY62" fmla="*/ 6670 h 10000"/>
                <a:gd name="connsiteX63" fmla="*/ 9865 w 9865"/>
                <a:gd name="connsiteY63" fmla="*/ 2412 h 10000"/>
                <a:gd name="connsiteX64" fmla="*/ 9592 w 9865"/>
                <a:gd name="connsiteY64" fmla="*/ 2347 h 10000"/>
                <a:gd name="connsiteX65" fmla="*/ 9455 w 9865"/>
                <a:gd name="connsiteY65" fmla="*/ 2219 h 10000"/>
                <a:gd name="connsiteX66" fmla="*/ 9367 w 9865"/>
                <a:gd name="connsiteY66" fmla="*/ 1736 h 10000"/>
                <a:gd name="connsiteX67" fmla="*/ 9367 w 9865"/>
                <a:gd name="connsiteY67" fmla="*/ 1061 h 10000"/>
                <a:gd name="connsiteX68" fmla="*/ 9137 w 9865"/>
                <a:gd name="connsiteY68" fmla="*/ 836 h 10000"/>
                <a:gd name="connsiteX69" fmla="*/ 9092 w 9865"/>
                <a:gd name="connsiteY69" fmla="*/ 611 h 10000"/>
                <a:gd name="connsiteX70" fmla="*/ 8729 w 9865"/>
                <a:gd name="connsiteY70" fmla="*/ 289 h 10000"/>
                <a:gd name="connsiteX71" fmla="*/ 8410 w 9865"/>
                <a:gd name="connsiteY71" fmla="*/ 161 h 10000"/>
                <a:gd name="connsiteX72" fmla="*/ 8229 w 9865"/>
                <a:gd name="connsiteY72" fmla="*/ 0 h 10000"/>
                <a:gd name="connsiteX73" fmla="*/ 7957 w 9865"/>
                <a:gd name="connsiteY73" fmla="*/ 161 h 10000"/>
                <a:gd name="connsiteX74" fmla="*/ 7774 w 9865"/>
                <a:gd name="connsiteY74" fmla="*/ 129 h 10000"/>
                <a:gd name="connsiteX75" fmla="*/ 7636 w 9865"/>
                <a:gd name="connsiteY75" fmla="*/ 418 h 10000"/>
                <a:gd name="connsiteX76" fmla="*/ 7273 w 9865"/>
                <a:gd name="connsiteY76" fmla="*/ 482 h 10000"/>
                <a:gd name="connsiteX77" fmla="*/ 7183 w 9865"/>
                <a:gd name="connsiteY77" fmla="*/ 707 h 10000"/>
                <a:gd name="connsiteX78" fmla="*/ 6864 w 9865"/>
                <a:gd name="connsiteY78" fmla="*/ 707 h 10000"/>
                <a:gd name="connsiteX79" fmla="*/ 6592 w 9865"/>
                <a:gd name="connsiteY79" fmla="*/ 611 h 10000"/>
                <a:gd name="connsiteX80" fmla="*/ 6001 w 9865"/>
                <a:gd name="connsiteY80" fmla="*/ 611 h 10000"/>
                <a:gd name="connsiteX81" fmla="*/ 5410 w 9865"/>
                <a:gd name="connsiteY81" fmla="*/ 611 h 10000"/>
                <a:gd name="connsiteX82" fmla="*/ 5455 w 9865"/>
                <a:gd name="connsiteY82" fmla="*/ 482 h 10000"/>
                <a:gd name="connsiteX83" fmla="*/ 5365 w 9865"/>
                <a:gd name="connsiteY83" fmla="*/ 482 h 10000"/>
                <a:gd name="connsiteX84" fmla="*/ 5319 w 9865"/>
                <a:gd name="connsiteY84" fmla="*/ 611 h 10000"/>
                <a:gd name="connsiteX85" fmla="*/ 4773 w 9865"/>
                <a:gd name="connsiteY85" fmla="*/ 611 h 10000"/>
                <a:gd name="connsiteX86" fmla="*/ 4229 w 9865"/>
                <a:gd name="connsiteY86" fmla="*/ 611 h 10000"/>
                <a:gd name="connsiteX87" fmla="*/ 3685 w 9865"/>
                <a:gd name="connsiteY87" fmla="*/ 611 h 10000"/>
                <a:gd name="connsiteX88" fmla="*/ 3137 w 9865"/>
                <a:gd name="connsiteY88" fmla="*/ 611 h 10000"/>
                <a:gd name="connsiteX89" fmla="*/ 2639 w 9865"/>
                <a:gd name="connsiteY89" fmla="*/ 611 h 10000"/>
                <a:gd name="connsiteX90" fmla="*/ 2093 w 9865"/>
                <a:gd name="connsiteY90" fmla="*/ 611 h 10000"/>
                <a:gd name="connsiteX91" fmla="*/ 1592 w 9865"/>
                <a:gd name="connsiteY91" fmla="*/ 611 h 10000"/>
                <a:gd name="connsiteX92" fmla="*/ 1047 w 9865"/>
                <a:gd name="connsiteY92" fmla="*/ 611 h 10000"/>
                <a:gd name="connsiteX93" fmla="*/ 1047 w 9865"/>
                <a:gd name="connsiteY93" fmla="*/ 1061 h 10000"/>
                <a:gd name="connsiteX94" fmla="*/ 1047 w 9865"/>
                <a:gd name="connsiteY94" fmla="*/ 1640 h 10000"/>
                <a:gd name="connsiteX95" fmla="*/ 365 w 9865"/>
                <a:gd name="connsiteY95" fmla="*/ 1640 h 10000"/>
                <a:gd name="connsiteX96" fmla="*/ 365 w 9865"/>
                <a:gd name="connsiteY96" fmla="*/ 1897 h 10000"/>
                <a:gd name="connsiteX0" fmla="*/ 370 w 9723"/>
                <a:gd name="connsiteY0" fmla="*/ 1897 h 10000"/>
                <a:gd name="connsiteX1" fmla="*/ 5723 w 9723"/>
                <a:gd name="connsiteY1" fmla="*/ 6915 h 10000"/>
                <a:gd name="connsiteX2" fmla="*/ 5344 w 9723"/>
                <a:gd name="connsiteY2" fmla="*/ 7114 h 10000"/>
                <a:gd name="connsiteX3" fmla="*/ 5027 w 9723"/>
                <a:gd name="connsiteY3" fmla="*/ 6907 h 10000"/>
                <a:gd name="connsiteX4" fmla="*/ 4566 w 9723"/>
                <a:gd name="connsiteY4" fmla="*/ 6781 h 10000"/>
                <a:gd name="connsiteX5" fmla="*/ 4336 w 9723"/>
                <a:gd name="connsiteY5" fmla="*/ 7064 h 10000"/>
                <a:gd name="connsiteX6" fmla="*/ 3769 w 9723"/>
                <a:gd name="connsiteY6" fmla="*/ 7281 h 10000"/>
                <a:gd name="connsiteX7" fmla="*/ 3405 w 9723"/>
                <a:gd name="connsiteY7" fmla="*/ 7279 h 10000"/>
                <a:gd name="connsiteX8" fmla="*/ 2610 w 9723"/>
                <a:gd name="connsiteY8" fmla="*/ 7095 h 10000"/>
                <a:gd name="connsiteX9" fmla="*/ 2397 w 9723"/>
                <a:gd name="connsiteY9" fmla="*/ 7195 h 10000"/>
                <a:gd name="connsiteX10" fmla="*/ 1866 w 9723"/>
                <a:gd name="connsiteY10" fmla="*/ 6973 h 10000"/>
                <a:gd name="connsiteX11" fmla="*/ 1632 w 9723"/>
                <a:gd name="connsiteY11" fmla="*/ 6638 h 10000"/>
                <a:gd name="connsiteX12" fmla="*/ 1242 w 9723"/>
                <a:gd name="connsiteY12" fmla="*/ 6729 h 10000"/>
                <a:gd name="connsiteX13" fmla="*/ 1136 w 9723"/>
                <a:gd name="connsiteY13" fmla="*/ 6927 h 10000"/>
                <a:gd name="connsiteX14" fmla="*/ 724 w 9723"/>
                <a:gd name="connsiteY14" fmla="*/ 7011 h 10000"/>
                <a:gd name="connsiteX15" fmla="*/ 452 w 9723"/>
                <a:gd name="connsiteY15" fmla="*/ 7004 h 10000"/>
                <a:gd name="connsiteX16" fmla="*/ 302 w 9723"/>
                <a:gd name="connsiteY16" fmla="*/ 7161 h 10000"/>
                <a:gd name="connsiteX17" fmla="*/ 49 w 9723"/>
                <a:gd name="connsiteY17" fmla="*/ 6913 h 10000"/>
                <a:gd name="connsiteX18" fmla="*/ 0 w 9723"/>
                <a:gd name="connsiteY18" fmla="*/ 7363 h 10000"/>
                <a:gd name="connsiteX19" fmla="*/ 92 w 9723"/>
                <a:gd name="connsiteY19" fmla="*/ 7428 h 10000"/>
                <a:gd name="connsiteX20" fmla="*/ 462 w 9723"/>
                <a:gd name="connsiteY20" fmla="*/ 7460 h 10000"/>
                <a:gd name="connsiteX21" fmla="*/ 509 w 9723"/>
                <a:gd name="connsiteY21" fmla="*/ 7588 h 10000"/>
                <a:gd name="connsiteX22" fmla="*/ 922 w 9723"/>
                <a:gd name="connsiteY22" fmla="*/ 7621 h 10000"/>
                <a:gd name="connsiteX23" fmla="*/ 1154 w 9723"/>
                <a:gd name="connsiteY23" fmla="*/ 7749 h 10000"/>
                <a:gd name="connsiteX24" fmla="*/ 1198 w 9723"/>
                <a:gd name="connsiteY24" fmla="*/ 7974 h 10000"/>
                <a:gd name="connsiteX25" fmla="*/ 1938 w 9723"/>
                <a:gd name="connsiteY25" fmla="*/ 8360 h 10000"/>
                <a:gd name="connsiteX26" fmla="*/ 2122 w 9723"/>
                <a:gd name="connsiteY26" fmla="*/ 8746 h 10000"/>
                <a:gd name="connsiteX27" fmla="*/ 2627 w 9723"/>
                <a:gd name="connsiteY27" fmla="*/ 8939 h 10000"/>
                <a:gd name="connsiteX28" fmla="*/ 2812 w 9723"/>
                <a:gd name="connsiteY28" fmla="*/ 9196 h 10000"/>
                <a:gd name="connsiteX29" fmla="*/ 3180 w 9723"/>
                <a:gd name="connsiteY29" fmla="*/ 9518 h 10000"/>
                <a:gd name="connsiteX30" fmla="*/ 3458 w 9723"/>
                <a:gd name="connsiteY30" fmla="*/ 9614 h 10000"/>
                <a:gd name="connsiteX31" fmla="*/ 3642 w 9723"/>
                <a:gd name="connsiteY31" fmla="*/ 9518 h 10000"/>
                <a:gd name="connsiteX32" fmla="*/ 4102 w 9723"/>
                <a:gd name="connsiteY32" fmla="*/ 9550 h 10000"/>
                <a:gd name="connsiteX33" fmla="*/ 4287 w 9723"/>
                <a:gd name="connsiteY33" fmla="*/ 9486 h 10000"/>
                <a:gd name="connsiteX34" fmla="*/ 5115 w 9723"/>
                <a:gd name="connsiteY34" fmla="*/ 9968 h 10000"/>
                <a:gd name="connsiteX35" fmla="*/ 5163 w 9723"/>
                <a:gd name="connsiteY35" fmla="*/ 9968 h 10000"/>
                <a:gd name="connsiteX36" fmla="*/ 5254 w 9723"/>
                <a:gd name="connsiteY36" fmla="*/ 9904 h 10000"/>
                <a:gd name="connsiteX37" fmla="*/ 5850 w 9723"/>
                <a:gd name="connsiteY37" fmla="*/ 9904 h 10000"/>
                <a:gd name="connsiteX38" fmla="*/ 5945 w 9723"/>
                <a:gd name="connsiteY38" fmla="*/ 10000 h 10000"/>
                <a:gd name="connsiteX39" fmla="*/ 6452 w 9723"/>
                <a:gd name="connsiteY39" fmla="*/ 9871 h 10000"/>
                <a:gd name="connsiteX40" fmla="*/ 6911 w 9723"/>
                <a:gd name="connsiteY40" fmla="*/ 9871 h 10000"/>
                <a:gd name="connsiteX41" fmla="*/ 7235 w 9723"/>
                <a:gd name="connsiteY41" fmla="*/ 9743 h 10000"/>
                <a:gd name="connsiteX42" fmla="*/ 7605 w 9723"/>
                <a:gd name="connsiteY42" fmla="*/ 9486 h 10000"/>
                <a:gd name="connsiteX43" fmla="*/ 8572 w 9723"/>
                <a:gd name="connsiteY43" fmla="*/ 9486 h 10000"/>
                <a:gd name="connsiteX44" fmla="*/ 8572 w 9723"/>
                <a:gd name="connsiteY44" fmla="*/ 9132 h 10000"/>
                <a:gd name="connsiteX45" fmla="*/ 8066 w 9723"/>
                <a:gd name="connsiteY45" fmla="*/ 8971 h 10000"/>
                <a:gd name="connsiteX46" fmla="*/ 7788 w 9723"/>
                <a:gd name="connsiteY46" fmla="*/ 8457 h 10000"/>
                <a:gd name="connsiteX47" fmla="*/ 7421 w 9723"/>
                <a:gd name="connsiteY47" fmla="*/ 8264 h 10000"/>
                <a:gd name="connsiteX48" fmla="*/ 7188 w 9723"/>
                <a:gd name="connsiteY48" fmla="*/ 8006 h 10000"/>
                <a:gd name="connsiteX49" fmla="*/ 6590 w 9723"/>
                <a:gd name="connsiteY49" fmla="*/ 7814 h 10000"/>
                <a:gd name="connsiteX50" fmla="*/ 6728 w 9723"/>
                <a:gd name="connsiteY50" fmla="*/ 7749 h 10000"/>
                <a:gd name="connsiteX51" fmla="*/ 6728 w 9723"/>
                <a:gd name="connsiteY51" fmla="*/ 7588 h 10000"/>
                <a:gd name="connsiteX52" fmla="*/ 7144 w 9723"/>
                <a:gd name="connsiteY52" fmla="*/ 7588 h 10000"/>
                <a:gd name="connsiteX53" fmla="*/ 7373 w 9723"/>
                <a:gd name="connsiteY53" fmla="*/ 7460 h 10000"/>
                <a:gd name="connsiteX54" fmla="*/ 7421 w 9723"/>
                <a:gd name="connsiteY54" fmla="*/ 6527 h 10000"/>
                <a:gd name="connsiteX55" fmla="*/ 7465 w 9723"/>
                <a:gd name="connsiteY55" fmla="*/ 6559 h 10000"/>
                <a:gd name="connsiteX56" fmla="*/ 7301 w 9723"/>
                <a:gd name="connsiteY56" fmla="*/ 6618 h 10000"/>
                <a:gd name="connsiteX57" fmla="*/ 7237 w 9723"/>
                <a:gd name="connsiteY57" fmla="*/ 6745 h 10000"/>
                <a:gd name="connsiteX58" fmla="*/ 6825 w 9723"/>
                <a:gd name="connsiteY58" fmla="*/ 6497 h 10000"/>
                <a:gd name="connsiteX59" fmla="*/ 6751 w 9723"/>
                <a:gd name="connsiteY59" fmla="*/ 5828 h 10000"/>
                <a:gd name="connsiteX60" fmla="*/ 6310 w 9723"/>
                <a:gd name="connsiteY60" fmla="*/ 6118 h 10000"/>
                <a:gd name="connsiteX61" fmla="*/ 6317 w 9723"/>
                <a:gd name="connsiteY61" fmla="*/ 6462 h 10000"/>
                <a:gd name="connsiteX62" fmla="*/ 5962 w 9723"/>
                <a:gd name="connsiteY62" fmla="*/ 6670 h 10000"/>
                <a:gd name="connsiteX63" fmla="*/ 9723 w 9723"/>
                <a:gd name="connsiteY63" fmla="*/ 2347 h 10000"/>
                <a:gd name="connsiteX64" fmla="*/ 9584 w 9723"/>
                <a:gd name="connsiteY64" fmla="*/ 2219 h 10000"/>
                <a:gd name="connsiteX65" fmla="*/ 9495 w 9723"/>
                <a:gd name="connsiteY65" fmla="*/ 1736 h 10000"/>
                <a:gd name="connsiteX66" fmla="*/ 9495 w 9723"/>
                <a:gd name="connsiteY66" fmla="*/ 1061 h 10000"/>
                <a:gd name="connsiteX67" fmla="*/ 9262 w 9723"/>
                <a:gd name="connsiteY67" fmla="*/ 836 h 10000"/>
                <a:gd name="connsiteX68" fmla="*/ 9216 w 9723"/>
                <a:gd name="connsiteY68" fmla="*/ 611 h 10000"/>
                <a:gd name="connsiteX69" fmla="*/ 8848 w 9723"/>
                <a:gd name="connsiteY69" fmla="*/ 289 h 10000"/>
                <a:gd name="connsiteX70" fmla="*/ 8525 w 9723"/>
                <a:gd name="connsiteY70" fmla="*/ 161 h 10000"/>
                <a:gd name="connsiteX71" fmla="*/ 8342 w 9723"/>
                <a:gd name="connsiteY71" fmla="*/ 0 h 10000"/>
                <a:gd name="connsiteX72" fmla="*/ 8066 w 9723"/>
                <a:gd name="connsiteY72" fmla="*/ 161 h 10000"/>
                <a:gd name="connsiteX73" fmla="*/ 7880 w 9723"/>
                <a:gd name="connsiteY73" fmla="*/ 129 h 10000"/>
                <a:gd name="connsiteX74" fmla="*/ 7740 w 9723"/>
                <a:gd name="connsiteY74" fmla="*/ 418 h 10000"/>
                <a:gd name="connsiteX75" fmla="*/ 7373 w 9723"/>
                <a:gd name="connsiteY75" fmla="*/ 482 h 10000"/>
                <a:gd name="connsiteX76" fmla="*/ 7281 w 9723"/>
                <a:gd name="connsiteY76" fmla="*/ 707 h 10000"/>
                <a:gd name="connsiteX77" fmla="*/ 6958 w 9723"/>
                <a:gd name="connsiteY77" fmla="*/ 707 h 10000"/>
                <a:gd name="connsiteX78" fmla="*/ 6682 w 9723"/>
                <a:gd name="connsiteY78" fmla="*/ 611 h 10000"/>
                <a:gd name="connsiteX79" fmla="*/ 6083 w 9723"/>
                <a:gd name="connsiteY79" fmla="*/ 611 h 10000"/>
                <a:gd name="connsiteX80" fmla="*/ 5484 w 9723"/>
                <a:gd name="connsiteY80" fmla="*/ 611 h 10000"/>
                <a:gd name="connsiteX81" fmla="*/ 5530 w 9723"/>
                <a:gd name="connsiteY81" fmla="*/ 482 h 10000"/>
                <a:gd name="connsiteX82" fmla="*/ 5438 w 9723"/>
                <a:gd name="connsiteY82" fmla="*/ 482 h 10000"/>
                <a:gd name="connsiteX83" fmla="*/ 5392 w 9723"/>
                <a:gd name="connsiteY83" fmla="*/ 611 h 10000"/>
                <a:gd name="connsiteX84" fmla="*/ 4838 w 9723"/>
                <a:gd name="connsiteY84" fmla="*/ 611 h 10000"/>
                <a:gd name="connsiteX85" fmla="*/ 4287 w 9723"/>
                <a:gd name="connsiteY85" fmla="*/ 611 h 10000"/>
                <a:gd name="connsiteX86" fmla="*/ 3735 w 9723"/>
                <a:gd name="connsiteY86" fmla="*/ 611 h 10000"/>
                <a:gd name="connsiteX87" fmla="*/ 3180 w 9723"/>
                <a:gd name="connsiteY87" fmla="*/ 611 h 10000"/>
                <a:gd name="connsiteX88" fmla="*/ 2675 w 9723"/>
                <a:gd name="connsiteY88" fmla="*/ 611 h 10000"/>
                <a:gd name="connsiteX89" fmla="*/ 2122 w 9723"/>
                <a:gd name="connsiteY89" fmla="*/ 611 h 10000"/>
                <a:gd name="connsiteX90" fmla="*/ 1614 w 9723"/>
                <a:gd name="connsiteY90" fmla="*/ 611 h 10000"/>
                <a:gd name="connsiteX91" fmla="*/ 1061 w 9723"/>
                <a:gd name="connsiteY91" fmla="*/ 611 h 10000"/>
                <a:gd name="connsiteX92" fmla="*/ 1061 w 9723"/>
                <a:gd name="connsiteY92" fmla="*/ 1061 h 10000"/>
                <a:gd name="connsiteX93" fmla="*/ 1061 w 9723"/>
                <a:gd name="connsiteY93" fmla="*/ 1640 h 10000"/>
                <a:gd name="connsiteX94" fmla="*/ 370 w 9723"/>
                <a:gd name="connsiteY94" fmla="*/ 1640 h 10000"/>
                <a:gd name="connsiteX95" fmla="*/ 370 w 9723"/>
                <a:gd name="connsiteY95" fmla="*/ 1897 h 10000"/>
                <a:gd name="connsiteX0" fmla="*/ 381 w 9857"/>
                <a:gd name="connsiteY0" fmla="*/ 1897 h 10000"/>
                <a:gd name="connsiteX1" fmla="*/ 5886 w 9857"/>
                <a:gd name="connsiteY1" fmla="*/ 6915 h 10000"/>
                <a:gd name="connsiteX2" fmla="*/ 5496 w 9857"/>
                <a:gd name="connsiteY2" fmla="*/ 7114 h 10000"/>
                <a:gd name="connsiteX3" fmla="*/ 5170 w 9857"/>
                <a:gd name="connsiteY3" fmla="*/ 6907 h 10000"/>
                <a:gd name="connsiteX4" fmla="*/ 4696 w 9857"/>
                <a:gd name="connsiteY4" fmla="*/ 6781 h 10000"/>
                <a:gd name="connsiteX5" fmla="*/ 4460 w 9857"/>
                <a:gd name="connsiteY5" fmla="*/ 7064 h 10000"/>
                <a:gd name="connsiteX6" fmla="*/ 3876 w 9857"/>
                <a:gd name="connsiteY6" fmla="*/ 7281 h 10000"/>
                <a:gd name="connsiteX7" fmla="*/ 3502 w 9857"/>
                <a:gd name="connsiteY7" fmla="*/ 7279 h 10000"/>
                <a:gd name="connsiteX8" fmla="*/ 2684 w 9857"/>
                <a:gd name="connsiteY8" fmla="*/ 7095 h 10000"/>
                <a:gd name="connsiteX9" fmla="*/ 2465 w 9857"/>
                <a:gd name="connsiteY9" fmla="*/ 7195 h 10000"/>
                <a:gd name="connsiteX10" fmla="*/ 1919 w 9857"/>
                <a:gd name="connsiteY10" fmla="*/ 6973 h 10000"/>
                <a:gd name="connsiteX11" fmla="*/ 1678 w 9857"/>
                <a:gd name="connsiteY11" fmla="*/ 6638 h 10000"/>
                <a:gd name="connsiteX12" fmla="*/ 1277 w 9857"/>
                <a:gd name="connsiteY12" fmla="*/ 6729 h 10000"/>
                <a:gd name="connsiteX13" fmla="*/ 1168 w 9857"/>
                <a:gd name="connsiteY13" fmla="*/ 6927 h 10000"/>
                <a:gd name="connsiteX14" fmla="*/ 745 w 9857"/>
                <a:gd name="connsiteY14" fmla="*/ 7011 h 10000"/>
                <a:gd name="connsiteX15" fmla="*/ 465 w 9857"/>
                <a:gd name="connsiteY15" fmla="*/ 7004 h 10000"/>
                <a:gd name="connsiteX16" fmla="*/ 311 w 9857"/>
                <a:gd name="connsiteY16" fmla="*/ 7161 h 10000"/>
                <a:gd name="connsiteX17" fmla="*/ 50 w 9857"/>
                <a:gd name="connsiteY17" fmla="*/ 6913 h 10000"/>
                <a:gd name="connsiteX18" fmla="*/ 0 w 9857"/>
                <a:gd name="connsiteY18" fmla="*/ 7363 h 10000"/>
                <a:gd name="connsiteX19" fmla="*/ 95 w 9857"/>
                <a:gd name="connsiteY19" fmla="*/ 7428 h 10000"/>
                <a:gd name="connsiteX20" fmla="*/ 475 w 9857"/>
                <a:gd name="connsiteY20" fmla="*/ 7460 h 10000"/>
                <a:gd name="connsiteX21" fmla="*/ 524 w 9857"/>
                <a:gd name="connsiteY21" fmla="*/ 7588 h 10000"/>
                <a:gd name="connsiteX22" fmla="*/ 948 w 9857"/>
                <a:gd name="connsiteY22" fmla="*/ 7621 h 10000"/>
                <a:gd name="connsiteX23" fmla="*/ 1187 w 9857"/>
                <a:gd name="connsiteY23" fmla="*/ 7749 h 10000"/>
                <a:gd name="connsiteX24" fmla="*/ 1232 w 9857"/>
                <a:gd name="connsiteY24" fmla="*/ 7974 h 10000"/>
                <a:gd name="connsiteX25" fmla="*/ 1993 w 9857"/>
                <a:gd name="connsiteY25" fmla="*/ 8360 h 10000"/>
                <a:gd name="connsiteX26" fmla="*/ 2182 w 9857"/>
                <a:gd name="connsiteY26" fmla="*/ 8746 h 10000"/>
                <a:gd name="connsiteX27" fmla="*/ 2702 w 9857"/>
                <a:gd name="connsiteY27" fmla="*/ 8939 h 10000"/>
                <a:gd name="connsiteX28" fmla="*/ 2892 w 9857"/>
                <a:gd name="connsiteY28" fmla="*/ 9196 h 10000"/>
                <a:gd name="connsiteX29" fmla="*/ 3271 w 9857"/>
                <a:gd name="connsiteY29" fmla="*/ 9518 h 10000"/>
                <a:gd name="connsiteX30" fmla="*/ 3557 w 9857"/>
                <a:gd name="connsiteY30" fmla="*/ 9614 h 10000"/>
                <a:gd name="connsiteX31" fmla="*/ 3746 w 9857"/>
                <a:gd name="connsiteY31" fmla="*/ 9518 h 10000"/>
                <a:gd name="connsiteX32" fmla="*/ 4219 w 9857"/>
                <a:gd name="connsiteY32" fmla="*/ 9550 h 10000"/>
                <a:gd name="connsiteX33" fmla="*/ 4409 w 9857"/>
                <a:gd name="connsiteY33" fmla="*/ 9486 h 10000"/>
                <a:gd name="connsiteX34" fmla="*/ 5261 w 9857"/>
                <a:gd name="connsiteY34" fmla="*/ 9968 h 10000"/>
                <a:gd name="connsiteX35" fmla="*/ 5310 w 9857"/>
                <a:gd name="connsiteY35" fmla="*/ 9968 h 10000"/>
                <a:gd name="connsiteX36" fmla="*/ 5404 w 9857"/>
                <a:gd name="connsiteY36" fmla="*/ 9904 h 10000"/>
                <a:gd name="connsiteX37" fmla="*/ 6017 w 9857"/>
                <a:gd name="connsiteY37" fmla="*/ 9904 h 10000"/>
                <a:gd name="connsiteX38" fmla="*/ 6114 w 9857"/>
                <a:gd name="connsiteY38" fmla="*/ 10000 h 10000"/>
                <a:gd name="connsiteX39" fmla="*/ 6636 w 9857"/>
                <a:gd name="connsiteY39" fmla="*/ 9871 h 10000"/>
                <a:gd name="connsiteX40" fmla="*/ 7108 w 9857"/>
                <a:gd name="connsiteY40" fmla="*/ 9871 h 10000"/>
                <a:gd name="connsiteX41" fmla="*/ 7441 w 9857"/>
                <a:gd name="connsiteY41" fmla="*/ 9743 h 10000"/>
                <a:gd name="connsiteX42" fmla="*/ 7822 w 9857"/>
                <a:gd name="connsiteY42" fmla="*/ 9486 h 10000"/>
                <a:gd name="connsiteX43" fmla="*/ 8816 w 9857"/>
                <a:gd name="connsiteY43" fmla="*/ 9486 h 10000"/>
                <a:gd name="connsiteX44" fmla="*/ 8816 w 9857"/>
                <a:gd name="connsiteY44" fmla="*/ 9132 h 10000"/>
                <a:gd name="connsiteX45" fmla="*/ 8296 w 9857"/>
                <a:gd name="connsiteY45" fmla="*/ 8971 h 10000"/>
                <a:gd name="connsiteX46" fmla="*/ 8010 w 9857"/>
                <a:gd name="connsiteY46" fmla="*/ 8457 h 10000"/>
                <a:gd name="connsiteX47" fmla="*/ 7632 w 9857"/>
                <a:gd name="connsiteY47" fmla="*/ 8264 h 10000"/>
                <a:gd name="connsiteX48" fmla="*/ 7393 w 9857"/>
                <a:gd name="connsiteY48" fmla="*/ 8006 h 10000"/>
                <a:gd name="connsiteX49" fmla="*/ 6778 w 9857"/>
                <a:gd name="connsiteY49" fmla="*/ 7814 h 10000"/>
                <a:gd name="connsiteX50" fmla="*/ 6920 w 9857"/>
                <a:gd name="connsiteY50" fmla="*/ 7749 h 10000"/>
                <a:gd name="connsiteX51" fmla="*/ 6920 w 9857"/>
                <a:gd name="connsiteY51" fmla="*/ 7588 h 10000"/>
                <a:gd name="connsiteX52" fmla="*/ 7348 w 9857"/>
                <a:gd name="connsiteY52" fmla="*/ 7588 h 10000"/>
                <a:gd name="connsiteX53" fmla="*/ 7583 w 9857"/>
                <a:gd name="connsiteY53" fmla="*/ 7460 h 10000"/>
                <a:gd name="connsiteX54" fmla="*/ 7632 w 9857"/>
                <a:gd name="connsiteY54" fmla="*/ 6527 h 10000"/>
                <a:gd name="connsiteX55" fmla="*/ 7678 w 9857"/>
                <a:gd name="connsiteY55" fmla="*/ 6559 h 10000"/>
                <a:gd name="connsiteX56" fmla="*/ 7509 w 9857"/>
                <a:gd name="connsiteY56" fmla="*/ 6618 h 10000"/>
                <a:gd name="connsiteX57" fmla="*/ 7443 w 9857"/>
                <a:gd name="connsiteY57" fmla="*/ 6745 h 10000"/>
                <a:gd name="connsiteX58" fmla="*/ 7019 w 9857"/>
                <a:gd name="connsiteY58" fmla="*/ 6497 h 10000"/>
                <a:gd name="connsiteX59" fmla="*/ 6943 w 9857"/>
                <a:gd name="connsiteY59" fmla="*/ 5828 h 10000"/>
                <a:gd name="connsiteX60" fmla="*/ 6490 w 9857"/>
                <a:gd name="connsiteY60" fmla="*/ 6118 h 10000"/>
                <a:gd name="connsiteX61" fmla="*/ 6497 w 9857"/>
                <a:gd name="connsiteY61" fmla="*/ 6462 h 10000"/>
                <a:gd name="connsiteX62" fmla="*/ 6132 w 9857"/>
                <a:gd name="connsiteY62" fmla="*/ 6670 h 10000"/>
                <a:gd name="connsiteX63" fmla="*/ 9857 w 9857"/>
                <a:gd name="connsiteY63" fmla="*/ 2219 h 10000"/>
                <a:gd name="connsiteX64" fmla="*/ 9766 w 9857"/>
                <a:gd name="connsiteY64" fmla="*/ 1736 h 10000"/>
                <a:gd name="connsiteX65" fmla="*/ 9766 w 9857"/>
                <a:gd name="connsiteY65" fmla="*/ 1061 h 10000"/>
                <a:gd name="connsiteX66" fmla="*/ 9526 w 9857"/>
                <a:gd name="connsiteY66" fmla="*/ 836 h 10000"/>
                <a:gd name="connsiteX67" fmla="*/ 9479 w 9857"/>
                <a:gd name="connsiteY67" fmla="*/ 611 h 10000"/>
                <a:gd name="connsiteX68" fmla="*/ 9100 w 9857"/>
                <a:gd name="connsiteY68" fmla="*/ 289 h 10000"/>
                <a:gd name="connsiteX69" fmla="*/ 8768 w 9857"/>
                <a:gd name="connsiteY69" fmla="*/ 161 h 10000"/>
                <a:gd name="connsiteX70" fmla="*/ 8580 w 9857"/>
                <a:gd name="connsiteY70" fmla="*/ 0 h 10000"/>
                <a:gd name="connsiteX71" fmla="*/ 8296 w 9857"/>
                <a:gd name="connsiteY71" fmla="*/ 161 h 10000"/>
                <a:gd name="connsiteX72" fmla="*/ 8104 w 9857"/>
                <a:gd name="connsiteY72" fmla="*/ 129 h 10000"/>
                <a:gd name="connsiteX73" fmla="*/ 7961 w 9857"/>
                <a:gd name="connsiteY73" fmla="*/ 418 h 10000"/>
                <a:gd name="connsiteX74" fmla="*/ 7583 w 9857"/>
                <a:gd name="connsiteY74" fmla="*/ 482 h 10000"/>
                <a:gd name="connsiteX75" fmla="*/ 7488 w 9857"/>
                <a:gd name="connsiteY75" fmla="*/ 707 h 10000"/>
                <a:gd name="connsiteX76" fmla="*/ 7156 w 9857"/>
                <a:gd name="connsiteY76" fmla="*/ 707 h 10000"/>
                <a:gd name="connsiteX77" fmla="*/ 6872 w 9857"/>
                <a:gd name="connsiteY77" fmla="*/ 611 h 10000"/>
                <a:gd name="connsiteX78" fmla="*/ 6256 w 9857"/>
                <a:gd name="connsiteY78" fmla="*/ 611 h 10000"/>
                <a:gd name="connsiteX79" fmla="*/ 5640 w 9857"/>
                <a:gd name="connsiteY79" fmla="*/ 611 h 10000"/>
                <a:gd name="connsiteX80" fmla="*/ 5688 w 9857"/>
                <a:gd name="connsiteY80" fmla="*/ 482 h 10000"/>
                <a:gd name="connsiteX81" fmla="*/ 5593 w 9857"/>
                <a:gd name="connsiteY81" fmla="*/ 482 h 10000"/>
                <a:gd name="connsiteX82" fmla="*/ 5546 w 9857"/>
                <a:gd name="connsiteY82" fmla="*/ 611 h 10000"/>
                <a:gd name="connsiteX83" fmla="*/ 4976 w 9857"/>
                <a:gd name="connsiteY83" fmla="*/ 611 h 10000"/>
                <a:gd name="connsiteX84" fmla="*/ 4409 w 9857"/>
                <a:gd name="connsiteY84" fmla="*/ 611 h 10000"/>
                <a:gd name="connsiteX85" fmla="*/ 3841 w 9857"/>
                <a:gd name="connsiteY85" fmla="*/ 611 h 10000"/>
                <a:gd name="connsiteX86" fmla="*/ 3271 w 9857"/>
                <a:gd name="connsiteY86" fmla="*/ 611 h 10000"/>
                <a:gd name="connsiteX87" fmla="*/ 2751 w 9857"/>
                <a:gd name="connsiteY87" fmla="*/ 611 h 10000"/>
                <a:gd name="connsiteX88" fmla="*/ 2182 w 9857"/>
                <a:gd name="connsiteY88" fmla="*/ 611 h 10000"/>
                <a:gd name="connsiteX89" fmla="*/ 1660 w 9857"/>
                <a:gd name="connsiteY89" fmla="*/ 611 h 10000"/>
                <a:gd name="connsiteX90" fmla="*/ 1091 w 9857"/>
                <a:gd name="connsiteY90" fmla="*/ 611 h 10000"/>
                <a:gd name="connsiteX91" fmla="*/ 1091 w 9857"/>
                <a:gd name="connsiteY91" fmla="*/ 1061 h 10000"/>
                <a:gd name="connsiteX92" fmla="*/ 1091 w 9857"/>
                <a:gd name="connsiteY92" fmla="*/ 1640 h 10000"/>
                <a:gd name="connsiteX93" fmla="*/ 381 w 9857"/>
                <a:gd name="connsiteY93" fmla="*/ 1640 h 10000"/>
                <a:gd name="connsiteX94" fmla="*/ 381 w 9857"/>
                <a:gd name="connsiteY94" fmla="*/ 1897 h 10000"/>
                <a:gd name="connsiteX0" fmla="*/ 387 w 9908"/>
                <a:gd name="connsiteY0" fmla="*/ 1897 h 10000"/>
                <a:gd name="connsiteX1" fmla="*/ 5971 w 9908"/>
                <a:gd name="connsiteY1" fmla="*/ 6915 h 10000"/>
                <a:gd name="connsiteX2" fmla="*/ 5576 w 9908"/>
                <a:gd name="connsiteY2" fmla="*/ 7114 h 10000"/>
                <a:gd name="connsiteX3" fmla="*/ 5245 w 9908"/>
                <a:gd name="connsiteY3" fmla="*/ 6907 h 10000"/>
                <a:gd name="connsiteX4" fmla="*/ 4764 w 9908"/>
                <a:gd name="connsiteY4" fmla="*/ 6781 h 10000"/>
                <a:gd name="connsiteX5" fmla="*/ 4525 w 9908"/>
                <a:gd name="connsiteY5" fmla="*/ 7064 h 10000"/>
                <a:gd name="connsiteX6" fmla="*/ 3932 w 9908"/>
                <a:gd name="connsiteY6" fmla="*/ 7281 h 10000"/>
                <a:gd name="connsiteX7" fmla="*/ 3553 w 9908"/>
                <a:gd name="connsiteY7" fmla="*/ 7279 h 10000"/>
                <a:gd name="connsiteX8" fmla="*/ 2723 w 9908"/>
                <a:gd name="connsiteY8" fmla="*/ 7095 h 10000"/>
                <a:gd name="connsiteX9" fmla="*/ 2501 w 9908"/>
                <a:gd name="connsiteY9" fmla="*/ 7195 h 10000"/>
                <a:gd name="connsiteX10" fmla="*/ 1947 w 9908"/>
                <a:gd name="connsiteY10" fmla="*/ 6973 h 10000"/>
                <a:gd name="connsiteX11" fmla="*/ 1702 w 9908"/>
                <a:gd name="connsiteY11" fmla="*/ 6638 h 10000"/>
                <a:gd name="connsiteX12" fmla="*/ 1296 w 9908"/>
                <a:gd name="connsiteY12" fmla="*/ 6729 h 10000"/>
                <a:gd name="connsiteX13" fmla="*/ 1185 w 9908"/>
                <a:gd name="connsiteY13" fmla="*/ 6927 h 10000"/>
                <a:gd name="connsiteX14" fmla="*/ 756 w 9908"/>
                <a:gd name="connsiteY14" fmla="*/ 7011 h 10000"/>
                <a:gd name="connsiteX15" fmla="*/ 472 w 9908"/>
                <a:gd name="connsiteY15" fmla="*/ 7004 h 10000"/>
                <a:gd name="connsiteX16" fmla="*/ 316 w 9908"/>
                <a:gd name="connsiteY16" fmla="*/ 7161 h 10000"/>
                <a:gd name="connsiteX17" fmla="*/ 51 w 9908"/>
                <a:gd name="connsiteY17" fmla="*/ 6913 h 10000"/>
                <a:gd name="connsiteX18" fmla="*/ 0 w 9908"/>
                <a:gd name="connsiteY18" fmla="*/ 7363 h 10000"/>
                <a:gd name="connsiteX19" fmla="*/ 96 w 9908"/>
                <a:gd name="connsiteY19" fmla="*/ 7428 h 10000"/>
                <a:gd name="connsiteX20" fmla="*/ 482 w 9908"/>
                <a:gd name="connsiteY20" fmla="*/ 7460 h 10000"/>
                <a:gd name="connsiteX21" fmla="*/ 532 w 9908"/>
                <a:gd name="connsiteY21" fmla="*/ 7588 h 10000"/>
                <a:gd name="connsiteX22" fmla="*/ 962 w 9908"/>
                <a:gd name="connsiteY22" fmla="*/ 7621 h 10000"/>
                <a:gd name="connsiteX23" fmla="*/ 1204 w 9908"/>
                <a:gd name="connsiteY23" fmla="*/ 7749 h 10000"/>
                <a:gd name="connsiteX24" fmla="*/ 1250 w 9908"/>
                <a:gd name="connsiteY24" fmla="*/ 7974 h 10000"/>
                <a:gd name="connsiteX25" fmla="*/ 2022 w 9908"/>
                <a:gd name="connsiteY25" fmla="*/ 8360 h 10000"/>
                <a:gd name="connsiteX26" fmla="*/ 2214 w 9908"/>
                <a:gd name="connsiteY26" fmla="*/ 8746 h 10000"/>
                <a:gd name="connsiteX27" fmla="*/ 2741 w 9908"/>
                <a:gd name="connsiteY27" fmla="*/ 8939 h 10000"/>
                <a:gd name="connsiteX28" fmla="*/ 2934 w 9908"/>
                <a:gd name="connsiteY28" fmla="*/ 9196 h 10000"/>
                <a:gd name="connsiteX29" fmla="*/ 3318 w 9908"/>
                <a:gd name="connsiteY29" fmla="*/ 9518 h 10000"/>
                <a:gd name="connsiteX30" fmla="*/ 3609 w 9908"/>
                <a:gd name="connsiteY30" fmla="*/ 9614 h 10000"/>
                <a:gd name="connsiteX31" fmla="*/ 3800 w 9908"/>
                <a:gd name="connsiteY31" fmla="*/ 9518 h 10000"/>
                <a:gd name="connsiteX32" fmla="*/ 4280 w 9908"/>
                <a:gd name="connsiteY32" fmla="*/ 9550 h 10000"/>
                <a:gd name="connsiteX33" fmla="*/ 4473 w 9908"/>
                <a:gd name="connsiteY33" fmla="*/ 9486 h 10000"/>
                <a:gd name="connsiteX34" fmla="*/ 5337 w 9908"/>
                <a:gd name="connsiteY34" fmla="*/ 9968 h 10000"/>
                <a:gd name="connsiteX35" fmla="*/ 5387 w 9908"/>
                <a:gd name="connsiteY35" fmla="*/ 9968 h 10000"/>
                <a:gd name="connsiteX36" fmla="*/ 5482 w 9908"/>
                <a:gd name="connsiteY36" fmla="*/ 9904 h 10000"/>
                <a:gd name="connsiteX37" fmla="*/ 6104 w 9908"/>
                <a:gd name="connsiteY37" fmla="*/ 9904 h 10000"/>
                <a:gd name="connsiteX38" fmla="*/ 6203 w 9908"/>
                <a:gd name="connsiteY38" fmla="*/ 10000 h 10000"/>
                <a:gd name="connsiteX39" fmla="*/ 6732 w 9908"/>
                <a:gd name="connsiteY39" fmla="*/ 9871 h 10000"/>
                <a:gd name="connsiteX40" fmla="*/ 7211 w 9908"/>
                <a:gd name="connsiteY40" fmla="*/ 9871 h 10000"/>
                <a:gd name="connsiteX41" fmla="*/ 7549 w 9908"/>
                <a:gd name="connsiteY41" fmla="*/ 9743 h 10000"/>
                <a:gd name="connsiteX42" fmla="*/ 7935 w 9908"/>
                <a:gd name="connsiteY42" fmla="*/ 9486 h 10000"/>
                <a:gd name="connsiteX43" fmla="*/ 8944 w 9908"/>
                <a:gd name="connsiteY43" fmla="*/ 9486 h 10000"/>
                <a:gd name="connsiteX44" fmla="*/ 8944 w 9908"/>
                <a:gd name="connsiteY44" fmla="*/ 9132 h 10000"/>
                <a:gd name="connsiteX45" fmla="*/ 8416 w 9908"/>
                <a:gd name="connsiteY45" fmla="*/ 8971 h 10000"/>
                <a:gd name="connsiteX46" fmla="*/ 8126 w 9908"/>
                <a:gd name="connsiteY46" fmla="*/ 8457 h 10000"/>
                <a:gd name="connsiteX47" fmla="*/ 7743 w 9908"/>
                <a:gd name="connsiteY47" fmla="*/ 8264 h 10000"/>
                <a:gd name="connsiteX48" fmla="*/ 7500 w 9908"/>
                <a:gd name="connsiteY48" fmla="*/ 8006 h 10000"/>
                <a:gd name="connsiteX49" fmla="*/ 6876 w 9908"/>
                <a:gd name="connsiteY49" fmla="*/ 7814 h 10000"/>
                <a:gd name="connsiteX50" fmla="*/ 7020 w 9908"/>
                <a:gd name="connsiteY50" fmla="*/ 7749 h 10000"/>
                <a:gd name="connsiteX51" fmla="*/ 7020 w 9908"/>
                <a:gd name="connsiteY51" fmla="*/ 7588 h 10000"/>
                <a:gd name="connsiteX52" fmla="*/ 7455 w 9908"/>
                <a:gd name="connsiteY52" fmla="*/ 7588 h 10000"/>
                <a:gd name="connsiteX53" fmla="*/ 7693 w 9908"/>
                <a:gd name="connsiteY53" fmla="*/ 7460 h 10000"/>
                <a:gd name="connsiteX54" fmla="*/ 7743 w 9908"/>
                <a:gd name="connsiteY54" fmla="*/ 6527 h 10000"/>
                <a:gd name="connsiteX55" fmla="*/ 7789 w 9908"/>
                <a:gd name="connsiteY55" fmla="*/ 6559 h 10000"/>
                <a:gd name="connsiteX56" fmla="*/ 7618 w 9908"/>
                <a:gd name="connsiteY56" fmla="*/ 6618 h 10000"/>
                <a:gd name="connsiteX57" fmla="*/ 7551 w 9908"/>
                <a:gd name="connsiteY57" fmla="*/ 6745 h 10000"/>
                <a:gd name="connsiteX58" fmla="*/ 7121 w 9908"/>
                <a:gd name="connsiteY58" fmla="*/ 6497 h 10000"/>
                <a:gd name="connsiteX59" fmla="*/ 7044 w 9908"/>
                <a:gd name="connsiteY59" fmla="*/ 5828 h 10000"/>
                <a:gd name="connsiteX60" fmla="*/ 6584 w 9908"/>
                <a:gd name="connsiteY60" fmla="*/ 6118 h 10000"/>
                <a:gd name="connsiteX61" fmla="*/ 6591 w 9908"/>
                <a:gd name="connsiteY61" fmla="*/ 6462 h 10000"/>
                <a:gd name="connsiteX62" fmla="*/ 6221 w 9908"/>
                <a:gd name="connsiteY62" fmla="*/ 6670 h 10000"/>
                <a:gd name="connsiteX63" fmla="*/ 9908 w 9908"/>
                <a:gd name="connsiteY63" fmla="*/ 1736 h 10000"/>
                <a:gd name="connsiteX64" fmla="*/ 9908 w 9908"/>
                <a:gd name="connsiteY64" fmla="*/ 1061 h 10000"/>
                <a:gd name="connsiteX65" fmla="*/ 9664 w 9908"/>
                <a:gd name="connsiteY65" fmla="*/ 836 h 10000"/>
                <a:gd name="connsiteX66" fmla="*/ 9617 w 9908"/>
                <a:gd name="connsiteY66" fmla="*/ 611 h 10000"/>
                <a:gd name="connsiteX67" fmla="*/ 9232 w 9908"/>
                <a:gd name="connsiteY67" fmla="*/ 289 h 10000"/>
                <a:gd name="connsiteX68" fmla="*/ 8895 w 9908"/>
                <a:gd name="connsiteY68" fmla="*/ 161 h 10000"/>
                <a:gd name="connsiteX69" fmla="*/ 8704 w 9908"/>
                <a:gd name="connsiteY69" fmla="*/ 0 h 10000"/>
                <a:gd name="connsiteX70" fmla="*/ 8416 w 9908"/>
                <a:gd name="connsiteY70" fmla="*/ 161 h 10000"/>
                <a:gd name="connsiteX71" fmla="*/ 8222 w 9908"/>
                <a:gd name="connsiteY71" fmla="*/ 129 h 10000"/>
                <a:gd name="connsiteX72" fmla="*/ 8076 w 9908"/>
                <a:gd name="connsiteY72" fmla="*/ 418 h 10000"/>
                <a:gd name="connsiteX73" fmla="*/ 7693 w 9908"/>
                <a:gd name="connsiteY73" fmla="*/ 482 h 10000"/>
                <a:gd name="connsiteX74" fmla="*/ 7597 w 9908"/>
                <a:gd name="connsiteY74" fmla="*/ 707 h 10000"/>
                <a:gd name="connsiteX75" fmla="*/ 7260 w 9908"/>
                <a:gd name="connsiteY75" fmla="*/ 707 h 10000"/>
                <a:gd name="connsiteX76" fmla="*/ 6972 w 9908"/>
                <a:gd name="connsiteY76" fmla="*/ 611 h 10000"/>
                <a:gd name="connsiteX77" fmla="*/ 6347 w 9908"/>
                <a:gd name="connsiteY77" fmla="*/ 611 h 10000"/>
                <a:gd name="connsiteX78" fmla="*/ 5722 w 9908"/>
                <a:gd name="connsiteY78" fmla="*/ 611 h 10000"/>
                <a:gd name="connsiteX79" fmla="*/ 5771 w 9908"/>
                <a:gd name="connsiteY79" fmla="*/ 482 h 10000"/>
                <a:gd name="connsiteX80" fmla="*/ 5674 w 9908"/>
                <a:gd name="connsiteY80" fmla="*/ 482 h 10000"/>
                <a:gd name="connsiteX81" fmla="*/ 5626 w 9908"/>
                <a:gd name="connsiteY81" fmla="*/ 611 h 10000"/>
                <a:gd name="connsiteX82" fmla="*/ 5048 w 9908"/>
                <a:gd name="connsiteY82" fmla="*/ 611 h 10000"/>
                <a:gd name="connsiteX83" fmla="*/ 4473 w 9908"/>
                <a:gd name="connsiteY83" fmla="*/ 611 h 10000"/>
                <a:gd name="connsiteX84" fmla="*/ 3897 w 9908"/>
                <a:gd name="connsiteY84" fmla="*/ 611 h 10000"/>
                <a:gd name="connsiteX85" fmla="*/ 3318 w 9908"/>
                <a:gd name="connsiteY85" fmla="*/ 611 h 10000"/>
                <a:gd name="connsiteX86" fmla="*/ 2791 w 9908"/>
                <a:gd name="connsiteY86" fmla="*/ 611 h 10000"/>
                <a:gd name="connsiteX87" fmla="*/ 2214 w 9908"/>
                <a:gd name="connsiteY87" fmla="*/ 611 h 10000"/>
                <a:gd name="connsiteX88" fmla="*/ 1684 w 9908"/>
                <a:gd name="connsiteY88" fmla="*/ 611 h 10000"/>
                <a:gd name="connsiteX89" fmla="*/ 1107 w 9908"/>
                <a:gd name="connsiteY89" fmla="*/ 611 h 10000"/>
                <a:gd name="connsiteX90" fmla="*/ 1107 w 9908"/>
                <a:gd name="connsiteY90" fmla="*/ 1061 h 10000"/>
                <a:gd name="connsiteX91" fmla="*/ 1107 w 9908"/>
                <a:gd name="connsiteY91" fmla="*/ 1640 h 10000"/>
                <a:gd name="connsiteX92" fmla="*/ 387 w 9908"/>
                <a:gd name="connsiteY92" fmla="*/ 1640 h 10000"/>
                <a:gd name="connsiteX93" fmla="*/ 387 w 9908"/>
                <a:gd name="connsiteY93" fmla="*/ 1897 h 10000"/>
                <a:gd name="connsiteX0" fmla="*/ 391 w 10000"/>
                <a:gd name="connsiteY0" fmla="*/ 1897 h 10000"/>
                <a:gd name="connsiteX1" fmla="*/ 6026 w 10000"/>
                <a:gd name="connsiteY1" fmla="*/ 6915 h 10000"/>
                <a:gd name="connsiteX2" fmla="*/ 5628 w 10000"/>
                <a:gd name="connsiteY2" fmla="*/ 7114 h 10000"/>
                <a:gd name="connsiteX3" fmla="*/ 5294 w 10000"/>
                <a:gd name="connsiteY3" fmla="*/ 6907 h 10000"/>
                <a:gd name="connsiteX4" fmla="*/ 4808 w 10000"/>
                <a:gd name="connsiteY4" fmla="*/ 6781 h 10000"/>
                <a:gd name="connsiteX5" fmla="*/ 4567 w 10000"/>
                <a:gd name="connsiteY5" fmla="*/ 7064 h 10000"/>
                <a:gd name="connsiteX6" fmla="*/ 3969 w 10000"/>
                <a:gd name="connsiteY6" fmla="*/ 7281 h 10000"/>
                <a:gd name="connsiteX7" fmla="*/ 3586 w 10000"/>
                <a:gd name="connsiteY7" fmla="*/ 7279 h 10000"/>
                <a:gd name="connsiteX8" fmla="*/ 2748 w 10000"/>
                <a:gd name="connsiteY8" fmla="*/ 7095 h 10000"/>
                <a:gd name="connsiteX9" fmla="*/ 2524 w 10000"/>
                <a:gd name="connsiteY9" fmla="*/ 7195 h 10000"/>
                <a:gd name="connsiteX10" fmla="*/ 1965 w 10000"/>
                <a:gd name="connsiteY10" fmla="*/ 6973 h 10000"/>
                <a:gd name="connsiteX11" fmla="*/ 1718 w 10000"/>
                <a:gd name="connsiteY11" fmla="*/ 6638 h 10000"/>
                <a:gd name="connsiteX12" fmla="*/ 1308 w 10000"/>
                <a:gd name="connsiteY12" fmla="*/ 6729 h 10000"/>
                <a:gd name="connsiteX13" fmla="*/ 1196 w 10000"/>
                <a:gd name="connsiteY13" fmla="*/ 6927 h 10000"/>
                <a:gd name="connsiteX14" fmla="*/ 763 w 10000"/>
                <a:gd name="connsiteY14" fmla="*/ 7011 h 10000"/>
                <a:gd name="connsiteX15" fmla="*/ 476 w 10000"/>
                <a:gd name="connsiteY15" fmla="*/ 7004 h 10000"/>
                <a:gd name="connsiteX16" fmla="*/ 319 w 10000"/>
                <a:gd name="connsiteY16" fmla="*/ 7161 h 10000"/>
                <a:gd name="connsiteX17" fmla="*/ 51 w 10000"/>
                <a:gd name="connsiteY17" fmla="*/ 6913 h 10000"/>
                <a:gd name="connsiteX18" fmla="*/ 0 w 10000"/>
                <a:gd name="connsiteY18" fmla="*/ 7363 h 10000"/>
                <a:gd name="connsiteX19" fmla="*/ 97 w 10000"/>
                <a:gd name="connsiteY19" fmla="*/ 7428 h 10000"/>
                <a:gd name="connsiteX20" fmla="*/ 486 w 10000"/>
                <a:gd name="connsiteY20" fmla="*/ 7460 h 10000"/>
                <a:gd name="connsiteX21" fmla="*/ 537 w 10000"/>
                <a:gd name="connsiteY21" fmla="*/ 7588 h 10000"/>
                <a:gd name="connsiteX22" fmla="*/ 971 w 10000"/>
                <a:gd name="connsiteY22" fmla="*/ 7621 h 10000"/>
                <a:gd name="connsiteX23" fmla="*/ 1215 w 10000"/>
                <a:gd name="connsiteY23" fmla="*/ 7749 h 10000"/>
                <a:gd name="connsiteX24" fmla="*/ 1262 w 10000"/>
                <a:gd name="connsiteY24" fmla="*/ 7974 h 10000"/>
                <a:gd name="connsiteX25" fmla="*/ 2041 w 10000"/>
                <a:gd name="connsiteY25" fmla="*/ 8360 h 10000"/>
                <a:gd name="connsiteX26" fmla="*/ 2235 w 10000"/>
                <a:gd name="connsiteY26" fmla="*/ 8746 h 10000"/>
                <a:gd name="connsiteX27" fmla="*/ 2766 w 10000"/>
                <a:gd name="connsiteY27" fmla="*/ 8939 h 10000"/>
                <a:gd name="connsiteX28" fmla="*/ 2961 w 10000"/>
                <a:gd name="connsiteY28" fmla="*/ 9196 h 10000"/>
                <a:gd name="connsiteX29" fmla="*/ 3349 w 10000"/>
                <a:gd name="connsiteY29" fmla="*/ 9518 h 10000"/>
                <a:gd name="connsiteX30" fmla="*/ 3643 w 10000"/>
                <a:gd name="connsiteY30" fmla="*/ 9614 h 10000"/>
                <a:gd name="connsiteX31" fmla="*/ 3835 w 10000"/>
                <a:gd name="connsiteY31" fmla="*/ 9518 h 10000"/>
                <a:gd name="connsiteX32" fmla="*/ 4320 w 10000"/>
                <a:gd name="connsiteY32" fmla="*/ 9550 h 10000"/>
                <a:gd name="connsiteX33" fmla="*/ 4515 w 10000"/>
                <a:gd name="connsiteY33" fmla="*/ 9486 h 10000"/>
                <a:gd name="connsiteX34" fmla="*/ 5387 w 10000"/>
                <a:gd name="connsiteY34" fmla="*/ 9968 h 10000"/>
                <a:gd name="connsiteX35" fmla="*/ 5437 w 10000"/>
                <a:gd name="connsiteY35" fmla="*/ 9968 h 10000"/>
                <a:gd name="connsiteX36" fmla="*/ 5533 w 10000"/>
                <a:gd name="connsiteY36" fmla="*/ 9904 h 10000"/>
                <a:gd name="connsiteX37" fmla="*/ 6161 w 10000"/>
                <a:gd name="connsiteY37" fmla="*/ 9904 h 10000"/>
                <a:gd name="connsiteX38" fmla="*/ 6261 w 10000"/>
                <a:gd name="connsiteY38" fmla="*/ 10000 h 10000"/>
                <a:gd name="connsiteX39" fmla="*/ 6795 w 10000"/>
                <a:gd name="connsiteY39" fmla="*/ 9871 h 10000"/>
                <a:gd name="connsiteX40" fmla="*/ 7278 w 10000"/>
                <a:gd name="connsiteY40" fmla="*/ 9871 h 10000"/>
                <a:gd name="connsiteX41" fmla="*/ 7619 w 10000"/>
                <a:gd name="connsiteY41" fmla="*/ 9743 h 10000"/>
                <a:gd name="connsiteX42" fmla="*/ 8009 w 10000"/>
                <a:gd name="connsiteY42" fmla="*/ 9486 h 10000"/>
                <a:gd name="connsiteX43" fmla="*/ 9027 w 10000"/>
                <a:gd name="connsiteY43" fmla="*/ 9486 h 10000"/>
                <a:gd name="connsiteX44" fmla="*/ 9027 w 10000"/>
                <a:gd name="connsiteY44" fmla="*/ 9132 h 10000"/>
                <a:gd name="connsiteX45" fmla="*/ 8494 w 10000"/>
                <a:gd name="connsiteY45" fmla="*/ 8971 h 10000"/>
                <a:gd name="connsiteX46" fmla="*/ 8201 w 10000"/>
                <a:gd name="connsiteY46" fmla="*/ 8457 h 10000"/>
                <a:gd name="connsiteX47" fmla="*/ 7815 w 10000"/>
                <a:gd name="connsiteY47" fmla="*/ 8264 h 10000"/>
                <a:gd name="connsiteX48" fmla="*/ 7570 w 10000"/>
                <a:gd name="connsiteY48" fmla="*/ 8006 h 10000"/>
                <a:gd name="connsiteX49" fmla="*/ 6940 w 10000"/>
                <a:gd name="connsiteY49" fmla="*/ 7814 h 10000"/>
                <a:gd name="connsiteX50" fmla="*/ 7085 w 10000"/>
                <a:gd name="connsiteY50" fmla="*/ 7749 h 10000"/>
                <a:gd name="connsiteX51" fmla="*/ 7085 w 10000"/>
                <a:gd name="connsiteY51" fmla="*/ 7588 h 10000"/>
                <a:gd name="connsiteX52" fmla="*/ 7524 w 10000"/>
                <a:gd name="connsiteY52" fmla="*/ 7588 h 10000"/>
                <a:gd name="connsiteX53" fmla="*/ 7764 w 10000"/>
                <a:gd name="connsiteY53" fmla="*/ 7460 h 10000"/>
                <a:gd name="connsiteX54" fmla="*/ 7815 w 10000"/>
                <a:gd name="connsiteY54" fmla="*/ 6527 h 10000"/>
                <a:gd name="connsiteX55" fmla="*/ 7861 w 10000"/>
                <a:gd name="connsiteY55" fmla="*/ 6559 h 10000"/>
                <a:gd name="connsiteX56" fmla="*/ 7689 w 10000"/>
                <a:gd name="connsiteY56" fmla="*/ 6618 h 10000"/>
                <a:gd name="connsiteX57" fmla="*/ 7621 w 10000"/>
                <a:gd name="connsiteY57" fmla="*/ 6745 h 10000"/>
                <a:gd name="connsiteX58" fmla="*/ 7187 w 10000"/>
                <a:gd name="connsiteY58" fmla="*/ 6497 h 10000"/>
                <a:gd name="connsiteX59" fmla="*/ 7109 w 10000"/>
                <a:gd name="connsiteY59" fmla="*/ 5828 h 10000"/>
                <a:gd name="connsiteX60" fmla="*/ 6645 w 10000"/>
                <a:gd name="connsiteY60" fmla="*/ 6118 h 10000"/>
                <a:gd name="connsiteX61" fmla="*/ 6652 w 10000"/>
                <a:gd name="connsiteY61" fmla="*/ 6462 h 10000"/>
                <a:gd name="connsiteX62" fmla="*/ 6279 w 10000"/>
                <a:gd name="connsiteY62" fmla="*/ 6670 h 10000"/>
                <a:gd name="connsiteX63" fmla="*/ 10000 w 10000"/>
                <a:gd name="connsiteY63" fmla="*/ 1061 h 10000"/>
                <a:gd name="connsiteX64" fmla="*/ 9754 w 10000"/>
                <a:gd name="connsiteY64" fmla="*/ 836 h 10000"/>
                <a:gd name="connsiteX65" fmla="*/ 9706 w 10000"/>
                <a:gd name="connsiteY65" fmla="*/ 611 h 10000"/>
                <a:gd name="connsiteX66" fmla="*/ 9318 w 10000"/>
                <a:gd name="connsiteY66" fmla="*/ 289 h 10000"/>
                <a:gd name="connsiteX67" fmla="*/ 8978 w 10000"/>
                <a:gd name="connsiteY67" fmla="*/ 161 h 10000"/>
                <a:gd name="connsiteX68" fmla="*/ 8785 w 10000"/>
                <a:gd name="connsiteY68" fmla="*/ 0 h 10000"/>
                <a:gd name="connsiteX69" fmla="*/ 8494 w 10000"/>
                <a:gd name="connsiteY69" fmla="*/ 161 h 10000"/>
                <a:gd name="connsiteX70" fmla="*/ 8298 w 10000"/>
                <a:gd name="connsiteY70" fmla="*/ 129 h 10000"/>
                <a:gd name="connsiteX71" fmla="*/ 8151 w 10000"/>
                <a:gd name="connsiteY71" fmla="*/ 418 h 10000"/>
                <a:gd name="connsiteX72" fmla="*/ 7764 w 10000"/>
                <a:gd name="connsiteY72" fmla="*/ 482 h 10000"/>
                <a:gd name="connsiteX73" fmla="*/ 7668 w 10000"/>
                <a:gd name="connsiteY73" fmla="*/ 707 h 10000"/>
                <a:gd name="connsiteX74" fmla="*/ 7327 w 10000"/>
                <a:gd name="connsiteY74" fmla="*/ 707 h 10000"/>
                <a:gd name="connsiteX75" fmla="*/ 7037 w 10000"/>
                <a:gd name="connsiteY75" fmla="*/ 611 h 10000"/>
                <a:gd name="connsiteX76" fmla="*/ 6406 w 10000"/>
                <a:gd name="connsiteY76" fmla="*/ 611 h 10000"/>
                <a:gd name="connsiteX77" fmla="*/ 5775 w 10000"/>
                <a:gd name="connsiteY77" fmla="*/ 611 h 10000"/>
                <a:gd name="connsiteX78" fmla="*/ 5825 w 10000"/>
                <a:gd name="connsiteY78" fmla="*/ 482 h 10000"/>
                <a:gd name="connsiteX79" fmla="*/ 5727 w 10000"/>
                <a:gd name="connsiteY79" fmla="*/ 482 h 10000"/>
                <a:gd name="connsiteX80" fmla="*/ 5678 w 10000"/>
                <a:gd name="connsiteY80" fmla="*/ 611 h 10000"/>
                <a:gd name="connsiteX81" fmla="*/ 5095 w 10000"/>
                <a:gd name="connsiteY81" fmla="*/ 611 h 10000"/>
                <a:gd name="connsiteX82" fmla="*/ 4515 w 10000"/>
                <a:gd name="connsiteY82" fmla="*/ 611 h 10000"/>
                <a:gd name="connsiteX83" fmla="*/ 3933 w 10000"/>
                <a:gd name="connsiteY83" fmla="*/ 611 h 10000"/>
                <a:gd name="connsiteX84" fmla="*/ 3349 w 10000"/>
                <a:gd name="connsiteY84" fmla="*/ 611 h 10000"/>
                <a:gd name="connsiteX85" fmla="*/ 2817 w 10000"/>
                <a:gd name="connsiteY85" fmla="*/ 611 h 10000"/>
                <a:gd name="connsiteX86" fmla="*/ 2235 w 10000"/>
                <a:gd name="connsiteY86" fmla="*/ 611 h 10000"/>
                <a:gd name="connsiteX87" fmla="*/ 1700 w 10000"/>
                <a:gd name="connsiteY87" fmla="*/ 611 h 10000"/>
                <a:gd name="connsiteX88" fmla="*/ 1117 w 10000"/>
                <a:gd name="connsiteY88" fmla="*/ 611 h 10000"/>
                <a:gd name="connsiteX89" fmla="*/ 1117 w 10000"/>
                <a:gd name="connsiteY89" fmla="*/ 1061 h 10000"/>
                <a:gd name="connsiteX90" fmla="*/ 1117 w 10000"/>
                <a:gd name="connsiteY90" fmla="*/ 1640 h 10000"/>
                <a:gd name="connsiteX91" fmla="*/ 391 w 10000"/>
                <a:gd name="connsiteY91" fmla="*/ 1640 h 10000"/>
                <a:gd name="connsiteX92" fmla="*/ 391 w 10000"/>
                <a:gd name="connsiteY92" fmla="*/ 1897 h 10000"/>
                <a:gd name="connsiteX0" fmla="*/ 391 w 9754"/>
                <a:gd name="connsiteY0" fmla="*/ 1897 h 10000"/>
                <a:gd name="connsiteX1" fmla="*/ 6026 w 9754"/>
                <a:gd name="connsiteY1" fmla="*/ 6915 h 10000"/>
                <a:gd name="connsiteX2" fmla="*/ 5628 w 9754"/>
                <a:gd name="connsiteY2" fmla="*/ 7114 h 10000"/>
                <a:gd name="connsiteX3" fmla="*/ 5294 w 9754"/>
                <a:gd name="connsiteY3" fmla="*/ 6907 h 10000"/>
                <a:gd name="connsiteX4" fmla="*/ 4808 w 9754"/>
                <a:gd name="connsiteY4" fmla="*/ 6781 h 10000"/>
                <a:gd name="connsiteX5" fmla="*/ 4567 w 9754"/>
                <a:gd name="connsiteY5" fmla="*/ 7064 h 10000"/>
                <a:gd name="connsiteX6" fmla="*/ 3969 w 9754"/>
                <a:gd name="connsiteY6" fmla="*/ 7281 h 10000"/>
                <a:gd name="connsiteX7" fmla="*/ 3586 w 9754"/>
                <a:gd name="connsiteY7" fmla="*/ 7279 h 10000"/>
                <a:gd name="connsiteX8" fmla="*/ 2748 w 9754"/>
                <a:gd name="connsiteY8" fmla="*/ 7095 h 10000"/>
                <a:gd name="connsiteX9" fmla="*/ 2524 w 9754"/>
                <a:gd name="connsiteY9" fmla="*/ 7195 h 10000"/>
                <a:gd name="connsiteX10" fmla="*/ 1965 w 9754"/>
                <a:gd name="connsiteY10" fmla="*/ 6973 h 10000"/>
                <a:gd name="connsiteX11" fmla="*/ 1718 w 9754"/>
                <a:gd name="connsiteY11" fmla="*/ 6638 h 10000"/>
                <a:gd name="connsiteX12" fmla="*/ 1308 w 9754"/>
                <a:gd name="connsiteY12" fmla="*/ 6729 h 10000"/>
                <a:gd name="connsiteX13" fmla="*/ 1196 w 9754"/>
                <a:gd name="connsiteY13" fmla="*/ 6927 h 10000"/>
                <a:gd name="connsiteX14" fmla="*/ 763 w 9754"/>
                <a:gd name="connsiteY14" fmla="*/ 7011 h 10000"/>
                <a:gd name="connsiteX15" fmla="*/ 476 w 9754"/>
                <a:gd name="connsiteY15" fmla="*/ 7004 h 10000"/>
                <a:gd name="connsiteX16" fmla="*/ 319 w 9754"/>
                <a:gd name="connsiteY16" fmla="*/ 7161 h 10000"/>
                <a:gd name="connsiteX17" fmla="*/ 51 w 9754"/>
                <a:gd name="connsiteY17" fmla="*/ 6913 h 10000"/>
                <a:gd name="connsiteX18" fmla="*/ 0 w 9754"/>
                <a:gd name="connsiteY18" fmla="*/ 7363 h 10000"/>
                <a:gd name="connsiteX19" fmla="*/ 97 w 9754"/>
                <a:gd name="connsiteY19" fmla="*/ 7428 h 10000"/>
                <a:gd name="connsiteX20" fmla="*/ 486 w 9754"/>
                <a:gd name="connsiteY20" fmla="*/ 7460 h 10000"/>
                <a:gd name="connsiteX21" fmla="*/ 537 w 9754"/>
                <a:gd name="connsiteY21" fmla="*/ 7588 h 10000"/>
                <a:gd name="connsiteX22" fmla="*/ 971 w 9754"/>
                <a:gd name="connsiteY22" fmla="*/ 7621 h 10000"/>
                <a:gd name="connsiteX23" fmla="*/ 1215 w 9754"/>
                <a:gd name="connsiteY23" fmla="*/ 7749 h 10000"/>
                <a:gd name="connsiteX24" fmla="*/ 1262 w 9754"/>
                <a:gd name="connsiteY24" fmla="*/ 7974 h 10000"/>
                <a:gd name="connsiteX25" fmla="*/ 2041 w 9754"/>
                <a:gd name="connsiteY25" fmla="*/ 8360 h 10000"/>
                <a:gd name="connsiteX26" fmla="*/ 2235 w 9754"/>
                <a:gd name="connsiteY26" fmla="*/ 8746 h 10000"/>
                <a:gd name="connsiteX27" fmla="*/ 2766 w 9754"/>
                <a:gd name="connsiteY27" fmla="*/ 8939 h 10000"/>
                <a:gd name="connsiteX28" fmla="*/ 2961 w 9754"/>
                <a:gd name="connsiteY28" fmla="*/ 9196 h 10000"/>
                <a:gd name="connsiteX29" fmla="*/ 3349 w 9754"/>
                <a:gd name="connsiteY29" fmla="*/ 9518 h 10000"/>
                <a:gd name="connsiteX30" fmla="*/ 3643 w 9754"/>
                <a:gd name="connsiteY30" fmla="*/ 9614 h 10000"/>
                <a:gd name="connsiteX31" fmla="*/ 3835 w 9754"/>
                <a:gd name="connsiteY31" fmla="*/ 9518 h 10000"/>
                <a:gd name="connsiteX32" fmla="*/ 4320 w 9754"/>
                <a:gd name="connsiteY32" fmla="*/ 9550 h 10000"/>
                <a:gd name="connsiteX33" fmla="*/ 4515 w 9754"/>
                <a:gd name="connsiteY33" fmla="*/ 9486 h 10000"/>
                <a:gd name="connsiteX34" fmla="*/ 5387 w 9754"/>
                <a:gd name="connsiteY34" fmla="*/ 9968 h 10000"/>
                <a:gd name="connsiteX35" fmla="*/ 5437 w 9754"/>
                <a:gd name="connsiteY35" fmla="*/ 9968 h 10000"/>
                <a:gd name="connsiteX36" fmla="*/ 5533 w 9754"/>
                <a:gd name="connsiteY36" fmla="*/ 9904 h 10000"/>
                <a:gd name="connsiteX37" fmla="*/ 6161 w 9754"/>
                <a:gd name="connsiteY37" fmla="*/ 9904 h 10000"/>
                <a:gd name="connsiteX38" fmla="*/ 6261 w 9754"/>
                <a:gd name="connsiteY38" fmla="*/ 10000 h 10000"/>
                <a:gd name="connsiteX39" fmla="*/ 6795 w 9754"/>
                <a:gd name="connsiteY39" fmla="*/ 9871 h 10000"/>
                <a:gd name="connsiteX40" fmla="*/ 7278 w 9754"/>
                <a:gd name="connsiteY40" fmla="*/ 9871 h 10000"/>
                <a:gd name="connsiteX41" fmla="*/ 7619 w 9754"/>
                <a:gd name="connsiteY41" fmla="*/ 9743 h 10000"/>
                <a:gd name="connsiteX42" fmla="*/ 8009 w 9754"/>
                <a:gd name="connsiteY42" fmla="*/ 9486 h 10000"/>
                <a:gd name="connsiteX43" fmla="*/ 9027 w 9754"/>
                <a:gd name="connsiteY43" fmla="*/ 9486 h 10000"/>
                <a:gd name="connsiteX44" fmla="*/ 9027 w 9754"/>
                <a:gd name="connsiteY44" fmla="*/ 9132 h 10000"/>
                <a:gd name="connsiteX45" fmla="*/ 8494 w 9754"/>
                <a:gd name="connsiteY45" fmla="*/ 8971 h 10000"/>
                <a:gd name="connsiteX46" fmla="*/ 8201 w 9754"/>
                <a:gd name="connsiteY46" fmla="*/ 8457 h 10000"/>
                <a:gd name="connsiteX47" fmla="*/ 7815 w 9754"/>
                <a:gd name="connsiteY47" fmla="*/ 8264 h 10000"/>
                <a:gd name="connsiteX48" fmla="*/ 7570 w 9754"/>
                <a:gd name="connsiteY48" fmla="*/ 8006 h 10000"/>
                <a:gd name="connsiteX49" fmla="*/ 6940 w 9754"/>
                <a:gd name="connsiteY49" fmla="*/ 7814 h 10000"/>
                <a:gd name="connsiteX50" fmla="*/ 7085 w 9754"/>
                <a:gd name="connsiteY50" fmla="*/ 7749 h 10000"/>
                <a:gd name="connsiteX51" fmla="*/ 7085 w 9754"/>
                <a:gd name="connsiteY51" fmla="*/ 7588 h 10000"/>
                <a:gd name="connsiteX52" fmla="*/ 7524 w 9754"/>
                <a:gd name="connsiteY52" fmla="*/ 7588 h 10000"/>
                <a:gd name="connsiteX53" fmla="*/ 7764 w 9754"/>
                <a:gd name="connsiteY53" fmla="*/ 7460 h 10000"/>
                <a:gd name="connsiteX54" fmla="*/ 7815 w 9754"/>
                <a:gd name="connsiteY54" fmla="*/ 6527 h 10000"/>
                <a:gd name="connsiteX55" fmla="*/ 7861 w 9754"/>
                <a:gd name="connsiteY55" fmla="*/ 6559 h 10000"/>
                <a:gd name="connsiteX56" fmla="*/ 7689 w 9754"/>
                <a:gd name="connsiteY56" fmla="*/ 6618 h 10000"/>
                <a:gd name="connsiteX57" fmla="*/ 7621 w 9754"/>
                <a:gd name="connsiteY57" fmla="*/ 6745 h 10000"/>
                <a:gd name="connsiteX58" fmla="*/ 7187 w 9754"/>
                <a:gd name="connsiteY58" fmla="*/ 6497 h 10000"/>
                <a:gd name="connsiteX59" fmla="*/ 7109 w 9754"/>
                <a:gd name="connsiteY59" fmla="*/ 5828 h 10000"/>
                <a:gd name="connsiteX60" fmla="*/ 6645 w 9754"/>
                <a:gd name="connsiteY60" fmla="*/ 6118 h 10000"/>
                <a:gd name="connsiteX61" fmla="*/ 6652 w 9754"/>
                <a:gd name="connsiteY61" fmla="*/ 6462 h 10000"/>
                <a:gd name="connsiteX62" fmla="*/ 6279 w 9754"/>
                <a:gd name="connsiteY62" fmla="*/ 6670 h 10000"/>
                <a:gd name="connsiteX63" fmla="*/ 9754 w 9754"/>
                <a:gd name="connsiteY63" fmla="*/ 836 h 10000"/>
                <a:gd name="connsiteX64" fmla="*/ 9706 w 9754"/>
                <a:gd name="connsiteY64" fmla="*/ 611 h 10000"/>
                <a:gd name="connsiteX65" fmla="*/ 9318 w 9754"/>
                <a:gd name="connsiteY65" fmla="*/ 289 h 10000"/>
                <a:gd name="connsiteX66" fmla="*/ 8978 w 9754"/>
                <a:gd name="connsiteY66" fmla="*/ 161 h 10000"/>
                <a:gd name="connsiteX67" fmla="*/ 8785 w 9754"/>
                <a:gd name="connsiteY67" fmla="*/ 0 h 10000"/>
                <a:gd name="connsiteX68" fmla="*/ 8494 w 9754"/>
                <a:gd name="connsiteY68" fmla="*/ 161 h 10000"/>
                <a:gd name="connsiteX69" fmla="*/ 8298 w 9754"/>
                <a:gd name="connsiteY69" fmla="*/ 129 h 10000"/>
                <a:gd name="connsiteX70" fmla="*/ 8151 w 9754"/>
                <a:gd name="connsiteY70" fmla="*/ 418 h 10000"/>
                <a:gd name="connsiteX71" fmla="*/ 7764 w 9754"/>
                <a:gd name="connsiteY71" fmla="*/ 482 h 10000"/>
                <a:gd name="connsiteX72" fmla="*/ 7668 w 9754"/>
                <a:gd name="connsiteY72" fmla="*/ 707 h 10000"/>
                <a:gd name="connsiteX73" fmla="*/ 7327 w 9754"/>
                <a:gd name="connsiteY73" fmla="*/ 707 h 10000"/>
                <a:gd name="connsiteX74" fmla="*/ 7037 w 9754"/>
                <a:gd name="connsiteY74" fmla="*/ 611 h 10000"/>
                <a:gd name="connsiteX75" fmla="*/ 6406 w 9754"/>
                <a:gd name="connsiteY75" fmla="*/ 611 h 10000"/>
                <a:gd name="connsiteX76" fmla="*/ 5775 w 9754"/>
                <a:gd name="connsiteY76" fmla="*/ 611 h 10000"/>
                <a:gd name="connsiteX77" fmla="*/ 5825 w 9754"/>
                <a:gd name="connsiteY77" fmla="*/ 482 h 10000"/>
                <a:gd name="connsiteX78" fmla="*/ 5727 w 9754"/>
                <a:gd name="connsiteY78" fmla="*/ 482 h 10000"/>
                <a:gd name="connsiteX79" fmla="*/ 5678 w 9754"/>
                <a:gd name="connsiteY79" fmla="*/ 611 h 10000"/>
                <a:gd name="connsiteX80" fmla="*/ 5095 w 9754"/>
                <a:gd name="connsiteY80" fmla="*/ 611 h 10000"/>
                <a:gd name="connsiteX81" fmla="*/ 4515 w 9754"/>
                <a:gd name="connsiteY81" fmla="*/ 611 h 10000"/>
                <a:gd name="connsiteX82" fmla="*/ 3933 w 9754"/>
                <a:gd name="connsiteY82" fmla="*/ 611 h 10000"/>
                <a:gd name="connsiteX83" fmla="*/ 3349 w 9754"/>
                <a:gd name="connsiteY83" fmla="*/ 611 h 10000"/>
                <a:gd name="connsiteX84" fmla="*/ 2817 w 9754"/>
                <a:gd name="connsiteY84" fmla="*/ 611 h 10000"/>
                <a:gd name="connsiteX85" fmla="*/ 2235 w 9754"/>
                <a:gd name="connsiteY85" fmla="*/ 611 h 10000"/>
                <a:gd name="connsiteX86" fmla="*/ 1700 w 9754"/>
                <a:gd name="connsiteY86" fmla="*/ 611 h 10000"/>
                <a:gd name="connsiteX87" fmla="*/ 1117 w 9754"/>
                <a:gd name="connsiteY87" fmla="*/ 611 h 10000"/>
                <a:gd name="connsiteX88" fmla="*/ 1117 w 9754"/>
                <a:gd name="connsiteY88" fmla="*/ 1061 h 10000"/>
                <a:gd name="connsiteX89" fmla="*/ 1117 w 9754"/>
                <a:gd name="connsiteY89" fmla="*/ 1640 h 10000"/>
                <a:gd name="connsiteX90" fmla="*/ 391 w 9754"/>
                <a:gd name="connsiteY90" fmla="*/ 1640 h 10000"/>
                <a:gd name="connsiteX91" fmla="*/ 391 w 9754"/>
                <a:gd name="connsiteY91" fmla="*/ 1897 h 10000"/>
                <a:gd name="connsiteX0" fmla="*/ 401 w 9951"/>
                <a:gd name="connsiteY0" fmla="*/ 1897 h 10000"/>
                <a:gd name="connsiteX1" fmla="*/ 6178 w 9951"/>
                <a:gd name="connsiteY1" fmla="*/ 6915 h 10000"/>
                <a:gd name="connsiteX2" fmla="*/ 5770 w 9951"/>
                <a:gd name="connsiteY2" fmla="*/ 7114 h 10000"/>
                <a:gd name="connsiteX3" fmla="*/ 5428 w 9951"/>
                <a:gd name="connsiteY3" fmla="*/ 6907 h 10000"/>
                <a:gd name="connsiteX4" fmla="*/ 4929 w 9951"/>
                <a:gd name="connsiteY4" fmla="*/ 6781 h 10000"/>
                <a:gd name="connsiteX5" fmla="*/ 4682 w 9951"/>
                <a:gd name="connsiteY5" fmla="*/ 7064 h 10000"/>
                <a:gd name="connsiteX6" fmla="*/ 4069 w 9951"/>
                <a:gd name="connsiteY6" fmla="*/ 7281 h 10000"/>
                <a:gd name="connsiteX7" fmla="*/ 3676 w 9951"/>
                <a:gd name="connsiteY7" fmla="*/ 7279 h 10000"/>
                <a:gd name="connsiteX8" fmla="*/ 2817 w 9951"/>
                <a:gd name="connsiteY8" fmla="*/ 7095 h 10000"/>
                <a:gd name="connsiteX9" fmla="*/ 2588 w 9951"/>
                <a:gd name="connsiteY9" fmla="*/ 7195 h 10000"/>
                <a:gd name="connsiteX10" fmla="*/ 2015 w 9951"/>
                <a:gd name="connsiteY10" fmla="*/ 6973 h 10000"/>
                <a:gd name="connsiteX11" fmla="*/ 1761 w 9951"/>
                <a:gd name="connsiteY11" fmla="*/ 6638 h 10000"/>
                <a:gd name="connsiteX12" fmla="*/ 1341 w 9951"/>
                <a:gd name="connsiteY12" fmla="*/ 6729 h 10000"/>
                <a:gd name="connsiteX13" fmla="*/ 1226 w 9951"/>
                <a:gd name="connsiteY13" fmla="*/ 6927 h 10000"/>
                <a:gd name="connsiteX14" fmla="*/ 782 w 9951"/>
                <a:gd name="connsiteY14" fmla="*/ 7011 h 10000"/>
                <a:gd name="connsiteX15" fmla="*/ 488 w 9951"/>
                <a:gd name="connsiteY15" fmla="*/ 7004 h 10000"/>
                <a:gd name="connsiteX16" fmla="*/ 327 w 9951"/>
                <a:gd name="connsiteY16" fmla="*/ 7161 h 10000"/>
                <a:gd name="connsiteX17" fmla="*/ 52 w 9951"/>
                <a:gd name="connsiteY17" fmla="*/ 6913 h 10000"/>
                <a:gd name="connsiteX18" fmla="*/ 0 w 9951"/>
                <a:gd name="connsiteY18" fmla="*/ 7363 h 10000"/>
                <a:gd name="connsiteX19" fmla="*/ 99 w 9951"/>
                <a:gd name="connsiteY19" fmla="*/ 7428 h 10000"/>
                <a:gd name="connsiteX20" fmla="*/ 498 w 9951"/>
                <a:gd name="connsiteY20" fmla="*/ 7460 h 10000"/>
                <a:gd name="connsiteX21" fmla="*/ 551 w 9951"/>
                <a:gd name="connsiteY21" fmla="*/ 7588 h 10000"/>
                <a:gd name="connsiteX22" fmla="*/ 995 w 9951"/>
                <a:gd name="connsiteY22" fmla="*/ 7621 h 10000"/>
                <a:gd name="connsiteX23" fmla="*/ 1246 w 9951"/>
                <a:gd name="connsiteY23" fmla="*/ 7749 h 10000"/>
                <a:gd name="connsiteX24" fmla="*/ 1294 w 9951"/>
                <a:gd name="connsiteY24" fmla="*/ 7974 h 10000"/>
                <a:gd name="connsiteX25" fmla="*/ 2092 w 9951"/>
                <a:gd name="connsiteY25" fmla="*/ 8360 h 10000"/>
                <a:gd name="connsiteX26" fmla="*/ 2291 w 9951"/>
                <a:gd name="connsiteY26" fmla="*/ 8746 h 10000"/>
                <a:gd name="connsiteX27" fmla="*/ 2836 w 9951"/>
                <a:gd name="connsiteY27" fmla="*/ 8939 h 10000"/>
                <a:gd name="connsiteX28" fmla="*/ 3036 w 9951"/>
                <a:gd name="connsiteY28" fmla="*/ 9196 h 10000"/>
                <a:gd name="connsiteX29" fmla="*/ 3433 w 9951"/>
                <a:gd name="connsiteY29" fmla="*/ 9518 h 10000"/>
                <a:gd name="connsiteX30" fmla="*/ 3735 w 9951"/>
                <a:gd name="connsiteY30" fmla="*/ 9614 h 10000"/>
                <a:gd name="connsiteX31" fmla="*/ 3932 w 9951"/>
                <a:gd name="connsiteY31" fmla="*/ 9518 h 10000"/>
                <a:gd name="connsiteX32" fmla="*/ 4429 w 9951"/>
                <a:gd name="connsiteY32" fmla="*/ 9550 h 10000"/>
                <a:gd name="connsiteX33" fmla="*/ 4629 w 9951"/>
                <a:gd name="connsiteY33" fmla="*/ 9486 h 10000"/>
                <a:gd name="connsiteX34" fmla="*/ 5523 w 9951"/>
                <a:gd name="connsiteY34" fmla="*/ 9968 h 10000"/>
                <a:gd name="connsiteX35" fmla="*/ 5574 w 9951"/>
                <a:gd name="connsiteY35" fmla="*/ 9968 h 10000"/>
                <a:gd name="connsiteX36" fmla="*/ 5673 w 9951"/>
                <a:gd name="connsiteY36" fmla="*/ 9904 h 10000"/>
                <a:gd name="connsiteX37" fmla="*/ 6316 w 9951"/>
                <a:gd name="connsiteY37" fmla="*/ 9904 h 10000"/>
                <a:gd name="connsiteX38" fmla="*/ 6419 w 9951"/>
                <a:gd name="connsiteY38" fmla="*/ 10000 h 10000"/>
                <a:gd name="connsiteX39" fmla="*/ 6966 w 9951"/>
                <a:gd name="connsiteY39" fmla="*/ 9871 h 10000"/>
                <a:gd name="connsiteX40" fmla="*/ 7462 w 9951"/>
                <a:gd name="connsiteY40" fmla="*/ 9871 h 10000"/>
                <a:gd name="connsiteX41" fmla="*/ 7811 w 9951"/>
                <a:gd name="connsiteY41" fmla="*/ 9743 h 10000"/>
                <a:gd name="connsiteX42" fmla="*/ 8211 w 9951"/>
                <a:gd name="connsiteY42" fmla="*/ 9486 h 10000"/>
                <a:gd name="connsiteX43" fmla="*/ 9255 w 9951"/>
                <a:gd name="connsiteY43" fmla="*/ 9486 h 10000"/>
                <a:gd name="connsiteX44" fmla="*/ 9255 w 9951"/>
                <a:gd name="connsiteY44" fmla="*/ 9132 h 10000"/>
                <a:gd name="connsiteX45" fmla="*/ 8708 w 9951"/>
                <a:gd name="connsiteY45" fmla="*/ 8971 h 10000"/>
                <a:gd name="connsiteX46" fmla="*/ 8408 w 9951"/>
                <a:gd name="connsiteY46" fmla="*/ 8457 h 10000"/>
                <a:gd name="connsiteX47" fmla="*/ 8012 w 9951"/>
                <a:gd name="connsiteY47" fmla="*/ 8264 h 10000"/>
                <a:gd name="connsiteX48" fmla="*/ 7761 w 9951"/>
                <a:gd name="connsiteY48" fmla="*/ 8006 h 10000"/>
                <a:gd name="connsiteX49" fmla="*/ 7115 w 9951"/>
                <a:gd name="connsiteY49" fmla="*/ 7814 h 10000"/>
                <a:gd name="connsiteX50" fmla="*/ 7264 w 9951"/>
                <a:gd name="connsiteY50" fmla="*/ 7749 h 10000"/>
                <a:gd name="connsiteX51" fmla="*/ 7264 w 9951"/>
                <a:gd name="connsiteY51" fmla="*/ 7588 h 10000"/>
                <a:gd name="connsiteX52" fmla="*/ 7714 w 9951"/>
                <a:gd name="connsiteY52" fmla="*/ 7588 h 10000"/>
                <a:gd name="connsiteX53" fmla="*/ 7960 w 9951"/>
                <a:gd name="connsiteY53" fmla="*/ 7460 h 10000"/>
                <a:gd name="connsiteX54" fmla="*/ 8012 w 9951"/>
                <a:gd name="connsiteY54" fmla="*/ 6527 h 10000"/>
                <a:gd name="connsiteX55" fmla="*/ 8059 w 9951"/>
                <a:gd name="connsiteY55" fmla="*/ 6559 h 10000"/>
                <a:gd name="connsiteX56" fmla="*/ 7883 w 9951"/>
                <a:gd name="connsiteY56" fmla="*/ 6618 h 10000"/>
                <a:gd name="connsiteX57" fmla="*/ 7813 w 9951"/>
                <a:gd name="connsiteY57" fmla="*/ 6745 h 10000"/>
                <a:gd name="connsiteX58" fmla="*/ 7368 w 9951"/>
                <a:gd name="connsiteY58" fmla="*/ 6497 h 10000"/>
                <a:gd name="connsiteX59" fmla="*/ 7288 w 9951"/>
                <a:gd name="connsiteY59" fmla="*/ 5828 h 10000"/>
                <a:gd name="connsiteX60" fmla="*/ 6813 w 9951"/>
                <a:gd name="connsiteY60" fmla="*/ 6118 h 10000"/>
                <a:gd name="connsiteX61" fmla="*/ 6820 w 9951"/>
                <a:gd name="connsiteY61" fmla="*/ 6462 h 10000"/>
                <a:gd name="connsiteX62" fmla="*/ 6437 w 9951"/>
                <a:gd name="connsiteY62" fmla="*/ 6670 h 10000"/>
                <a:gd name="connsiteX63" fmla="*/ 9951 w 9951"/>
                <a:gd name="connsiteY63" fmla="*/ 611 h 10000"/>
                <a:gd name="connsiteX64" fmla="*/ 9553 w 9951"/>
                <a:gd name="connsiteY64" fmla="*/ 289 h 10000"/>
                <a:gd name="connsiteX65" fmla="*/ 9204 w 9951"/>
                <a:gd name="connsiteY65" fmla="*/ 161 h 10000"/>
                <a:gd name="connsiteX66" fmla="*/ 9007 w 9951"/>
                <a:gd name="connsiteY66" fmla="*/ 0 h 10000"/>
                <a:gd name="connsiteX67" fmla="*/ 8708 w 9951"/>
                <a:gd name="connsiteY67" fmla="*/ 161 h 10000"/>
                <a:gd name="connsiteX68" fmla="*/ 8507 w 9951"/>
                <a:gd name="connsiteY68" fmla="*/ 129 h 10000"/>
                <a:gd name="connsiteX69" fmla="*/ 8357 w 9951"/>
                <a:gd name="connsiteY69" fmla="*/ 418 h 10000"/>
                <a:gd name="connsiteX70" fmla="*/ 7960 w 9951"/>
                <a:gd name="connsiteY70" fmla="*/ 482 h 10000"/>
                <a:gd name="connsiteX71" fmla="*/ 7861 w 9951"/>
                <a:gd name="connsiteY71" fmla="*/ 707 h 10000"/>
                <a:gd name="connsiteX72" fmla="*/ 7512 w 9951"/>
                <a:gd name="connsiteY72" fmla="*/ 707 h 10000"/>
                <a:gd name="connsiteX73" fmla="*/ 7214 w 9951"/>
                <a:gd name="connsiteY73" fmla="*/ 611 h 10000"/>
                <a:gd name="connsiteX74" fmla="*/ 6568 w 9951"/>
                <a:gd name="connsiteY74" fmla="*/ 611 h 10000"/>
                <a:gd name="connsiteX75" fmla="*/ 5921 w 9951"/>
                <a:gd name="connsiteY75" fmla="*/ 611 h 10000"/>
                <a:gd name="connsiteX76" fmla="*/ 5972 w 9951"/>
                <a:gd name="connsiteY76" fmla="*/ 482 h 10000"/>
                <a:gd name="connsiteX77" fmla="*/ 5871 w 9951"/>
                <a:gd name="connsiteY77" fmla="*/ 482 h 10000"/>
                <a:gd name="connsiteX78" fmla="*/ 5821 w 9951"/>
                <a:gd name="connsiteY78" fmla="*/ 611 h 10000"/>
                <a:gd name="connsiteX79" fmla="*/ 5223 w 9951"/>
                <a:gd name="connsiteY79" fmla="*/ 611 h 10000"/>
                <a:gd name="connsiteX80" fmla="*/ 4629 w 9951"/>
                <a:gd name="connsiteY80" fmla="*/ 611 h 10000"/>
                <a:gd name="connsiteX81" fmla="*/ 4032 w 9951"/>
                <a:gd name="connsiteY81" fmla="*/ 611 h 10000"/>
                <a:gd name="connsiteX82" fmla="*/ 3433 w 9951"/>
                <a:gd name="connsiteY82" fmla="*/ 611 h 10000"/>
                <a:gd name="connsiteX83" fmla="*/ 2888 w 9951"/>
                <a:gd name="connsiteY83" fmla="*/ 611 h 10000"/>
                <a:gd name="connsiteX84" fmla="*/ 2291 w 9951"/>
                <a:gd name="connsiteY84" fmla="*/ 611 h 10000"/>
                <a:gd name="connsiteX85" fmla="*/ 1743 w 9951"/>
                <a:gd name="connsiteY85" fmla="*/ 611 h 10000"/>
                <a:gd name="connsiteX86" fmla="*/ 1145 w 9951"/>
                <a:gd name="connsiteY86" fmla="*/ 611 h 10000"/>
                <a:gd name="connsiteX87" fmla="*/ 1145 w 9951"/>
                <a:gd name="connsiteY87" fmla="*/ 1061 h 10000"/>
                <a:gd name="connsiteX88" fmla="*/ 1145 w 9951"/>
                <a:gd name="connsiteY88" fmla="*/ 1640 h 10000"/>
                <a:gd name="connsiteX89" fmla="*/ 401 w 9951"/>
                <a:gd name="connsiteY89" fmla="*/ 1640 h 10000"/>
                <a:gd name="connsiteX90" fmla="*/ 401 w 9951"/>
                <a:gd name="connsiteY90" fmla="*/ 1897 h 10000"/>
                <a:gd name="connsiteX0" fmla="*/ 403 w 9600"/>
                <a:gd name="connsiteY0" fmla="*/ 1897 h 10000"/>
                <a:gd name="connsiteX1" fmla="*/ 6208 w 9600"/>
                <a:gd name="connsiteY1" fmla="*/ 6915 h 10000"/>
                <a:gd name="connsiteX2" fmla="*/ 5798 w 9600"/>
                <a:gd name="connsiteY2" fmla="*/ 7114 h 10000"/>
                <a:gd name="connsiteX3" fmla="*/ 5455 w 9600"/>
                <a:gd name="connsiteY3" fmla="*/ 6907 h 10000"/>
                <a:gd name="connsiteX4" fmla="*/ 4953 w 9600"/>
                <a:gd name="connsiteY4" fmla="*/ 6781 h 10000"/>
                <a:gd name="connsiteX5" fmla="*/ 4705 w 9600"/>
                <a:gd name="connsiteY5" fmla="*/ 7064 h 10000"/>
                <a:gd name="connsiteX6" fmla="*/ 4089 w 9600"/>
                <a:gd name="connsiteY6" fmla="*/ 7281 h 10000"/>
                <a:gd name="connsiteX7" fmla="*/ 3694 w 9600"/>
                <a:gd name="connsiteY7" fmla="*/ 7279 h 10000"/>
                <a:gd name="connsiteX8" fmla="*/ 2831 w 9600"/>
                <a:gd name="connsiteY8" fmla="*/ 7095 h 10000"/>
                <a:gd name="connsiteX9" fmla="*/ 2601 w 9600"/>
                <a:gd name="connsiteY9" fmla="*/ 7195 h 10000"/>
                <a:gd name="connsiteX10" fmla="*/ 2025 w 9600"/>
                <a:gd name="connsiteY10" fmla="*/ 6973 h 10000"/>
                <a:gd name="connsiteX11" fmla="*/ 1770 w 9600"/>
                <a:gd name="connsiteY11" fmla="*/ 6638 h 10000"/>
                <a:gd name="connsiteX12" fmla="*/ 1348 w 9600"/>
                <a:gd name="connsiteY12" fmla="*/ 6729 h 10000"/>
                <a:gd name="connsiteX13" fmla="*/ 1232 w 9600"/>
                <a:gd name="connsiteY13" fmla="*/ 6927 h 10000"/>
                <a:gd name="connsiteX14" fmla="*/ 786 w 9600"/>
                <a:gd name="connsiteY14" fmla="*/ 7011 h 10000"/>
                <a:gd name="connsiteX15" fmla="*/ 490 w 9600"/>
                <a:gd name="connsiteY15" fmla="*/ 7004 h 10000"/>
                <a:gd name="connsiteX16" fmla="*/ 329 w 9600"/>
                <a:gd name="connsiteY16" fmla="*/ 7161 h 10000"/>
                <a:gd name="connsiteX17" fmla="*/ 52 w 9600"/>
                <a:gd name="connsiteY17" fmla="*/ 6913 h 10000"/>
                <a:gd name="connsiteX18" fmla="*/ 0 w 9600"/>
                <a:gd name="connsiteY18" fmla="*/ 7363 h 10000"/>
                <a:gd name="connsiteX19" fmla="*/ 99 w 9600"/>
                <a:gd name="connsiteY19" fmla="*/ 7428 h 10000"/>
                <a:gd name="connsiteX20" fmla="*/ 500 w 9600"/>
                <a:gd name="connsiteY20" fmla="*/ 7460 h 10000"/>
                <a:gd name="connsiteX21" fmla="*/ 554 w 9600"/>
                <a:gd name="connsiteY21" fmla="*/ 7588 h 10000"/>
                <a:gd name="connsiteX22" fmla="*/ 1000 w 9600"/>
                <a:gd name="connsiteY22" fmla="*/ 7621 h 10000"/>
                <a:gd name="connsiteX23" fmla="*/ 1252 w 9600"/>
                <a:gd name="connsiteY23" fmla="*/ 7749 h 10000"/>
                <a:gd name="connsiteX24" fmla="*/ 1300 w 9600"/>
                <a:gd name="connsiteY24" fmla="*/ 7974 h 10000"/>
                <a:gd name="connsiteX25" fmla="*/ 2102 w 9600"/>
                <a:gd name="connsiteY25" fmla="*/ 8360 h 10000"/>
                <a:gd name="connsiteX26" fmla="*/ 2302 w 9600"/>
                <a:gd name="connsiteY26" fmla="*/ 8746 h 10000"/>
                <a:gd name="connsiteX27" fmla="*/ 2850 w 9600"/>
                <a:gd name="connsiteY27" fmla="*/ 8939 h 10000"/>
                <a:gd name="connsiteX28" fmla="*/ 3051 w 9600"/>
                <a:gd name="connsiteY28" fmla="*/ 9196 h 10000"/>
                <a:gd name="connsiteX29" fmla="*/ 3450 w 9600"/>
                <a:gd name="connsiteY29" fmla="*/ 9518 h 10000"/>
                <a:gd name="connsiteX30" fmla="*/ 3753 w 9600"/>
                <a:gd name="connsiteY30" fmla="*/ 9614 h 10000"/>
                <a:gd name="connsiteX31" fmla="*/ 3951 w 9600"/>
                <a:gd name="connsiteY31" fmla="*/ 9518 h 10000"/>
                <a:gd name="connsiteX32" fmla="*/ 4451 w 9600"/>
                <a:gd name="connsiteY32" fmla="*/ 9550 h 10000"/>
                <a:gd name="connsiteX33" fmla="*/ 4652 w 9600"/>
                <a:gd name="connsiteY33" fmla="*/ 9486 h 10000"/>
                <a:gd name="connsiteX34" fmla="*/ 5550 w 9600"/>
                <a:gd name="connsiteY34" fmla="*/ 9968 h 10000"/>
                <a:gd name="connsiteX35" fmla="*/ 5601 w 9600"/>
                <a:gd name="connsiteY35" fmla="*/ 9968 h 10000"/>
                <a:gd name="connsiteX36" fmla="*/ 5701 w 9600"/>
                <a:gd name="connsiteY36" fmla="*/ 9904 h 10000"/>
                <a:gd name="connsiteX37" fmla="*/ 6347 w 9600"/>
                <a:gd name="connsiteY37" fmla="*/ 9904 h 10000"/>
                <a:gd name="connsiteX38" fmla="*/ 6451 w 9600"/>
                <a:gd name="connsiteY38" fmla="*/ 10000 h 10000"/>
                <a:gd name="connsiteX39" fmla="*/ 7000 w 9600"/>
                <a:gd name="connsiteY39" fmla="*/ 9871 h 10000"/>
                <a:gd name="connsiteX40" fmla="*/ 7499 w 9600"/>
                <a:gd name="connsiteY40" fmla="*/ 9871 h 10000"/>
                <a:gd name="connsiteX41" fmla="*/ 7849 w 9600"/>
                <a:gd name="connsiteY41" fmla="*/ 9743 h 10000"/>
                <a:gd name="connsiteX42" fmla="*/ 8251 w 9600"/>
                <a:gd name="connsiteY42" fmla="*/ 9486 h 10000"/>
                <a:gd name="connsiteX43" fmla="*/ 9301 w 9600"/>
                <a:gd name="connsiteY43" fmla="*/ 9486 h 10000"/>
                <a:gd name="connsiteX44" fmla="*/ 9301 w 9600"/>
                <a:gd name="connsiteY44" fmla="*/ 9132 h 10000"/>
                <a:gd name="connsiteX45" fmla="*/ 8751 w 9600"/>
                <a:gd name="connsiteY45" fmla="*/ 8971 h 10000"/>
                <a:gd name="connsiteX46" fmla="*/ 8449 w 9600"/>
                <a:gd name="connsiteY46" fmla="*/ 8457 h 10000"/>
                <a:gd name="connsiteX47" fmla="*/ 8051 w 9600"/>
                <a:gd name="connsiteY47" fmla="*/ 8264 h 10000"/>
                <a:gd name="connsiteX48" fmla="*/ 7799 w 9600"/>
                <a:gd name="connsiteY48" fmla="*/ 8006 h 10000"/>
                <a:gd name="connsiteX49" fmla="*/ 7150 w 9600"/>
                <a:gd name="connsiteY49" fmla="*/ 7814 h 10000"/>
                <a:gd name="connsiteX50" fmla="*/ 7300 w 9600"/>
                <a:gd name="connsiteY50" fmla="*/ 7749 h 10000"/>
                <a:gd name="connsiteX51" fmla="*/ 7300 w 9600"/>
                <a:gd name="connsiteY51" fmla="*/ 7588 h 10000"/>
                <a:gd name="connsiteX52" fmla="*/ 7752 w 9600"/>
                <a:gd name="connsiteY52" fmla="*/ 7588 h 10000"/>
                <a:gd name="connsiteX53" fmla="*/ 7999 w 9600"/>
                <a:gd name="connsiteY53" fmla="*/ 7460 h 10000"/>
                <a:gd name="connsiteX54" fmla="*/ 8051 w 9600"/>
                <a:gd name="connsiteY54" fmla="*/ 6527 h 10000"/>
                <a:gd name="connsiteX55" fmla="*/ 8099 w 9600"/>
                <a:gd name="connsiteY55" fmla="*/ 6559 h 10000"/>
                <a:gd name="connsiteX56" fmla="*/ 7922 w 9600"/>
                <a:gd name="connsiteY56" fmla="*/ 6618 h 10000"/>
                <a:gd name="connsiteX57" fmla="*/ 7851 w 9600"/>
                <a:gd name="connsiteY57" fmla="*/ 6745 h 10000"/>
                <a:gd name="connsiteX58" fmla="*/ 7404 w 9600"/>
                <a:gd name="connsiteY58" fmla="*/ 6497 h 10000"/>
                <a:gd name="connsiteX59" fmla="*/ 7324 w 9600"/>
                <a:gd name="connsiteY59" fmla="*/ 5828 h 10000"/>
                <a:gd name="connsiteX60" fmla="*/ 6847 w 9600"/>
                <a:gd name="connsiteY60" fmla="*/ 6118 h 10000"/>
                <a:gd name="connsiteX61" fmla="*/ 6854 w 9600"/>
                <a:gd name="connsiteY61" fmla="*/ 6462 h 10000"/>
                <a:gd name="connsiteX62" fmla="*/ 6469 w 9600"/>
                <a:gd name="connsiteY62" fmla="*/ 6670 h 10000"/>
                <a:gd name="connsiteX63" fmla="*/ 9600 w 9600"/>
                <a:gd name="connsiteY63" fmla="*/ 289 h 10000"/>
                <a:gd name="connsiteX64" fmla="*/ 9249 w 9600"/>
                <a:gd name="connsiteY64" fmla="*/ 161 h 10000"/>
                <a:gd name="connsiteX65" fmla="*/ 9051 w 9600"/>
                <a:gd name="connsiteY65" fmla="*/ 0 h 10000"/>
                <a:gd name="connsiteX66" fmla="*/ 8751 w 9600"/>
                <a:gd name="connsiteY66" fmla="*/ 161 h 10000"/>
                <a:gd name="connsiteX67" fmla="*/ 8549 w 9600"/>
                <a:gd name="connsiteY67" fmla="*/ 129 h 10000"/>
                <a:gd name="connsiteX68" fmla="*/ 8398 w 9600"/>
                <a:gd name="connsiteY68" fmla="*/ 418 h 10000"/>
                <a:gd name="connsiteX69" fmla="*/ 7999 w 9600"/>
                <a:gd name="connsiteY69" fmla="*/ 482 h 10000"/>
                <a:gd name="connsiteX70" fmla="*/ 7900 w 9600"/>
                <a:gd name="connsiteY70" fmla="*/ 707 h 10000"/>
                <a:gd name="connsiteX71" fmla="*/ 7549 w 9600"/>
                <a:gd name="connsiteY71" fmla="*/ 707 h 10000"/>
                <a:gd name="connsiteX72" fmla="*/ 7250 w 9600"/>
                <a:gd name="connsiteY72" fmla="*/ 611 h 10000"/>
                <a:gd name="connsiteX73" fmla="*/ 6600 w 9600"/>
                <a:gd name="connsiteY73" fmla="*/ 611 h 10000"/>
                <a:gd name="connsiteX74" fmla="*/ 5950 w 9600"/>
                <a:gd name="connsiteY74" fmla="*/ 611 h 10000"/>
                <a:gd name="connsiteX75" fmla="*/ 6001 w 9600"/>
                <a:gd name="connsiteY75" fmla="*/ 482 h 10000"/>
                <a:gd name="connsiteX76" fmla="*/ 5900 w 9600"/>
                <a:gd name="connsiteY76" fmla="*/ 482 h 10000"/>
                <a:gd name="connsiteX77" fmla="*/ 5850 w 9600"/>
                <a:gd name="connsiteY77" fmla="*/ 611 h 10000"/>
                <a:gd name="connsiteX78" fmla="*/ 5249 w 9600"/>
                <a:gd name="connsiteY78" fmla="*/ 611 h 10000"/>
                <a:gd name="connsiteX79" fmla="*/ 4652 w 9600"/>
                <a:gd name="connsiteY79" fmla="*/ 611 h 10000"/>
                <a:gd name="connsiteX80" fmla="*/ 4052 w 9600"/>
                <a:gd name="connsiteY80" fmla="*/ 611 h 10000"/>
                <a:gd name="connsiteX81" fmla="*/ 3450 w 9600"/>
                <a:gd name="connsiteY81" fmla="*/ 611 h 10000"/>
                <a:gd name="connsiteX82" fmla="*/ 2902 w 9600"/>
                <a:gd name="connsiteY82" fmla="*/ 611 h 10000"/>
                <a:gd name="connsiteX83" fmla="*/ 2302 w 9600"/>
                <a:gd name="connsiteY83" fmla="*/ 611 h 10000"/>
                <a:gd name="connsiteX84" fmla="*/ 1752 w 9600"/>
                <a:gd name="connsiteY84" fmla="*/ 611 h 10000"/>
                <a:gd name="connsiteX85" fmla="*/ 1151 w 9600"/>
                <a:gd name="connsiteY85" fmla="*/ 611 h 10000"/>
                <a:gd name="connsiteX86" fmla="*/ 1151 w 9600"/>
                <a:gd name="connsiteY86" fmla="*/ 1061 h 10000"/>
                <a:gd name="connsiteX87" fmla="*/ 1151 w 9600"/>
                <a:gd name="connsiteY87" fmla="*/ 1640 h 10000"/>
                <a:gd name="connsiteX88" fmla="*/ 403 w 9600"/>
                <a:gd name="connsiteY88" fmla="*/ 1640 h 10000"/>
                <a:gd name="connsiteX89" fmla="*/ 403 w 9600"/>
                <a:gd name="connsiteY89" fmla="*/ 1897 h 10000"/>
                <a:gd name="connsiteX0" fmla="*/ 420 w 9689"/>
                <a:gd name="connsiteY0" fmla="*/ 1897 h 10000"/>
                <a:gd name="connsiteX1" fmla="*/ 6467 w 9689"/>
                <a:gd name="connsiteY1" fmla="*/ 6915 h 10000"/>
                <a:gd name="connsiteX2" fmla="*/ 6040 w 9689"/>
                <a:gd name="connsiteY2" fmla="*/ 7114 h 10000"/>
                <a:gd name="connsiteX3" fmla="*/ 5682 w 9689"/>
                <a:gd name="connsiteY3" fmla="*/ 6907 h 10000"/>
                <a:gd name="connsiteX4" fmla="*/ 5159 w 9689"/>
                <a:gd name="connsiteY4" fmla="*/ 6781 h 10000"/>
                <a:gd name="connsiteX5" fmla="*/ 4901 w 9689"/>
                <a:gd name="connsiteY5" fmla="*/ 7064 h 10000"/>
                <a:gd name="connsiteX6" fmla="*/ 4259 w 9689"/>
                <a:gd name="connsiteY6" fmla="*/ 7281 h 10000"/>
                <a:gd name="connsiteX7" fmla="*/ 3848 w 9689"/>
                <a:gd name="connsiteY7" fmla="*/ 7279 h 10000"/>
                <a:gd name="connsiteX8" fmla="*/ 2949 w 9689"/>
                <a:gd name="connsiteY8" fmla="*/ 7095 h 10000"/>
                <a:gd name="connsiteX9" fmla="*/ 2709 w 9689"/>
                <a:gd name="connsiteY9" fmla="*/ 7195 h 10000"/>
                <a:gd name="connsiteX10" fmla="*/ 2109 w 9689"/>
                <a:gd name="connsiteY10" fmla="*/ 6973 h 10000"/>
                <a:gd name="connsiteX11" fmla="*/ 1844 w 9689"/>
                <a:gd name="connsiteY11" fmla="*/ 6638 h 10000"/>
                <a:gd name="connsiteX12" fmla="*/ 1404 w 9689"/>
                <a:gd name="connsiteY12" fmla="*/ 6729 h 10000"/>
                <a:gd name="connsiteX13" fmla="*/ 1283 w 9689"/>
                <a:gd name="connsiteY13" fmla="*/ 6927 h 10000"/>
                <a:gd name="connsiteX14" fmla="*/ 819 w 9689"/>
                <a:gd name="connsiteY14" fmla="*/ 7011 h 10000"/>
                <a:gd name="connsiteX15" fmla="*/ 510 w 9689"/>
                <a:gd name="connsiteY15" fmla="*/ 7004 h 10000"/>
                <a:gd name="connsiteX16" fmla="*/ 343 w 9689"/>
                <a:gd name="connsiteY16" fmla="*/ 7161 h 10000"/>
                <a:gd name="connsiteX17" fmla="*/ 54 w 9689"/>
                <a:gd name="connsiteY17" fmla="*/ 6913 h 10000"/>
                <a:gd name="connsiteX18" fmla="*/ 0 w 9689"/>
                <a:gd name="connsiteY18" fmla="*/ 7363 h 10000"/>
                <a:gd name="connsiteX19" fmla="*/ 103 w 9689"/>
                <a:gd name="connsiteY19" fmla="*/ 7428 h 10000"/>
                <a:gd name="connsiteX20" fmla="*/ 521 w 9689"/>
                <a:gd name="connsiteY20" fmla="*/ 7460 h 10000"/>
                <a:gd name="connsiteX21" fmla="*/ 577 w 9689"/>
                <a:gd name="connsiteY21" fmla="*/ 7588 h 10000"/>
                <a:gd name="connsiteX22" fmla="*/ 1042 w 9689"/>
                <a:gd name="connsiteY22" fmla="*/ 7621 h 10000"/>
                <a:gd name="connsiteX23" fmla="*/ 1304 w 9689"/>
                <a:gd name="connsiteY23" fmla="*/ 7749 h 10000"/>
                <a:gd name="connsiteX24" fmla="*/ 1354 w 9689"/>
                <a:gd name="connsiteY24" fmla="*/ 7974 h 10000"/>
                <a:gd name="connsiteX25" fmla="*/ 2190 w 9689"/>
                <a:gd name="connsiteY25" fmla="*/ 8360 h 10000"/>
                <a:gd name="connsiteX26" fmla="*/ 2398 w 9689"/>
                <a:gd name="connsiteY26" fmla="*/ 8746 h 10000"/>
                <a:gd name="connsiteX27" fmla="*/ 2969 w 9689"/>
                <a:gd name="connsiteY27" fmla="*/ 8939 h 10000"/>
                <a:gd name="connsiteX28" fmla="*/ 3178 w 9689"/>
                <a:gd name="connsiteY28" fmla="*/ 9196 h 10000"/>
                <a:gd name="connsiteX29" fmla="*/ 3594 w 9689"/>
                <a:gd name="connsiteY29" fmla="*/ 9518 h 10000"/>
                <a:gd name="connsiteX30" fmla="*/ 3909 w 9689"/>
                <a:gd name="connsiteY30" fmla="*/ 9614 h 10000"/>
                <a:gd name="connsiteX31" fmla="*/ 4116 w 9689"/>
                <a:gd name="connsiteY31" fmla="*/ 9518 h 10000"/>
                <a:gd name="connsiteX32" fmla="*/ 4636 w 9689"/>
                <a:gd name="connsiteY32" fmla="*/ 9550 h 10000"/>
                <a:gd name="connsiteX33" fmla="*/ 4846 w 9689"/>
                <a:gd name="connsiteY33" fmla="*/ 9486 h 10000"/>
                <a:gd name="connsiteX34" fmla="*/ 5781 w 9689"/>
                <a:gd name="connsiteY34" fmla="*/ 9968 h 10000"/>
                <a:gd name="connsiteX35" fmla="*/ 5834 w 9689"/>
                <a:gd name="connsiteY35" fmla="*/ 9968 h 10000"/>
                <a:gd name="connsiteX36" fmla="*/ 5939 w 9689"/>
                <a:gd name="connsiteY36" fmla="*/ 9904 h 10000"/>
                <a:gd name="connsiteX37" fmla="*/ 6611 w 9689"/>
                <a:gd name="connsiteY37" fmla="*/ 9904 h 10000"/>
                <a:gd name="connsiteX38" fmla="*/ 6720 w 9689"/>
                <a:gd name="connsiteY38" fmla="*/ 10000 h 10000"/>
                <a:gd name="connsiteX39" fmla="*/ 7292 w 9689"/>
                <a:gd name="connsiteY39" fmla="*/ 9871 h 10000"/>
                <a:gd name="connsiteX40" fmla="*/ 7811 w 9689"/>
                <a:gd name="connsiteY40" fmla="*/ 9871 h 10000"/>
                <a:gd name="connsiteX41" fmla="*/ 8176 w 9689"/>
                <a:gd name="connsiteY41" fmla="*/ 9743 h 10000"/>
                <a:gd name="connsiteX42" fmla="*/ 8595 w 9689"/>
                <a:gd name="connsiteY42" fmla="*/ 9486 h 10000"/>
                <a:gd name="connsiteX43" fmla="*/ 9689 w 9689"/>
                <a:gd name="connsiteY43" fmla="*/ 9486 h 10000"/>
                <a:gd name="connsiteX44" fmla="*/ 9689 w 9689"/>
                <a:gd name="connsiteY44" fmla="*/ 9132 h 10000"/>
                <a:gd name="connsiteX45" fmla="*/ 9116 w 9689"/>
                <a:gd name="connsiteY45" fmla="*/ 8971 h 10000"/>
                <a:gd name="connsiteX46" fmla="*/ 8801 w 9689"/>
                <a:gd name="connsiteY46" fmla="*/ 8457 h 10000"/>
                <a:gd name="connsiteX47" fmla="*/ 8386 w 9689"/>
                <a:gd name="connsiteY47" fmla="*/ 8264 h 10000"/>
                <a:gd name="connsiteX48" fmla="*/ 8124 w 9689"/>
                <a:gd name="connsiteY48" fmla="*/ 8006 h 10000"/>
                <a:gd name="connsiteX49" fmla="*/ 7448 w 9689"/>
                <a:gd name="connsiteY49" fmla="*/ 7814 h 10000"/>
                <a:gd name="connsiteX50" fmla="*/ 7604 w 9689"/>
                <a:gd name="connsiteY50" fmla="*/ 7749 h 10000"/>
                <a:gd name="connsiteX51" fmla="*/ 7604 w 9689"/>
                <a:gd name="connsiteY51" fmla="*/ 7588 h 10000"/>
                <a:gd name="connsiteX52" fmla="*/ 8075 w 9689"/>
                <a:gd name="connsiteY52" fmla="*/ 7588 h 10000"/>
                <a:gd name="connsiteX53" fmla="*/ 8332 w 9689"/>
                <a:gd name="connsiteY53" fmla="*/ 7460 h 10000"/>
                <a:gd name="connsiteX54" fmla="*/ 8386 w 9689"/>
                <a:gd name="connsiteY54" fmla="*/ 6527 h 10000"/>
                <a:gd name="connsiteX55" fmla="*/ 8436 w 9689"/>
                <a:gd name="connsiteY55" fmla="*/ 6559 h 10000"/>
                <a:gd name="connsiteX56" fmla="*/ 8252 w 9689"/>
                <a:gd name="connsiteY56" fmla="*/ 6618 h 10000"/>
                <a:gd name="connsiteX57" fmla="*/ 8178 w 9689"/>
                <a:gd name="connsiteY57" fmla="*/ 6745 h 10000"/>
                <a:gd name="connsiteX58" fmla="*/ 7713 w 9689"/>
                <a:gd name="connsiteY58" fmla="*/ 6497 h 10000"/>
                <a:gd name="connsiteX59" fmla="*/ 7629 w 9689"/>
                <a:gd name="connsiteY59" fmla="*/ 5828 h 10000"/>
                <a:gd name="connsiteX60" fmla="*/ 7132 w 9689"/>
                <a:gd name="connsiteY60" fmla="*/ 6118 h 10000"/>
                <a:gd name="connsiteX61" fmla="*/ 7140 w 9689"/>
                <a:gd name="connsiteY61" fmla="*/ 6462 h 10000"/>
                <a:gd name="connsiteX62" fmla="*/ 6739 w 9689"/>
                <a:gd name="connsiteY62" fmla="*/ 6670 h 10000"/>
                <a:gd name="connsiteX63" fmla="*/ 9634 w 9689"/>
                <a:gd name="connsiteY63" fmla="*/ 161 h 10000"/>
                <a:gd name="connsiteX64" fmla="*/ 9428 w 9689"/>
                <a:gd name="connsiteY64" fmla="*/ 0 h 10000"/>
                <a:gd name="connsiteX65" fmla="*/ 9116 w 9689"/>
                <a:gd name="connsiteY65" fmla="*/ 161 h 10000"/>
                <a:gd name="connsiteX66" fmla="*/ 8905 w 9689"/>
                <a:gd name="connsiteY66" fmla="*/ 129 h 10000"/>
                <a:gd name="connsiteX67" fmla="*/ 8748 w 9689"/>
                <a:gd name="connsiteY67" fmla="*/ 418 h 10000"/>
                <a:gd name="connsiteX68" fmla="*/ 8332 w 9689"/>
                <a:gd name="connsiteY68" fmla="*/ 482 h 10000"/>
                <a:gd name="connsiteX69" fmla="*/ 8229 w 9689"/>
                <a:gd name="connsiteY69" fmla="*/ 707 h 10000"/>
                <a:gd name="connsiteX70" fmla="*/ 7864 w 9689"/>
                <a:gd name="connsiteY70" fmla="*/ 707 h 10000"/>
                <a:gd name="connsiteX71" fmla="*/ 7552 w 9689"/>
                <a:gd name="connsiteY71" fmla="*/ 611 h 10000"/>
                <a:gd name="connsiteX72" fmla="*/ 6875 w 9689"/>
                <a:gd name="connsiteY72" fmla="*/ 611 h 10000"/>
                <a:gd name="connsiteX73" fmla="*/ 6198 w 9689"/>
                <a:gd name="connsiteY73" fmla="*/ 611 h 10000"/>
                <a:gd name="connsiteX74" fmla="*/ 6251 w 9689"/>
                <a:gd name="connsiteY74" fmla="*/ 482 h 10000"/>
                <a:gd name="connsiteX75" fmla="*/ 6146 w 9689"/>
                <a:gd name="connsiteY75" fmla="*/ 482 h 10000"/>
                <a:gd name="connsiteX76" fmla="*/ 6094 w 9689"/>
                <a:gd name="connsiteY76" fmla="*/ 611 h 10000"/>
                <a:gd name="connsiteX77" fmla="*/ 5468 w 9689"/>
                <a:gd name="connsiteY77" fmla="*/ 611 h 10000"/>
                <a:gd name="connsiteX78" fmla="*/ 4846 w 9689"/>
                <a:gd name="connsiteY78" fmla="*/ 611 h 10000"/>
                <a:gd name="connsiteX79" fmla="*/ 4221 w 9689"/>
                <a:gd name="connsiteY79" fmla="*/ 611 h 10000"/>
                <a:gd name="connsiteX80" fmla="*/ 3594 w 9689"/>
                <a:gd name="connsiteY80" fmla="*/ 611 h 10000"/>
                <a:gd name="connsiteX81" fmla="*/ 3023 w 9689"/>
                <a:gd name="connsiteY81" fmla="*/ 611 h 10000"/>
                <a:gd name="connsiteX82" fmla="*/ 2398 w 9689"/>
                <a:gd name="connsiteY82" fmla="*/ 611 h 10000"/>
                <a:gd name="connsiteX83" fmla="*/ 1825 w 9689"/>
                <a:gd name="connsiteY83" fmla="*/ 611 h 10000"/>
                <a:gd name="connsiteX84" fmla="*/ 1199 w 9689"/>
                <a:gd name="connsiteY84" fmla="*/ 611 h 10000"/>
                <a:gd name="connsiteX85" fmla="*/ 1199 w 9689"/>
                <a:gd name="connsiteY85" fmla="*/ 1061 h 10000"/>
                <a:gd name="connsiteX86" fmla="*/ 1199 w 9689"/>
                <a:gd name="connsiteY86" fmla="*/ 1640 h 10000"/>
                <a:gd name="connsiteX87" fmla="*/ 420 w 9689"/>
                <a:gd name="connsiteY87" fmla="*/ 1640 h 10000"/>
                <a:gd name="connsiteX88" fmla="*/ 420 w 9689"/>
                <a:gd name="connsiteY88" fmla="*/ 1897 h 10000"/>
                <a:gd name="connsiteX0" fmla="*/ 433 w 10000"/>
                <a:gd name="connsiteY0" fmla="*/ 1897 h 10000"/>
                <a:gd name="connsiteX1" fmla="*/ 6675 w 10000"/>
                <a:gd name="connsiteY1" fmla="*/ 6915 h 10000"/>
                <a:gd name="connsiteX2" fmla="*/ 6234 w 10000"/>
                <a:gd name="connsiteY2" fmla="*/ 7114 h 10000"/>
                <a:gd name="connsiteX3" fmla="*/ 5864 w 10000"/>
                <a:gd name="connsiteY3" fmla="*/ 6907 h 10000"/>
                <a:gd name="connsiteX4" fmla="*/ 5325 w 10000"/>
                <a:gd name="connsiteY4" fmla="*/ 6781 h 10000"/>
                <a:gd name="connsiteX5" fmla="*/ 5058 w 10000"/>
                <a:gd name="connsiteY5" fmla="*/ 7064 h 10000"/>
                <a:gd name="connsiteX6" fmla="*/ 4396 w 10000"/>
                <a:gd name="connsiteY6" fmla="*/ 7281 h 10000"/>
                <a:gd name="connsiteX7" fmla="*/ 3972 w 10000"/>
                <a:gd name="connsiteY7" fmla="*/ 7279 h 10000"/>
                <a:gd name="connsiteX8" fmla="*/ 3044 w 10000"/>
                <a:gd name="connsiteY8" fmla="*/ 7095 h 10000"/>
                <a:gd name="connsiteX9" fmla="*/ 2796 w 10000"/>
                <a:gd name="connsiteY9" fmla="*/ 7195 h 10000"/>
                <a:gd name="connsiteX10" fmla="*/ 2177 w 10000"/>
                <a:gd name="connsiteY10" fmla="*/ 6973 h 10000"/>
                <a:gd name="connsiteX11" fmla="*/ 1903 w 10000"/>
                <a:gd name="connsiteY11" fmla="*/ 6638 h 10000"/>
                <a:gd name="connsiteX12" fmla="*/ 1449 w 10000"/>
                <a:gd name="connsiteY12" fmla="*/ 6729 h 10000"/>
                <a:gd name="connsiteX13" fmla="*/ 1324 w 10000"/>
                <a:gd name="connsiteY13" fmla="*/ 6927 h 10000"/>
                <a:gd name="connsiteX14" fmla="*/ 845 w 10000"/>
                <a:gd name="connsiteY14" fmla="*/ 7011 h 10000"/>
                <a:gd name="connsiteX15" fmla="*/ 526 w 10000"/>
                <a:gd name="connsiteY15" fmla="*/ 7004 h 10000"/>
                <a:gd name="connsiteX16" fmla="*/ 354 w 10000"/>
                <a:gd name="connsiteY16" fmla="*/ 7161 h 10000"/>
                <a:gd name="connsiteX17" fmla="*/ 56 w 10000"/>
                <a:gd name="connsiteY17" fmla="*/ 6913 h 10000"/>
                <a:gd name="connsiteX18" fmla="*/ 0 w 10000"/>
                <a:gd name="connsiteY18" fmla="*/ 7363 h 10000"/>
                <a:gd name="connsiteX19" fmla="*/ 106 w 10000"/>
                <a:gd name="connsiteY19" fmla="*/ 7428 h 10000"/>
                <a:gd name="connsiteX20" fmla="*/ 538 w 10000"/>
                <a:gd name="connsiteY20" fmla="*/ 7460 h 10000"/>
                <a:gd name="connsiteX21" fmla="*/ 596 w 10000"/>
                <a:gd name="connsiteY21" fmla="*/ 7588 h 10000"/>
                <a:gd name="connsiteX22" fmla="*/ 1075 w 10000"/>
                <a:gd name="connsiteY22" fmla="*/ 7621 h 10000"/>
                <a:gd name="connsiteX23" fmla="*/ 1346 w 10000"/>
                <a:gd name="connsiteY23" fmla="*/ 7749 h 10000"/>
                <a:gd name="connsiteX24" fmla="*/ 1397 w 10000"/>
                <a:gd name="connsiteY24" fmla="*/ 7974 h 10000"/>
                <a:gd name="connsiteX25" fmla="*/ 2260 w 10000"/>
                <a:gd name="connsiteY25" fmla="*/ 8360 h 10000"/>
                <a:gd name="connsiteX26" fmla="*/ 2475 w 10000"/>
                <a:gd name="connsiteY26" fmla="*/ 8746 h 10000"/>
                <a:gd name="connsiteX27" fmla="*/ 3064 w 10000"/>
                <a:gd name="connsiteY27" fmla="*/ 8939 h 10000"/>
                <a:gd name="connsiteX28" fmla="*/ 3280 w 10000"/>
                <a:gd name="connsiteY28" fmla="*/ 9196 h 10000"/>
                <a:gd name="connsiteX29" fmla="*/ 3709 w 10000"/>
                <a:gd name="connsiteY29" fmla="*/ 9518 h 10000"/>
                <a:gd name="connsiteX30" fmla="*/ 4034 w 10000"/>
                <a:gd name="connsiteY30" fmla="*/ 9614 h 10000"/>
                <a:gd name="connsiteX31" fmla="*/ 4248 w 10000"/>
                <a:gd name="connsiteY31" fmla="*/ 9518 h 10000"/>
                <a:gd name="connsiteX32" fmla="*/ 4785 w 10000"/>
                <a:gd name="connsiteY32" fmla="*/ 9550 h 10000"/>
                <a:gd name="connsiteX33" fmla="*/ 5002 w 10000"/>
                <a:gd name="connsiteY33" fmla="*/ 9486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4 h 10000"/>
                <a:gd name="connsiteX37" fmla="*/ 6823 w 10000"/>
                <a:gd name="connsiteY37" fmla="*/ 9904 h 10000"/>
                <a:gd name="connsiteX38" fmla="*/ 6936 w 10000"/>
                <a:gd name="connsiteY38" fmla="*/ 10000 h 10000"/>
                <a:gd name="connsiteX39" fmla="*/ 7526 w 10000"/>
                <a:gd name="connsiteY39" fmla="*/ 9871 h 10000"/>
                <a:gd name="connsiteX40" fmla="*/ 8062 w 10000"/>
                <a:gd name="connsiteY40" fmla="*/ 9871 h 10000"/>
                <a:gd name="connsiteX41" fmla="*/ 8438 w 10000"/>
                <a:gd name="connsiteY41" fmla="*/ 9743 h 10000"/>
                <a:gd name="connsiteX42" fmla="*/ 8871 w 10000"/>
                <a:gd name="connsiteY42" fmla="*/ 9486 h 10000"/>
                <a:gd name="connsiteX43" fmla="*/ 10000 w 10000"/>
                <a:gd name="connsiteY43" fmla="*/ 9486 h 10000"/>
                <a:gd name="connsiteX44" fmla="*/ 10000 w 10000"/>
                <a:gd name="connsiteY44" fmla="*/ 9132 h 10000"/>
                <a:gd name="connsiteX45" fmla="*/ 9409 w 10000"/>
                <a:gd name="connsiteY45" fmla="*/ 8971 h 10000"/>
                <a:gd name="connsiteX46" fmla="*/ 9083 w 10000"/>
                <a:gd name="connsiteY46" fmla="*/ 8457 h 10000"/>
                <a:gd name="connsiteX47" fmla="*/ 8655 w 10000"/>
                <a:gd name="connsiteY47" fmla="*/ 8264 h 10000"/>
                <a:gd name="connsiteX48" fmla="*/ 8385 w 10000"/>
                <a:gd name="connsiteY48" fmla="*/ 8006 h 10000"/>
                <a:gd name="connsiteX49" fmla="*/ 7687 w 10000"/>
                <a:gd name="connsiteY49" fmla="*/ 7814 h 10000"/>
                <a:gd name="connsiteX50" fmla="*/ 7848 w 10000"/>
                <a:gd name="connsiteY50" fmla="*/ 7749 h 10000"/>
                <a:gd name="connsiteX51" fmla="*/ 7848 w 10000"/>
                <a:gd name="connsiteY51" fmla="*/ 7588 h 10000"/>
                <a:gd name="connsiteX52" fmla="*/ 8334 w 10000"/>
                <a:gd name="connsiteY52" fmla="*/ 7588 h 10000"/>
                <a:gd name="connsiteX53" fmla="*/ 8599 w 10000"/>
                <a:gd name="connsiteY53" fmla="*/ 7460 h 10000"/>
                <a:gd name="connsiteX54" fmla="*/ 8655 w 10000"/>
                <a:gd name="connsiteY54" fmla="*/ 6527 h 10000"/>
                <a:gd name="connsiteX55" fmla="*/ 8707 w 10000"/>
                <a:gd name="connsiteY55" fmla="*/ 6559 h 10000"/>
                <a:gd name="connsiteX56" fmla="*/ 8517 w 10000"/>
                <a:gd name="connsiteY56" fmla="*/ 6618 h 10000"/>
                <a:gd name="connsiteX57" fmla="*/ 8440 w 10000"/>
                <a:gd name="connsiteY57" fmla="*/ 6745 h 10000"/>
                <a:gd name="connsiteX58" fmla="*/ 7961 w 10000"/>
                <a:gd name="connsiteY58" fmla="*/ 6497 h 10000"/>
                <a:gd name="connsiteX59" fmla="*/ 7874 w 10000"/>
                <a:gd name="connsiteY59" fmla="*/ 5828 h 10000"/>
                <a:gd name="connsiteX60" fmla="*/ 7361 w 10000"/>
                <a:gd name="connsiteY60" fmla="*/ 6118 h 10000"/>
                <a:gd name="connsiteX61" fmla="*/ 7369 w 10000"/>
                <a:gd name="connsiteY61" fmla="*/ 6462 h 10000"/>
                <a:gd name="connsiteX62" fmla="*/ 6955 w 10000"/>
                <a:gd name="connsiteY62" fmla="*/ 6670 h 10000"/>
                <a:gd name="connsiteX63" fmla="*/ 9731 w 10000"/>
                <a:gd name="connsiteY63" fmla="*/ 0 h 10000"/>
                <a:gd name="connsiteX64" fmla="*/ 9409 w 10000"/>
                <a:gd name="connsiteY64" fmla="*/ 161 h 10000"/>
                <a:gd name="connsiteX65" fmla="*/ 9191 w 10000"/>
                <a:gd name="connsiteY65" fmla="*/ 129 h 10000"/>
                <a:gd name="connsiteX66" fmla="*/ 9029 w 10000"/>
                <a:gd name="connsiteY66" fmla="*/ 418 h 10000"/>
                <a:gd name="connsiteX67" fmla="*/ 8599 w 10000"/>
                <a:gd name="connsiteY67" fmla="*/ 482 h 10000"/>
                <a:gd name="connsiteX68" fmla="*/ 8493 w 10000"/>
                <a:gd name="connsiteY68" fmla="*/ 707 h 10000"/>
                <a:gd name="connsiteX69" fmla="*/ 8116 w 10000"/>
                <a:gd name="connsiteY69" fmla="*/ 707 h 10000"/>
                <a:gd name="connsiteX70" fmla="*/ 7794 w 10000"/>
                <a:gd name="connsiteY70" fmla="*/ 611 h 10000"/>
                <a:gd name="connsiteX71" fmla="*/ 7096 w 10000"/>
                <a:gd name="connsiteY71" fmla="*/ 611 h 10000"/>
                <a:gd name="connsiteX72" fmla="*/ 6397 w 10000"/>
                <a:gd name="connsiteY72" fmla="*/ 611 h 10000"/>
                <a:gd name="connsiteX73" fmla="*/ 6452 w 10000"/>
                <a:gd name="connsiteY73" fmla="*/ 482 h 10000"/>
                <a:gd name="connsiteX74" fmla="*/ 6343 w 10000"/>
                <a:gd name="connsiteY74" fmla="*/ 482 h 10000"/>
                <a:gd name="connsiteX75" fmla="*/ 6290 w 10000"/>
                <a:gd name="connsiteY75" fmla="*/ 611 h 10000"/>
                <a:gd name="connsiteX76" fmla="*/ 5644 w 10000"/>
                <a:gd name="connsiteY76" fmla="*/ 611 h 10000"/>
                <a:gd name="connsiteX77" fmla="*/ 5002 w 10000"/>
                <a:gd name="connsiteY77" fmla="*/ 611 h 10000"/>
                <a:gd name="connsiteX78" fmla="*/ 4356 w 10000"/>
                <a:gd name="connsiteY78" fmla="*/ 611 h 10000"/>
                <a:gd name="connsiteX79" fmla="*/ 3709 w 10000"/>
                <a:gd name="connsiteY79" fmla="*/ 611 h 10000"/>
                <a:gd name="connsiteX80" fmla="*/ 3120 w 10000"/>
                <a:gd name="connsiteY80" fmla="*/ 611 h 10000"/>
                <a:gd name="connsiteX81" fmla="*/ 2475 w 10000"/>
                <a:gd name="connsiteY81" fmla="*/ 611 h 10000"/>
                <a:gd name="connsiteX82" fmla="*/ 1884 w 10000"/>
                <a:gd name="connsiteY82" fmla="*/ 611 h 10000"/>
                <a:gd name="connsiteX83" fmla="*/ 1237 w 10000"/>
                <a:gd name="connsiteY83" fmla="*/ 611 h 10000"/>
                <a:gd name="connsiteX84" fmla="*/ 1237 w 10000"/>
                <a:gd name="connsiteY84" fmla="*/ 1061 h 10000"/>
                <a:gd name="connsiteX85" fmla="*/ 1237 w 10000"/>
                <a:gd name="connsiteY85" fmla="*/ 1640 h 10000"/>
                <a:gd name="connsiteX86" fmla="*/ 433 w 10000"/>
                <a:gd name="connsiteY86" fmla="*/ 1640 h 10000"/>
                <a:gd name="connsiteX87" fmla="*/ 433 w 10000"/>
                <a:gd name="connsiteY87" fmla="*/ 1897 h 10000"/>
                <a:gd name="connsiteX0" fmla="*/ 433 w 10000"/>
                <a:gd name="connsiteY0" fmla="*/ 1768 h 9871"/>
                <a:gd name="connsiteX1" fmla="*/ 6675 w 10000"/>
                <a:gd name="connsiteY1" fmla="*/ 6786 h 9871"/>
                <a:gd name="connsiteX2" fmla="*/ 6234 w 10000"/>
                <a:gd name="connsiteY2" fmla="*/ 6985 h 9871"/>
                <a:gd name="connsiteX3" fmla="*/ 5864 w 10000"/>
                <a:gd name="connsiteY3" fmla="*/ 6778 h 9871"/>
                <a:gd name="connsiteX4" fmla="*/ 5325 w 10000"/>
                <a:gd name="connsiteY4" fmla="*/ 6652 h 9871"/>
                <a:gd name="connsiteX5" fmla="*/ 5058 w 10000"/>
                <a:gd name="connsiteY5" fmla="*/ 6935 h 9871"/>
                <a:gd name="connsiteX6" fmla="*/ 4396 w 10000"/>
                <a:gd name="connsiteY6" fmla="*/ 7152 h 9871"/>
                <a:gd name="connsiteX7" fmla="*/ 3972 w 10000"/>
                <a:gd name="connsiteY7" fmla="*/ 7150 h 9871"/>
                <a:gd name="connsiteX8" fmla="*/ 3044 w 10000"/>
                <a:gd name="connsiteY8" fmla="*/ 6966 h 9871"/>
                <a:gd name="connsiteX9" fmla="*/ 2796 w 10000"/>
                <a:gd name="connsiteY9" fmla="*/ 7066 h 9871"/>
                <a:gd name="connsiteX10" fmla="*/ 2177 w 10000"/>
                <a:gd name="connsiteY10" fmla="*/ 6844 h 9871"/>
                <a:gd name="connsiteX11" fmla="*/ 1903 w 10000"/>
                <a:gd name="connsiteY11" fmla="*/ 6509 h 9871"/>
                <a:gd name="connsiteX12" fmla="*/ 1449 w 10000"/>
                <a:gd name="connsiteY12" fmla="*/ 6600 h 9871"/>
                <a:gd name="connsiteX13" fmla="*/ 1324 w 10000"/>
                <a:gd name="connsiteY13" fmla="*/ 6798 h 9871"/>
                <a:gd name="connsiteX14" fmla="*/ 845 w 10000"/>
                <a:gd name="connsiteY14" fmla="*/ 6882 h 9871"/>
                <a:gd name="connsiteX15" fmla="*/ 526 w 10000"/>
                <a:gd name="connsiteY15" fmla="*/ 6875 h 9871"/>
                <a:gd name="connsiteX16" fmla="*/ 354 w 10000"/>
                <a:gd name="connsiteY16" fmla="*/ 7032 h 9871"/>
                <a:gd name="connsiteX17" fmla="*/ 56 w 10000"/>
                <a:gd name="connsiteY17" fmla="*/ 6784 h 9871"/>
                <a:gd name="connsiteX18" fmla="*/ 0 w 10000"/>
                <a:gd name="connsiteY18" fmla="*/ 7234 h 9871"/>
                <a:gd name="connsiteX19" fmla="*/ 106 w 10000"/>
                <a:gd name="connsiteY19" fmla="*/ 7299 h 9871"/>
                <a:gd name="connsiteX20" fmla="*/ 538 w 10000"/>
                <a:gd name="connsiteY20" fmla="*/ 7331 h 9871"/>
                <a:gd name="connsiteX21" fmla="*/ 596 w 10000"/>
                <a:gd name="connsiteY21" fmla="*/ 7459 h 9871"/>
                <a:gd name="connsiteX22" fmla="*/ 1075 w 10000"/>
                <a:gd name="connsiteY22" fmla="*/ 7492 h 9871"/>
                <a:gd name="connsiteX23" fmla="*/ 1346 w 10000"/>
                <a:gd name="connsiteY23" fmla="*/ 7620 h 9871"/>
                <a:gd name="connsiteX24" fmla="*/ 1397 w 10000"/>
                <a:gd name="connsiteY24" fmla="*/ 7845 h 9871"/>
                <a:gd name="connsiteX25" fmla="*/ 2260 w 10000"/>
                <a:gd name="connsiteY25" fmla="*/ 8231 h 9871"/>
                <a:gd name="connsiteX26" fmla="*/ 2475 w 10000"/>
                <a:gd name="connsiteY26" fmla="*/ 8617 h 9871"/>
                <a:gd name="connsiteX27" fmla="*/ 3064 w 10000"/>
                <a:gd name="connsiteY27" fmla="*/ 8810 h 9871"/>
                <a:gd name="connsiteX28" fmla="*/ 3280 w 10000"/>
                <a:gd name="connsiteY28" fmla="*/ 9067 h 9871"/>
                <a:gd name="connsiteX29" fmla="*/ 3709 w 10000"/>
                <a:gd name="connsiteY29" fmla="*/ 9389 h 9871"/>
                <a:gd name="connsiteX30" fmla="*/ 4034 w 10000"/>
                <a:gd name="connsiteY30" fmla="*/ 9485 h 9871"/>
                <a:gd name="connsiteX31" fmla="*/ 4248 w 10000"/>
                <a:gd name="connsiteY31" fmla="*/ 9389 h 9871"/>
                <a:gd name="connsiteX32" fmla="*/ 4785 w 10000"/>
                <a:gd name="connsiteY32" fmla="*/ 9421 h 9871"/>
                <a:gd name="connsiteX33" fmla="*/ 5002 w 10000"/>
                <a:gd name="connsiteY33" fmla="*/ 9357 h 9871"/>
                <a:gd name="connsiteX34" fmla="*/ 5967 w 10000"/>
                <a:gd name="connsiteY34" fmla="*/ 9839 h 9871"/>
                <a:gd name="connsiteX35" fmla="*/ 6021 w 10000"/>
                <a:gd name="connsiteY35" fmla="*/ 9839 h 9871"/>
                <a:gd name="connsiteX36" fmla="*/ 6130 w 10000"/>
                <a:gd name="connsiteY36" fmla="*/ 9775 h 9871"/>
                <a:gd name="connsiteX37" fmla="*/ 6823 w 10000"/>
                <a:gd name="connsiteY37" fmla="*/ 9775 h 9871"/>
                <a:gd name="connsiteX38" fmla="*/ 6936 w 10000"/>
                <a:gd name="connsiteY38" fmla="*/ 9871 h 9871"/>
                <a:gd name="connsiteX39" fmla="*/ 7526 w 10000"/>
                <a:gd name="connsiteY39" fmla="*/ 9742 h 9871"/>
                <a:gd name="connsiteX40" fmla="*/ 8062 w 10000"/>
                <a:gd name="connsiteY40" fmla="*/ 9742 h 9871"/>
                <a:gd name="connsiteX41" fmla="*/ 8438 w 10000"/>
                <a:gd name="connsiteY41" fmla="*/ 9614 h 9871"/>
                <a:gd name="connsiteX42" fmla="*/ 8871 w 10000"/>
                <a:gd name="connsiteY42" fmla="*/ 9357 h 9871"/>
                <a:gd name="connsiteX43" fmla="*/ 10000 w 10000"/>
                <a:gd name="connsiteY43" fmla="*/ 9357 h 9871"/>
                <a:gd name="connsiteX44" fmla="*/ 10000 w 10000"/>
                <a:gd name="connsiteY44" fmla="*/ 9003 h 9871"/>
                <a:gd name="connsiteX45" fmla="*/ 9409 w 10000"/>
                <a:gd name="connsiteY45" fmla="*/ 8842 h 9871"/>
                <a:gd name="connsiteX46" fmla="*/ 9083 w 10000"/>
                <a:gd name="connsiteY46" fmla="*/ 8328 h 9871"/>
                <a:gd name="connsiteX47" fmla="*/ 8655 w 10000"/>
                <a:gd name="connsiteY47" fmla="*/ 8135 h 9871"/>
                <a:gd name="connsiteX48" fmla="*/ 8385 w 10000"/>
                <a:gd name="connsiteY48" fmla="*/ 7877 h 9871"/>
                <a:gd name="connsiteX49" fmla="*/ 7687 w 10000"/>
                <a:gd name="connsiteY49" fmla="*/ 7685 h 9871"/>
                <a:gd name="connsiteX50" fmla="*/ 7848 w 10000"/>
                <a:gd name="connsiteY50" fmla="*/ 7620 h 9871"/>
                <a:gd name="connsiteX51" fmla="*/ 7848 w 10000"/>
                <a:gd name="connsiteY51" fmla="*/ 7459 h 9871"/>
                <a:gd name="connsiteX52" fmla="*/ 8334 w 10000"/>
                <a:gd name="connsiteY52" fmla="*/ 7459 h 9871"/>
                <a:gd name="connsiteX53" fmla="*/ 8599 w 10000"/>
                <a:gd name="connsiteY53" fmla="*/ 7331 h 9871"/>
                <a:gd name="connsiteX54" fmla="*/ 8655 w 10000"/>
                <a:gd name="connsiteY54" fmla="*/ 6398 h 9871"/>
                <a:gd name="connsiteX55" fmla="*/ 8707 w 10000"/>
                <a:gd name="connsiteY55" fmla="*/ 6430 h 9871"/>
                <a:gd name="connsiteX56" fmla="*/ 8517 w 10000"/>
                <a:gd name="connsiteY56" fmla="*/ 6489 h 9871"/>
                <a:gd name="connsiteX57" fmla="*/ 8440 w 10000"/>
                <a:gd name="connsiteY57" fmla="*/ 6616 h 9871"/>
                <a:gd name="connsiteX58" fmla="*/ 7961 w 10000"/>
                <a:gd name="connsiteY58" fmla="*/ 6368 h 9871"/>
                <a:gd name="connsiteX59" fmla="*/ 7874 w 10000"/>
                <a:gd name="connsiteY59" fmla="*/ 5699 h 9871"/>
                <a:gd name="connsiteX60" fmla="*/ 7361 w 10000"/>
                <a:gd name="connsiteY60" fmla="*/ 5989 h 9871"/>
                <a:gd name="connsiteX61" fmla="*/ 7369 w 10000"/>
                <a:gd name="connsiteY61" fmla="*/ 6333 h 9871"/>
                <a:gd name="connsiteX62" fmla="*/ 6955 w 10000"/>
                <a:gd name="connsiteY62" fmla="*/ 6541 h 9871"/>
                <a:gd name="connsiteX63" fmla="*/ 9409 w 10000"/>
                <a:gd name="connsiteY63" fmla="*/ 32 h 9871"/>
                <a:gd name="connsiteX64" fmla="*/ 9191 w 10000"/>
                <a:gd name="connsiteY64" fmla="*/ 0 h 9871"/>
                <a:gd name="connsiteX65" fmla="*/ 9029 w 10000"/>
                <a:gd name="connsiteY65" fmla="*/ 289 h 9871"/>
                <a:gd name="connsiteX66" fmla="*/ 8599 w 10000"/>
                <a:gd name="connsiteY66" fmla="*/ 353 h 9871"/>
                <a:gd name="connsiteX67" fmla="*/ 8493 w 10000"/>
                <a:gd name="connsiteY67" fmla="*/ 578 h 9871"/>
                <a:gd name="connsiteX68" fmla="*/ 8116 w 10000"/>
                <a:gd name="connsiteY68" fmla="*/ 578 h 9871"/>
                <a:gd name="connsiteX69" fmla="*/ 7794 w 10000"/>
                <a:gd name="connsiteY69" fmla="*/ 482 h 9871"/>
                <a:gd name="connsiteX70" fmla="*/ 7096 w 10000"/>
                <a:gd name="connsiteY70" fmla="*/ 482 h 9871"/>
                <a:gd name="connsiteX71" fmla="*/ 6397 w 10000"/>
                <a:gd name="connsiteY71" fmla="*/ 482 h 9871"/>
                <a:gd name="connsiteX72" fmla="*/ 6452 w 10000"/>
                <a:gd name="connsiteY72" fmla="*/ 353 h 9871"/>
                <a:gd name="connsiteX73" fmla="*/ 6343 w 10000"/>
                <a:gd name="connsiteY73" fmla="*/ 353 h 9871"/>
                <a:gd name="connsiteX74" fmla="*/ 6290 w 10000"/>
                <a:gd name="connsiteY74" fmla="*/ 482 h 9871"/>
                <a:gd name="connsiteX75" fmla="*/ 5644 w 10000"/>
                <a:gd name="connsiteY75" fmla="*/ 482 h 9871"/>
                <a:gd name="connsiteX76" fmla="*/ 5002 w 10000"/>
                <a:gd name="connsiteY76" fmla="*/ 482 h 9871"/>
                <a:gd name="connsiteX77" fmla="*/ 4356 w 10000"/>
                <a:gd name="connsiteY77" fmla="*/ 482 h 9871"/>
                <a:gd name="connsiteX78" fmla="*/ 3709 w 10000"/>
                <a:gd name="connsiteY78" fmla="*/ 482 h 9871"/>
                <a:gd name="connsiteX79" fmla="*/ 3120 w 10000"/>
                <a:gd name="connsiteY79" fmla="*/ 482 h 9871"/>
                <a:gd name="connsiteX80" fmla="*/ 2475 w 10000"/>
                <a:gd name="connsiteY80" fmla="*/ 482 h 9871"/>
                <a:gd name="connsiteX81" fmla="*/ 1884 w 10000"/>
                <a:gd name="connsiteY81" fmla="*/ 482 h 9871"/>
                <a:gd name="connsiteX82" fmla="*/ 1237 w 10000"/>
                <a:gd name="connsiteY82" fmla="*/ 482 h 9871"/>
                <a:gd name="connsiteX83" fmla="*/ 1237 w 10000"/>
                <a:gd name="connsiteY83" fmla="*/ 932 h 9871"/>
                <a:gd name="connsiteX84" fmla="*/ 1237 w 10000"/>
                <a:gd name="connsiteY84" fmla="*/ 1511 h 9871"/>
                <a:gd name="connsiteX85" fmla="*/ 433 w 10000"/>
                <a:gd name="connsiteY85" fmla="*/ 1511 h 9871"/>
                <a:gd name="connsiteX86" fmla="*/ 433 w 10000"/>
                <a:gd name="connsiteY86" fmla="*/ 1768 h 9871"/>
                <a:gd name="connsiteX0" fmla="*/ 433 w 10000"/>
                <a:gd name="connsiteY0" fmla="*/ 1791 h 10000"/>
                <a:gd name="connsiteX1" fmla="*/ 6675 w 10000"/>
                <a:gd name="connsiteY1" fmla="*/ 6875 h 10000"/>
                <a:gd name="connsiteX2" fmla="*/ 6234 w 10000"/>
                <a:gd name="connsiteY2" fmla="*/ 7076 h 10000"/>
                <a:gd name="connsiteX3" fmla="*/ 5864 w 10000"/>
                <a:gd name="connsiteY3" fmla="*/ 6867 h 10000"/>
                <a:gd name="connsiteX4" fmla="*/ 5325 w 10000"/>
                <a:gd name="connsiteY4" fmla="*/ 6739 h 10000"/>
                <a:gd name="connsiteX5" fmla="*/ 5058 w 10000"/>
                <a:gd name="connsiteY5" fmla="*/ 7026 h 10000"/>
                <a:gd name="connsiteX6" fmla="*/ 4396 w 10000"/>
                <a:gd name="connsiteY6" fmla="*/ 7245 h 10000"/>
                <a:gd name="connsiteX7" fmla="*/ 3972 w 10000"/>
                <a:gd name="connsiteY7" fmla="*/ 7243 h 10000"/>
                <a:gd name="connsiteX8" fmla="*/ 3044 w 10000"/>
                <a:gd name="connsiteY8" fmla="*/ 7057 h 10000"/>
                <a:gd name="connsiteX9" fmla="*/ 2796 w 10000"/>
                <a:gd name="connsiteY9" fmla="*/ 7158 h 10000"/>
                <a:gd name="connsiteX10" fmla="*/ 2177 w 10000"/>
                <a:gd name="connsiteY10" fmla="*/ 6933 h 10000"/>
                <a:gd name="connsiteX11" fmla="*/ 1903 w 10000"/>
                <a:gd name="connsiteY11" fmla="*/ 6594 h 10000"/>
                <a:gd name="connsiteX12" fmla="*/ 1449 w 10000"/>
                <a:gd name="connsiteY12" fmla="*/ 6686 h 10000"/>
                <a:gd name="connsiteX13" fmla="*/ 1324 w 10000"/>
                <a:gd name="connsiteY13" fmla="*/ 6887 h 10000"/>
                <a:gd name="connsiteX14" fmla="*/ 845 w 10000"/>
                <a:gd name="connsiteY14" fmla="*/ 6972 h 10000"/>
                <a:gd name="connsiteX15" fmla="*/ 526 w 10000"/>
                <a:gd name="connsiteY15" fmla="*/ 6965 h 10000"/>
                <a:gd name="connsiteX16" fmla="*/ 354 w 10000"/>
                <a:gd name="connsiteY16" fmla="*/ 7124 h 10000"/>
                <a:gd name="connsiteX17" fmla="*/ 56 w 10000"/>
                <a:gd name="connsiteY17" fmla="*/ 6873 h 10000"/>
                <a:gd name="connsiteX18" fmla="*/ 0 w 10000"/>
                <a:gd name="connsiteY18" fmla="*/ 7329 h 10000"/>
                <a:gd name="connsiteX19" fmla="*/ 106 w 10000"/>
                <a:gd name="connsiteY19" fmla="*/ 7394 h 10000"/>
                <a:gd name="connsiteX20" fmla="*/ 538 w 10000"/>
                <a:gd name="connsiteY20" fmla="*/ 7427 h 10000"/>
                <a:gd name="connsiteX21" fmla="*/ 596 w 10000"/>
                <a:gd name="connsiteY21" fmla="*/ 7556 h 10000"/>
                <a:gd name="connsiteX22" fmla="*/ 1075 w 10000"/>
                <a:gd name="connsiteY22" fmla="*/ 7590 h 10000"/>
                <a:gd name="connsiteX23" fmla="*/ 1346 w 10000"/>
                <a:gd name="connsiteY23" fmla="*/ 7720 h 10000"/>
                <a:gd name="connsiteX24" fmla="*/ 1397 w 10000"/>
                <a:gd name="connsiteY24" fmla="*/ 7948 h 10000"/>
                <a:gd name="connsiteX25" fmla="*/ 2260 w 10000"/>
                <a:gd name="connsiteY25" fmla="*/ 8339 h 10000"/>
                <a:gd name="connsiteX26" fmla="*/ 2475 w 10000"/>
                <a:gd name="connsiteY26" fmla="*/ 8730 h 10000"/>
                <a:gd name="connsiteX27" fmla="*/ 3064 w 10000"/>
                <a:gd name="connsiteY27" fmla="*/ 8925 h 10000"/>
                <a:gd name="connsiteX28" fmla="*/ 3280 w 10000"/>
                <a:gd name="connsiteY28" fmla="*/ 9185 h 10000"/>
                <a:gd name="connsiteX29" fmla="*/ 3709 w 10000"/>
                <a:gd name="connsiteY29" fmla="*/ 9512 h 10000"/>
                <a:gd name="connsiteX30" fmla="*/ 4034 w 10000"/>
                <a:gd name="connsiteY30" fmla="*/ 9609 h 10000"/>
                <a:gd name="connsiteX31" fmla="*/ 4248 w 10000"/>
                <a:gd name="connsiteY31" fmla="*/ 9512 h 10000"/>
                <a:gd name="connsiteX32" fmla="*/ 4785 w 10000"/>
                <a:gd name="connsiteY32" fmla="*/ 9544 h 10000"/>
                <a:gd name="connsiteX33" fmla="*/ 5002 w 10000"/>
                <a:gd name="connsiteY33" fmla="*/ 9479 h 10000"/>
                <a:gd name="connsiteX34" fmla="*/ 5967 w 10000"/>
                <a:gd name="connsiteY34" fmla="*/ 9968 h 10000"/>
                <a:gd name="connsiteX35" fmla="*/ 6021 w 10000"/>
                <a:gd name="connsiteY35" fmla="*/ 9968 h 10000"/>
                <a:gd name="connsiteX36" fmla="*/ 6130 w 10000"/>
                <a:gd name="connsiteY36" fmla="*/ 9903 h 10000"/>
                <a:gd name="connsiteX37" fmla="*/ 6823 w 10000"/>
                <a:gd name="connsiteY37" fmla="*/ 9903 h 10000"/>
                <a:gd name="connsiteX38" fmla="*/ 6936 w 10000"/>
                <a:gd name="connsiteY38" fmla="*/ 10000 h 10000"/>
                <a:gd name="connsiteX39" fmla="*/ 7526 w 10000"/>
                <a:gd name="connsiteY39" fmla="*/ 9869 h 10000"/>
                <a:gd name="connsiteX40" fmla="*/ 8062 w 10000"/>
                <a:gd name="connsiteY40" fmla="*/ 9869 h 10000"/>
                <a:gd name="connsiteX41" fmla="*/ 8438 w 10000"/>
                <a:gd name="connsiteY41" fmla="*/ 9740 h 10000"/>
                <a:gd name="connsiteX42" fmla="*/ 8871 w 10000"/>
                <a:gd name="connsiteY42" fmla="*/ 9479 h 10000"/>
                <a:gd name="connsiteX43" fmla="*/ 10000 w 10000"/>
                <a:gd name="connsiteY43" fmla="*/ 9479 h 10000"/>
                <a:gd name="connsiteX44" fmla="*/ 10000 w 10000"/>
                <a:gd name="connsiteY44" fmla="*/ 9121 h 10000"/>
                <a:gd name="connsiteX45" fmla="*/ 9409 w 10000"/>
                <a:gd name="connsiteY45" fmla="*/ 8958 h 10000"/>
                <a:gd name="connsiteX46" fmla="*/ 9083 w 10000"/>
                <a:gd name="connsiteY46" fmla="*/ 8437 h 10000"/>
                <a:gd name="connsiteX47" fmla="*/ 8655 w 10000"/>
                <a:gd name="connsiteY47" fmla="*/ 8241 h 10000"/>
                <a:gd name="connsiteX48" fmla="*/ 8385 w 10000"/>
                <a:gd name="connsiteY48" fmla="*/ 7980 h 10000"/>
                <a:gd name="connsiteX49" fmla="*/ 7687 w 10000"/>
                <a:gd name="connsiteY49" fmla="*/ 7785 h 10000"/>
                <a:gd name="connsiteX50" fmla="*/ 7848 w 10000"/>
                <a:gd name="connsiteY50" fmla="*/ 7720 h 10000"/>
                <a:gd name="connsiteX51" fmla="*/ 7848 w 10000"/>
                <a:gd name="connsiteY51" fmla="*/ 7556 h 10000"/>
                <a:gd name="connsiteX52" fmla="*/ 8334 w 10000"/>
                <a:gd name="connsiteY52" fmla="*/ 7556 h 10000"/>
                <a:gd name="connsiteX53" fmla="*/ 8599 w 10000"/>
                <a:gd name="connsiteY53" fmla="*/ 7427 h 10000"/>
                <a:gd name="connsiteX54" fmla="*/ 8655 w 10000"/>
                <a:gd name="connsiteY54" fmla="*/ 6482 h 10000"/>
                <a:gd name="connsiteX55" fmla="*/ 8707 w 10000"/>
                <a:gd name="connsiteY55" fmla="*/ 6514 h 10000"/>
                <a:gd name="connsiteX56" fmla="*/ 8517 w 10000"/>
                <a:gd name="connsiteY56" fmla="*/ 6574 h 10000"/>
                <a:gd name="connsiteX57" fmla="*/ 8440 w 10000"/>
                <a:gd name="connsiteY57" fmla="*/ 6702 h 10000"/>
                <a:gd name="connsiteX58" fmla="*/ 7961 w 10000"/>
                <a:gd name="connsiteY58" fmla="*/ 6451 h 10000"/>
                <a:gd name="connsiteX59" fmla="*/ 7874 w 10000"/>
                <a:gd name="connsiteY59" fmla="*/ 5773 h 10000"/>
                <a:gd name="connsiteX60" fmla="*/ 7361 w 10000"/>
                <a:gd name="connsiteY60" fmla="*/ 6067 h 10000"/>
                <a:gd name="connsiteX61" fmla="*/ 7369 w 10000"/>
                <a:gd name="connsiteY61" fmla="*/ 6416 h 10000"/>
                <a:gd name="connsiteX62" fmla="*/ 6955 w 10000"/>
                <a:gd name="connsiteY62" fmla="*/ 6626 h 10000"/>
                <a:gd name="connsiteX63" fmla="*/ 9191 w 10000"/>
                <a:gd name="connsiteY63" fmla="*/ 0 h 10000"/>
                <a:gd name="connsiteX64" fmla="*/ 9029 w 10000"/>
                <a:gd name="connsiteY64" fmla="*/ 293 h 10000"/>
                <a:gd name="connsiteX65" fmla="*/ 8599 w 10000"/>
                <a:gd name="connsiteY65" fmla="*/ 358 h 10000"/>
                <a:gd name="connsiteX66" fmla="*/ 8493 w 10000"/>
                <a:gd name="connsiteY66" fmla="*/ 586 h 10000"/>
                <a:gd name="connsiteX67" fmla="*/ 8116 w 10000"/>
                <a:gd name="connsiteY67" fmla="*/ 586 h 10000"/>
                <a:gd name="connsiteX68" fmla="*/ 7794 w 10000"/>
                <a:gd name="connsiteY68" fmla="*/ 488 h 10000"/>
                <a:gd name="connsiteX69" fmla="*/ 7096 w 10000"/>
                <a:gd name="connsiteY69" fmla="*/ 488 h 10000"/>
                <a:gd name="connsiteX70" fmla="*/ 6397 w 10000"/>
                <a:gd name="connsiteY70" fmla="*/ 488 h 10000"/>
                <a:gd name="connsiteX71" fmla="*/ 6452 w 10000"/>
                <a:gd name="connsiteY71" fmla="*/ 358 h 10000"/>
                <a:gd name="connsiteX72" fmla="*/ 6343 w 10000"/>
                <a:gd name="connsiteY72" fmla="*/ 358 h 10000"/>
                <a:gd name="connsiteX73" fmla="*/ 6290 w 10000"/>
                <a:gd name="connsiteY73" fmla="*/ 488 h 10000"/>
                <a:gd name="connsiteX74" fmla="*/ 5644 w 10000"/>
                <a:gd name="connsiteY74" fmla="*/ 488 h 10000"/>
                <a:gd name="connsiteX75" fmla="*/ 5002 w 10000"/>
                <a:gd name="connsiteY75" fmla="*/ 488 h 10000"/>
                <a:gd name="connsiteX76" fmla="*/ 4356 w 10000"/>
                <a:gd name="connsiteY76" fmla="*/ 488 h 10000"/>
                <a:gd name="connsiteX77" fmla="*/ 3709 w 10000"/>
                <a:gd name="connsiteY77" fmla="*/ 488 h 10000"/>
                <a:gd name="connsiteX78" fmla="*/ 3120 w 10000"/>
                <a:gd name="connsiteY78" fmla="*/ 488 h 10000"/>
                <a:gd name="connsiteX79" fmla="*/ 2475 w 10000"/>
                <a:gd name="connsiteY79" fmla="*/ 488 h 10000"/>
                <a:gd name="connsiteX80" fmla="*/ 1884 w 10000"/>
                <a:gd name="connsiteY80" fmla="*/ 488 h 10000"/>
                <a:gd name="connsiteX81" fmla="*/ 1237 w 10000"/>
                <a:gd name="connsiteY81" fmla="*/ 488 h 10000"/>
                <a:gd name="connsiteX82" fmla="*/ 1237 w 10000"/>
                <a:gd name="connsiteY82" fmla="*/ 944 h 10000"/>
                <a:gd name="connsiteX83" fmla="*/ 1237 w 10000"/>
                <a:gd name="connsiteY83" fmla="*/ 1531 h 10000"/>
                <a:gd name="connsiteX84" fmla="*/ 433 w 10000"/>
                <a:gd name="connsiteY84" fmla="*/ 1531 h 10000"/>
                <a:gd name="connsiteX85" fmla="*/ 433 w 10000"/>
                <a:gd name="connsiteY85" fmla="*/ 1791 h 10000"/>
                <a:gd name="connsiteX0" fmla="*/ 433 w 10000"/>
                <a:gd name="connsiteY0" fmla="*/ 1498 h 9707"/>
                <a:gd name="connsiteX1" fmla="*/ 6675 w 10000"/>
                <a:gd name="connsiteY1" fmla="*/ 6582 h 9707"/>
                <a:gd name="connsiteX2" fmla="*/ 6234 w 10000"/>
                <a:gd name="connsiteY2" fmla="*/ 6783 h 9707"/>
                <a:gd name="connsiteX3" fmla="*/ 5864 w 10000"/>
                <a:gd name="connsiteY3" fmla="*/ 6574 h 9707"/>
                <a:gd name="connsiteX4" fmla="*/ 5325 w 10000"/>
                <a:gd name="connsiteY4" fmla="*/ 6446 h 9707"/>
                <a:gd name="connsiteX5" fmla="*/ 5058 w 10000"/>
                <a:gd name="connsiteY5" fmla="*/ 6733 h 9707"/>
                <a:gd name="connsiteX6" fmla="*/ 4396 w 10000"/>
                <a:gd name="connsiteY6" fmla="*/ 6952 h 9707"/>
                <a:gd name="connsiteX7" fmla="*/ 3972 w 10000"/>
                <a:gd name="connsiteY7" fmla="*/ 6950 h 9707"/>
                <a:gd name="connsiteX8" fmla="*/ 3044 w 10000"/>
                <a:gd name="connsiteY8" fmla="*/ 6764 h 9707"/>
                <a:gd name="connsiteX9" fmla="*/ 2796 w 10000"/>
                <a:gd name="connsiteY9" fmla="*/ 6865 h 9707"/>
                <a:gd name="connsiteX10" fmla="*/ 2177 w 10000"/>
                <a:gd name="connsiteY10" fmla="*/ 6640 h 9707"/>
                <a:gd name="connsiteX11" fmla="*/ 1903 w 10000"/>
                <a:gd name="connsiteY11" fmla="*/ 6301 h 9707"/>
                <a:gd name="connsiteX12" fmla="*/ 1449 w 10000"/>
                <a:gd name="connsiteY12" fmla="*/ 6393 h 9707"/>
                <a:gd name="connsiteX13" fmla="*/ 1324 w 10000"/>
                <a:gd name="connsiteY13" fmla="*/ 6594 h 9707"/>
                <a:gd name="connsiteX14" fmla="*/ 845 w 10000"/>
                <a:gd name="connsiteY14" fmla="*/ 6679 h 9707"/>
                <a:gd name="connsiteX15" fmla="*/ 526 w 10000"/>
                <a:gd name="connsiteY15" fmla="*/ 6672 h 9707"/>
                <a:gd name="connsiteX16" fmla="*/ 354 w 10000"/>
                <a:gd name="connsiteY16" fmla="*/ 6831 h 9707"/>
                <a:gd name="connsiteX17" fmla="*/ 56 w 10000"/>
                <a:gd name="connsiteY17" fmla="*/ 6580 h 9707"/>
                <a:gd name="connsiteX18" fmla="*/ 0 w 10000"/>
                <a:gd name="connsiteY18" fmla="*/ 7036 h 9707"/>
                <a:gd name="connsiteX19" fmla="*/ 106 w 10000"/>
                <a:gd name="connsiteY19" fmla="*/ 7101 h 9707"/>
                <a:gd name="connsiteX20" fmla="*/ 538 w 10000"/>
                <a:gd name="connsiteY20" fmla="*/ 7134 h 9707"/>
                <a:gd name="connsiteX21" fmla="*/ 596 w 10000"/>
                <a:gd name="connsiteY21" fmla="*/ 7263 h 9707"/>
                <a:gd name="connsiteX22" fmla="*/ 1075 w 10000"/>
                <a:gd name="connsiteY22" fmla="*/ 7297 h 9707"/>
                <a:gd name="connsiteX23" fmla="*/ 1346 w 10000"/>
                <a:gd name="connsiteY23" fmla="*/ 7427 h 9707"/>
                <a:gd name="connsiteX24" fmla="*/ 1397 w 10000"/>
                <a:gd name="connsiteY24" fmla="*/ 7655 h 9707"/>
                <a:gd name="connsiteX25" fmla="*/ 2260 w 10000"/>
                <a:gd name="connsiteY25" fmla="*/ 8046 h 9707"/>
                <a:gd name="connsiteX26" fmla="*/ 2475 w 10000"/>
                <a:gd name="connsiteY26" fmla="*/ 8437 h 9707"/>
                <a:gd name="connsiteX27" fmla="*/ 3064 w 10000"/>
                <a:gd name="connsiteY27" fmla="*/ 8632 h 9707"/>
                <a:gd name="connsiteX28" fmla="*/ 3280 w 10000"/>
                <a:gd name="connsiteY28" fmla="*/ 8892 h 9707"/>
                <a:gd name="connsiteX29" fmla="*/ 3709 w 10000"/>
                <a:gd name="connsiteY29" fmla="*/ 9219 h 9707"/>
                <a:gd name="connsiteX30" fmla="*/ 4034 w 10000"/>
                <a:gd name="connsiteY30" fmla="*/ 9316 h 9707"/>
                <a:gd name="connsiteX31" fmla="*/ 4248 w 10000"/>
                <a:gd name="connsiteY31" fmla="*/ 9219 h 9707"/>
                <a:gd name="connsiteX32" fmla="*/ 4785 w 10000"/>
                <a:gd name="connsiteY32" fmla="*/ 9251 h 9707"/>
                <a:gd name="connsiteX33" fmla="*/ 5002 w 10000"/>
                <a:gd name="connsiteY33" fmla="*/ 9186 h 9707"/>
                <a:gd name="connsiteX34" fmla="*/ 5967 w 10000"/>
                <a:gd name="connsiteY34" fmla="*/ 9675 h 9707"/>
                <a:gd name="connsiteX35" fmla="*/ 6021 w 10000"/>
                <a:gd name="connsiteY35" fmla="*/ 9675 h 9707"/>
                <a:gd name="connsiteX36" fmla="*/ 6130 w 10000"/>
                <a:gd name="connsiteY36" fmla="*/ 9610 h 9707"/>
                <a:gd name="connsiteX37" fmla="*/ 6823 w 10000"/>
                <a:gd name="connsiteY37" fmla="*/ 9610 h 9707"/>
                <a:gd name="connsiteX38" fmla="*/ 6936 w 10000"/>
                <a:gd name="connsiteY38" fmla="*/ 9707 h 9707"/>
                <a:gd name="connsiteX39" fmla="*/ 7526 w 10000"/>
                <a:gd name="connsiteY39" fmla="*/ 9576 h 9707"/>
                <a:gd name="connsiteX40" fmla="*/ 8062 w 10000"/>
                <a:gd name="connsiteY40" fmla="*/ 9576 h 9707"/>
                <a:gd name="connsiteX41" fmla="*/ 8438 w 10000"/>
                <a:gd name="connsiteY41" fmla="*/ 9447 h 9707"/>
                <a:gd name="connsiteX42" fmla="*/ 8871 w 10000"/>
                <a:gd name="connsiteY42" fmla="*/ 9186 h 9707"/>
                <a:gd name="connsiteX43" fmla="*/ 10000 w 10000"/>
                <a:gd name="connsiteY43" fmla="*/ 9186 h 9707"/>
                <a:gd name="connsiteX44" fmla="*/ 10000 w 10000"/>
                <a:gd name="connsiteY44" fmla="*/ 8828 h 9707"/>
                <a:gd name="connsiteX45" fmla="*/ 9409 w 10000"/>
                <a:gd name="connsiteY45" fmla="*/ 8665 h 9707"/>
                <a:gd name="connsiteX46" fmla="*/ 9083 w 10000"/>
                <a:gd name="connsiteY46" fmla="*/ 8144 h 9707"/>
                <a:gd name="connsiteX47" fmla="*/ 8655 w 10000"/>
                <a:gd name="connsiteY47" fmla="*/ 7948 h 9707"/>
                <a:gd name="connsiteX48" fmla="*/ 8385 w 10000"/>
                <a:gd name="connsiteY48" fmla="*/ 7687 h 9707"/>
                <a:gd name="connsiteX49" fmla="*/ 7687 w 10000"/>
                <a:gd name="connsiteY49" fmla="*/ 7492 h 9707"/>
                <a:gd name="connsiteX50" fmla="*/ 7848 w 10000"/>
                <a:gd name="connsiteY50" fmla="*/ 7427 h 9707"/>
                <a:gd name="connsiteX51" fmla="*/ 7848 w 10000"/>
                <a:gd name="connsiteY51" fmla="*/ 7263 h 9707"/>
                <a:gd name="connsiteX52" fmla="*/ 8334 w 10000"/>
                <a:gd name="connsiteY52" fmla="*/ 7263 h 9707"/>
                <a:gd name="connsiteX53" fmla="*/ 8599 w 10000"/>
                <a:gd name="connsiteY53" fmla="*/ 7134 h 9707"/>
                <a:gd name="connsiteX54" fmla="*/ 8655 w 10000"/>
                <a:gd name="connsiteY54" fmla="*/ 6189 h 9707"/>
                <a:gd name="connsiteX55" fmla="*/ 8707 w 10000"/>
                <a:gd name="connsiteY55" fmla="*/ 6221 h 9707"/>
                <a:gd name="connsiteX56" fmla="*/ 8517 w 10000"/>
                <a:gd name="connsiteY56" fmla="*/ 6281 h 9707"/>
                <a:gd name="connsiteX57" fmla="*/ 8440 w 10000"/>
                <a:gd name="connsiteY57" fmla="*/ 6409 h 9707"/>
                <a:gd name="connsiteX58" fmla="*/ 7961 w 10000"/>
                <a:gd name="connsiteY58" fmla="*/ 6158 h 9707"/>
                <a:gd name="connsiteX59" fmla="*/ 7874 w 10000"/>
                <a:gd name="connsiteY59" fmla="*/ 5480 h 9707"/>
                <a:gd name="connsiteX60" fmla="*/ 7361 w 10000"/>
                <a:gd name="connsiteY60" fmla="*/ 5774 h 9707"/>
                <a:gd name="connsiteX61" fmla="*/ 7369 w 10000"/>
                <a:gd name="connsiteY61" fmla="*/ 6123 h 9707"/>
                <a:gd name="connsiteX62" fmla="*/ 6955 w 10000"/>
                <a:gd name="connsiteY62" fmla="*/ 6333 h 9707"/>
                <a:gd name="connsiteX63" fmla="*/ 9029 w 10000"/>
                <a:gd name="connsiteY63" fmla="*/ 0 h 9707"/>
                <a:gd name="connsiteX64" fmla="*/ 8599 w 10000"/>
                <a:gd name="connsiteY64" fmla="*/ 65 h 9707"/>
                <a:gd name="connsiteX65" fmla="*/ 8493 w 10000"/>
                <a:gd name="connsiteY65" fmla="*/ 293 h 9707"/>
                <a:gd name="connsiteX66" fmla="*/ 8116 w 10000"/>
                <a:gd name="connsiteY66" fmla="*/ 293 h 9707"/>
                <a:gd name="connsiteX67" fmla="*/ 7794 w 10000"/>
                <a:gd name="connsiteY67" fmla="*/ 195 h 9707"/>
                <a:gd name="connsiteX68" fmla="*/ 7096 w 10000"/>
                <a:gd name="connsiteY68" fmla="*/ 195 h 9707"/>
                <a:gd name="connsiteX69" fmla="*/ 6397 w 10000"/>
                <a:gd name="connsiteY69" fmla="*/ 195 h 9707"/>
                <a:gd name="connsiteX70" fmla="*/ 6452 w 10000"/>
                <a:gd name="connsiteY70" fmla="*/ 65 h 9707"/>
                <a:gd name="connsiteX71" fmla="*/ 6343 w 10000"/>
                <a:gd name="connsiteY71" fmla="*/ 65 h 9707"/>
                <a:gd name="connsiteX72" fmla="*/ 6290 w 10000"/>
                <a:gd name="connsiteY72" fmla="*/ 195 h 9707"/>
                <a:gd name="connsiteX73" fmla="*/ 5644 w 10000"/>
                <a:gd name="connsiteY73" fmla="*/ 195 h 9707"/>
                <a:gd name="connsiteX74" fmla="*/ 5002 w 10000"/>
                <a:gd name="connsiteY74" fmla="*/ 195 h 9707"/>
                <a:gd name="connsiteX75" fmla="*/ 4356 w 10000"/>
                <a:gd name="connsiteY75" fmla="*/ 195 h 9707"/>
                <a:gd name="connsiteX76" fmla="*/ 3709 w 10000"/>
                <a:gd name="connsiteY76" fmla="*/ 195 h 9707"/>
                <a:gd name="connsiteX77" fmla="*/ 3120 w 10000"/>
                <a:gd name="connsiteY77" fmla="*/ 195 h 9707"/>
                <a:gd name="connsiteX78" fmla="*/ 2475 w 10000"/>
                <a:gd name="connsiteY78" fmla="*/ 195 h 9707"/>
                <a:gd name="connsiteX79" fmla="*/ 1884 w 10000"/>
                <a:gd name="connsiteY79" fmla="*/ 195 h 9707"/>
                <a:gd name="connsiteX80" fmla="*/ 1237 w 10000"/>
                <a:gd name="connsiteY80" fmla="*/ 195 h 9707"/>
                <a:gd name="connsiteX81" fmla="*/ 1237 w 10000"/>
                <a:gd name="connsiteY81" fmla="*/ 651 h 9707"/>
                <a:gd name="connsiteX82" fmla="*/ 1237 w 10000"/>
                <a:gd name="connsiteY82" fmla="*/ 1238 h 9707"/>
                <a:gd name="connsiteX83" fmla="*/ 433 w 10000"/>
                <a:gd name="connsiteY83" fmla="*/ 1238 h 9707"/>
                <a:gd name="connsiteX84" fmla="*/ 433 w 10000"/>
                <a:gd name="connsiteY84" fmla="*/ 1498 h 9707"/>
                <a:gd name="connsiteX0" fmla="*/ 433 w 10000"/>
                <a:gd name="connsiteY0" fmla="*/ 1476 h 9933"/>
                <a:gd name="connsiteX1" fmla="*/ 6675 w 10000"/>
                <a:gd name="connsiteY1" fmla="*/ 6714 h 9933"/>
                <a:gd name="connsiteX2" fmla="*/ 6234 w 10000"/>
                <a:gd name="connsiteY2" fmla="*/ 6921 h 9933"/>
                <a:gd name="connsiteX3" fmla="*/ 5864 w 10000"/>
                <a:gd name="connsiteY3" fmla="*/ 6705 h 9933"/>
                <a:gd name="connsiteX4" fmla="*/ 5325 w 10000"/>
                <a:gd name="connsiteY4" fmla="*/ 6574 h 9933"/>
                <a:gd name="connsiteX5" fmla="*/ 5058 w 10000"/>
                <a:gd name="connsiteY5" fmla="*/ 6869 h 9933"/>
                <a:gd name="connsiteX6" fmla="*/ 4396 w 10000"/>
                <a:gd name="connsiteY6" fmla="*/ 7095 h 9933"/>
                <a:gd name="connsiteX7" fmla="*/ 3972 w 10000"/>
                <a:gd name="connsiteY7" fmla="*/ 7093 h 9933"/>
                <a:gd name="connsiteX8" fmla="*/ 3044 w 10000"/>
                <a:gd name="connsiteY8" fmla="*/ 6901 h 9933"/>
                <a:gd name="connsiteX9" fmla="*/ 2796 w 10000"/>
                <a:gd name="connsiteY9" fmla="*/ 7005 h 9933"/>
                <a:gd name="connsiteX10" fmla="*/ 2177 w 10000"/>
                <a:gd name="connsiteY10" fmla="*/ 6773 h 9933"/>
                <a:gd name="connsiteX11" fmla="*/ 1903 w 10000"/>
                <a:gd name="connsiteY11" fmla="*/ 6424 h 9933"/>
                <a:gd name="connsiteX12" fmla="*/ 1449 w 10000"/>
                <a:gd name="connsiteY12" fmla="*/ 6519 h 9933"/>
                <a:gd name="connsiteX13" fmla="*/ 1324 w 10000"/>
                <a:gd name="connsiteY13" fmla="*/ 6726 h 9933"/>
                <a:gd name="connsiteX14" fmla="*/ 845 w 10000"/>
                <a:gd name="connsiteY14" fmla="*/ 6814 h 9933"/>
                <a:gd name="connsiteX15" fmla="*/ 526 w 10000"/>
                <a:gd name="connsiteY15" fmla="*/ 6806 h 9933"/>
                <a:gd name="connsiteX16" fmla="*/ 354 w 10000"/>
                <a:gd name="connsiteY16" fmla="*/ 6970 h 9933"/>
                <a:gd name="connsiteX17" fmla="*/ 56 w 10000"/>
                <a:gd name="connsiteY17" fmla="*/ 6712 h 9933"/>
                <a:gd name="connsiteX18" fmla="*/ 0 w 10000"/>
                <a:gd name="connsiteY18" fmla="*/ 7181 h 9933"/>
                <a:gd name="connsiteX19" fmla="*/ 106 w 10000"/>
                <a:gd name="connsiteY19" fmla="*/ 7248 h 9933"/>
                <a:gd name="connsiteX20" fmla="*/ 538 w 10000"/>
                <a:gd name="connsiteY20" fmla="*/ 7282 h 9933"/>
                <a:gd name="connsiteX21" fmla="*/ 596 w 10000"/>
                <a:gd name="connsiteY21" fmla="*/ 7415 h 9933"/>
                <a:gd name="connsiteX22" fmla="*/ 1075 w 10000"/>
                <a:gd name="connsiteY22" fmla="*/ 7450 h 9933"/>
                <a:gd name="connsiteX23" fmla="*/ 1346 w 10000"/>
                <a:gd name="connsiteY23" fmla="*/ 7584 h 9933"/>
                <a:gd name="connsiteX24" fmla="*/ 1397 w 10000"/>
                <a:gd name="connsiteY24" fmla="*/ 7819 h 9933"/>
                <a:gd name="connsiteX25" fmla="*/ 2260 w 10000"/>
                <a:gd name="connsiteY25" fmla="*/ 8222 h 9933"/>
                <a:gd name="connsiteX26" fmla="*/ 2475 w 10000"/>
                <a:gd name="connsiteY26" fmla="*/ 8625 h 9933"/>
                <a:gd name="connsiteX27" fmla="*/ 3064 w 10000"/>
                <a:gd name="connsiteY27" fmla="*/ 8826 h 9933"/>
                <a:gd name="connsiteX28" fmla="*/ 3280 w 10000"/>
                <a:gd name="connsiteY28" fmla="*/ 9093 h 9933"/>
                <a:gd name="connsiteX29" fmla="*/ 3709 w 10000"/>
                <a:gd name="connsiteY29" fmla="*/ 9430 h 9933"/>
                <a:gd name="connsiteX30" fmla="*/ 4034 w 10000"/>
                <a:gd name="connsiteY30" fmla="*/ 9530 h 9933"/>
                <a:gd name="connsiteX31" fmla="*/ 4248 w 10000"/>
                <a:gd name="connsiteY31" fmla="*/ 9430 h 9933"/>
                <a:gd name="connsiteX32" fmla="*/ 4785 w 10000"/>
                <a:gd name="connsiteY32" fmla="*/ 9463 h 9933"/>
                <a:gd name="connsiteX33" fmla="*/ 5002 w 10000"/>
                <a:gd name="connsiteY33" fmla="*/ 9396 h 9933"/>
                <a:gd name="connsiteX34" fmla="*/ 5967 w 10000"/>
                <a:gd name="connsiteY34" fmla="*/ 9900 h 9933"/>
                <a:gd name="connsiteX35" fmla="*/ 6021 w 10000"/>
                <a:gd name="connsiteY35" fmla="*/ 9900 h 9933"/>
                <a:gd name="connsiteX36" fmla="*/ 6130 w 10000"/>
                <a:gd name="connsiteY36" fmla="*/ 9833 h 9933"/>
                <a:gd name="connsiteX37" fmla="*/ 6823 w 10000"/>
                <a:gd name="connsiteY37" fmla="*/ 9833 h 9933"/>
                <a:gd name="connsiteX38" fmla="*/ 6936 w 10000"/>
                <a:gd name="connsiteY38" fmla="*/ 9933 h 9933"/>
                <a:gd name="connsiteX39" fmla="*/ 7526 w 10000"/>
                <a:gd name="connsiteY39" fmla="*/ 9798 h 9933"/>
                <a:gd name="connsiteX40" fmla="*/ 8062 w 10000"/>
                <a:gd name="connsiteY40" fmla="*/ 9798 h 9933"/>
                <a:gd name="connsiteX41" fmla="*/ 8438 w 10000"/>
                <a:gd name="connsiteY41" fmla="*/ 9665 h 9933"/>
                <a:gd name="connsiteX42" fmla="*/ 8871 w 10000"/>
                <a:gd name="connsiteY42" fmla="*/ 9396 h 9933"/>
                <a:gd name="connsiteX43" fmla="*/ 10000 w 10000"/>
                <a:gd name="connsiteY43" fmla="*/ 9396 h 9933"/>
                <a:gd name="connsiteX44" fmla="*/ 10000 w 10000"/>
                <a:gd name="connsiteY44" fmla="*/ 9027 h 9933"/>
                <a:gd name="connsiteX45" fmla="*/ 9409 w 10000"/>
                <a:gd name="connsiteY45" fmla="*/ 8860 h 9933"/>
                <a:gd name="connsiteX46" fmla="*/ 9083 w 10000"/>
                <a:gd name="connsiteY46" fmla="*/ 8323 h 9933"/>
                <a:gd name="connsiteX47" fmla="*/ 8655 w 10000"/>
                <a:gd name="connsiteY47" fmla="*/ 8121 h 9933"/>
                <a:gd name="connsiteX48" fmla="*/ 8385 w 10000"/>
                <a:gd name="connsiteY48" fmla="*/ 7852 h 9933"/>
                <a:gd name="connsiteX49" fmla="*/ 7687 w 10000"/>
                <a:gd name="connsiteY49" fmla="*/ 7651 h 9933"/>
                <a:gd name="connsiteX50" fmla="*/ 7848 w 10000"/>
                <a:gd name="connsiteY50" fmla="*/ 7584 h 9933"/>
                <a:gd name="connsiteX51" fmla="*/ 7848 w 10000"/>
                <a:gd name="connsiteY51" fmla="*/ 7415 h 9933"/>
                <a:gd name="connsiteX52" fmla="*/ 8334 w 10000"/>
                <a:gd name="connsiteY52" fmla="*/ 7415 h 9933"/>
                <a:gd name="connsiteX53" fmla="*/ 8599 w 10000"/>
                <a:gd name="connsiteY53" fmla="*/ 7282 h 9933"/>
                <a:gd name="connsiteX54" fmla="*/ 8655 w 10000"/>
                <a:gd name="connsiteY54" fmla="*/ 6309 h 9933"/>
                <a:gd name="connsiteX55" fmla="*/ 8707 w 10000"/>
                <a:gd name="connsiteY55" fmla="*/ 6342 h 9933"/>
                <a:gd name="connsiteX56" fmla="*/ 8517 w 10000"/>
                <a:gd name="connsiteY56" fmla="*/ 6404 h 9933"/>
                <a:gd name="connsiteX57" fmla="*/ 8440 w 10000"/>
                <a:gd name="connsiteY57" fmla="*/ 6535 h 9933"/>
                <a:gd name="connsiteX58" fmla="*/ 7961 w 10000"/>
                <a:gd name="connsiteY58" fmla="*/ 6277 h 9933"/>
                <a:gd name="connsiteX59" fmla="*/ 7874 w 10000"/>
                <a:gd name="connsiteY59" fmla="*/ 5578 h 9933"/>
                <a:gd name="connsiteX60" fmla="*/ 7361 w 10000"/>
                <a:gd name="connsiteY60" fmla="*/ 5881 h 9933"/>
                <a:gd name="connsiteX61" fmla="*/ 7369 w 10000"/>
                <a:gd name="connsiteY61" fmla="*/ 6241 h 9933"/>
                <a:gd name="connsiteX62" fmla="*/ 6955 w 10000"/>
                <a:gd name="connsiteY62" fmla="*/ 6457 h 9933"/>
                <a:gd name="connsiteX63" fmla="*/ 8599 w 10000"/>
                <a:gd name="connsiteY63" fmla="*/ 0 h 9933"/>
                <a:gd name="connsiteX64" fmla="*/ 8493 w 10000"/>
                <a:gd name="connsiteY64" fmla="*/ 235 h 9933"/>
                <a:gd name="connsiteX65" fmla="*/ 8116 w 10000"/>
                <a:gd name="connsiteY65" fmla="*/ 235 h 9933"/>
                <a:gd name="connsiteX66" fmla="*/ 7794 w 10000"/>
                <a:gd name="connsiteY66" fmla="*/ 134 h 9933"/>
                <a:gd name="connsiteX67" fmla="*/ 7096 w 10000"/>
                <a:gd name="connsiteY67" fmla="*/ 134 h 9933"/>
                <a:gd name="connsiteX68" fmla="*/ 6397 w 10000"/>
                <a:gd name="connsiteY68" fmla="*/ 134 h 9933"/>
                <a:gd name="connsiteX69" fmla="*/ 6452 w 10000"/>
                <a:gd name="connsiteY69" fmla="*/ 0 h 9933"/>
                <a:gd name="connsiteX70" fmla="*/ 6343 w 10000"/>
                <a:gd name="connsiteY70" fmla="*/ 0 h 9933"/>
                <a:gd name="connsiteX71" fmla="*/ 6290 w 10000"/>
                <a:gd name="connsiteY71" fmla="*/ 134 h 9933"/>
                <a:gd name="connsiteX72" fmla="*/ 5644 w 10000"/>
                <a:gd name="connsiteY72" fmla="*/ 134 h 9933"/>
                <a:gd name="connsiteX73" fmla="*/ 5002 w 10000"/>
                <a:gd name="connsiteY73" fmla="*/ 134 h 9933"/>
                <a:gd name="connsiteX74" fmla="*/ 4356 w 10000"/>
                <a:gd name="connsiteY74" fmla="*/ 134 h 9933"/>
                <a:gd name="connsiteX75" fmla="*/ 3709 w 10000"/>
                <a:gd name="connsiteY75" fmla="*/ 134 h 9933"/>
                <a:gd name="connsiteX76" fmla="*/ 3120 w 10000"/>
                <a:gd name="connsiteY76" fmla="*/ 134 h 9933"/>
                <a:gd name="connsiteX77" fmla="*/ 2475 w 10000"/>
                <a:gd name="connsiteY77" fmla="*/ 134 h 9933"/>
                <a:gd name="connsiteX78" fmla="*/ 1884 w 10000"/>
                <a:gd name="connsiteY78" fmla="*/ 134 h 9933"/>
                <a:gd name="connsiteX79" fmla="*/ 1237 w 10000"/>
                <a:gd name="connsiteY79" fmla="*/ 134 h 9933"/>
                <a:gd name="connsiteX80" fmla="*/ 1237 w 10000"/>
                <a:gd name="connsiteY80" fmla="*/ 604 h 9933"/>
                <a:gd name="connsiteX81" fmla="*/ 1237 w 10000"/>
                <a:gd name="connsiteY81" fmla="*/ 1208 h 9933"/>
                <a:gd name="connsiteX82" fmla="*/ 433 w 10000"/>
                <a:gd name="connsiteY82" fmla="*/ 1208 h 9933"/>
                <a:gd name="connsiteX83" fmla="*/ 433 w 10000"/>
                <a:gd name="connsiteY83" fmla="*/ 1476 h 9933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493 w 10000"/>
                <a:gd name="connsiteY63" fmla="*/ 237 h 10000"/>
                <a:gd name="connsiteX64" fmla="*/ 8116 w 10000"/>
                <a:gd name="connsiteY64" fmla="*/ 237 h 10000"/>
                <a:gd name="connsiteX65" fmla="*/ 7794 w 10000"/>
                <a:gd name="connsiteY65" fmla="*/ 135 h 10000"/>
                <a:gd name="connsiteX66" fmla="*/ 7096 w 10000"/>
                <a:gd name="connsiteY66" fmla="*/ 135 h 10000"/>
                <a:gd name="connsiteX67" fmla="*/ 6397 w 10000"/>
                <a:gd name="connsiteY67" fmla="*/ 135 h 10000"/>
                <a:gd name="connsiteX68" fmla="*/ 6452 w 10000"/>
                <a:gd name="connsiteY68" fmla="*/ 0 h 10000"/>
                <a:gd name="connsiteX69" fmla="*/ 6343 w 10000"/>
                <a:gd name="connsiteY69" fmla="*/ 0 h 10000"/>
                <a:gd name="connsiteX70" fmla="*/ 6290 w 10000"/>
                <a:gd name="connsiteY70" fmla="*/ 135 h 10000"/>
                <a:gd name="connsiteX71" fmla="*/ 5644 w 10000"/>
                <a:gd name="connsiteY71" fmla="*/ 135 h 10000"/>
                <a:gd name="connsiteX72" fmla="*/ 5002 w 10000"/>
                <a:gd name="connsiteY72" fmla="*/ 135 h 10000"/>
                <a:gd name="connsiteX73" fmla="*/ 4356 w 10000"/>
                <a:gd name="connsiteY73" fmla="*/ 135 h 10000"/>
                <a:gd name="connsiteX74" fmla="*/ 3709 w 10000"/>
                <a:gd name="connsiteY74" fmla="*/ 135 h 10000"/>
                <a:gd name="connsiteX75" fmla="*/ 3120 w 10000"/>
                <a:gd name="connsiteY75" fmla="*/ 135 h 10000"/>
                <a:gd name="connsiteX76" fmla="*/ 2475 w 10000"/>
                <a:gd name="connsiteY76" fmla="*/ 135 h 10000"/>
                <a:gd name="connsiteX77" fmla="*/ 1884 w 10000"/>
                <a:gd name="connsiteY77" fmla="*/ 135 h 10000"/>
                <a:gd name="connsiteX78" fmla="*/ 1237 w 10000"/>
                <a:gd name="connsiteY78" fmla="*/ 135 h 10000"/>
                <a:gd name="connsiteX79" fmla="*/ 1237 w 10000"/>
                <a:gd name="connsiteY79" fmla="*/ 608 h 10000"/>
                <a:gd name="connsiteX80" fmla="*/ 1237 w 10000"/>
                <a:gd name="connsiteY80" fmla="*/ 1216 h 10000"/>
                <a:gd name="connsiteX81" fmla="*/ 433 w 10000"/>
                <a:gd name="connsiteY81" fmla="*/ 1216 h 10000"/>
                <a:gd name="connsiteX82" fmla="*/ 433 w 10000"/>
                <a:gd name="connsiteY82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8116 w 10000"/>
                <a:gd name="connsiteY63" fmla="*/ 237 h 10000"/>
                <a:gd name="connsiteX64" fmla="*/ 7794 w 10000"/>
                <a:gd name="connsiteY64" fmla="*/ 135 h 10000"/>
                <a:gd name="connsiteX65" fmla="*/ 7096 w 10000"/>
                <a:gd name="connsiteY65" fmla="*/ 135 h 10000"/>
                <a:gd name="connsiteX66" fmla="*/ 6397 w 10000"/>
                <a:gd name="connsiteY66" fmla="*/ 135 h 10000"/>
                <a:gd name="connsiteX67" fmla="*/ 6452 w 10000"/>
                <a:gd name="connsiteY67" fmla="*/ 0 h 10000"/>
                <a:gd name="connsiteX68" fmla="*/ 6343 w 10000"/>
                <a:gd name="connsiteY68" fmla="*/ 0 h 10000"/>
                <a:gd name="connsiteX69" fmla="*/ 6290 w 10000"/>
                <a:gd name="connsiteY69" fmla="*/ 135 h 10000"/>
                <a:gd name="connsiteX70" fmla="*/ 5644 w 10000"/>
                <a:gd name="connsiteY70" fmla="*/ 135 h 10000"/>
                <a:gd name="connsiteX71" fmla="*/ 5002 w 10000"/>
                <a:gd name="connsiteY71" fmla="*/ 135 h 10000"/>
                <a:gd name="connsiteX72" fmla="*/ 4356 w 10000"/>
                <a:gd name="connsiteY72" fmla="*/ 135 h 10000"/>
                <a:gd name="connsiteX73" fmla="*/ 3709 w 10000"/>
                <a:gd name="connsiteY73" fmla="*/ 135 h 10000"/>
                <a:gd name="connsiteX74" fmla="*/ 3120 w 10000"/>
                <a:gd name="connsiteY74" fmla="*/ 135 h 10000"/>
                <a:gd name="connsiteX75" fmla="*/ 2475 w 10000"/>
                <a:gd name="connsiteY75" fmla="*/ 135 h 10000"/>
                <a:gd name="connsiteX76" fmla="*/ 1884 w 10000"/>
                <a:gd name="connsiteY76" fmla="*/ 135 h 10000"/>
                <a:gd name="connsiteX77" fmla="*/ 1237 w 10000"/>
                <a:gd name="connsiteY77" fmla="*/ 135 h 10000"/>
                <a:gd name="connsiteX78" fmla="*/ 1237 w 10000"/>
                <a:gd name="connsiteY78" fmla="*/ 608 h 10000"/>
                <a:gd name="connsiteX79" fmla="*/ 1237 w 10000"/>
                <a:gd name="connsiteY79" fmla="*/ 1216 h 10000"/>
                <a:gd name="connsiteX80" fmla="*/ 433 w 10000"/>
                <a:gd name="connsiteY80" fmla="*/ 1216 h 10000"/>
                <a:gd name="connsiteX81" fmla="*/ 433 w 10000"/>
                <a:gd name="connsiteY81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7794 w 10000"/>
                <a:gd name="connsiteY63" fmla="*/ 1061 h 10926"/>
                <a:gd name="connsiteX64" fmla="*/ 7096 w 10000"/>
                <a:gd name="connsiteY64" fmla="*/ 1061 h 10926"/>
                <a:gd name="connsiteX65" fmla="*/ 6397 w 10000"/>
                <a:gd name="connsiteY65" fmla="*/ 1061 h 10926"/>
                <a:gd name="connsiteX66" fmla="*/ 6452 w 10000"/>
                <a:gd name="connsiteY66" fmla="*/ 926 h 10926"/>
                <a:gd name="connsiteX67" fmla="*/ 6343 w 10000"/>
                <a:gd name="connsiteY67" fmla="*/ 926 h 10926"/>
                <a:gd name="connsiteX68" fmla="*/ 6290 w 10000"/>
                <a:gd name="connsiteY68" fmla="*/ 1061 h 10926"/>
                <a:gd name="connsiteX69" fmla="*/ 5644 w 10000"/>
                <a:gd name="connsiteY69" fmla="*/ 1061 h 10926"/>
                <a:gd name="connsiteX70" fmla="*/ 5002 w 10000"/>
                <a:gd name="connsiteY70" fmla="*/ 1061 h 10926"/>
                <a:gd name="connsiteX71" fmla="*/ 4356 w 10000"/>
                <a:gd name="connsiteY71" fmla="*/ 1061 h 10926"/>
                <a:gd name="connsiteX72" fmla="*/ 3709 w 10000"/>
                <a:gd name="connsiteY72" fmla="*/ 1061 h 10926"/>
                <a:gd name="connsiteX73" fmla="*/ 3120 w 10000"/>
                <a:gd name="connsiteY73" fmla="*/ 1061 h 10926"/>
                <a:gd name="connsiteX74" fmla="*/ 2475 w 10000"/>
                <a:gd name="connsiteY74" fmla="*/ 1061 h 10926"/>
                <a:gd name="connsiteX75" fmla="*/ 1884 w 10000"/>
                <a:gd name="connsiteY75" fmla="*/ 1061 h 10926"/>
                <a:gd name="connsiteX76" fmla="*/ 1237 w 10000"/>
                <a:gd name="connsiteY76" fmla="*/ 1061 h 10926"/>
                <a:gd name="connsiteX77" fmla="*/ 1237 w 10000"/>
                <a:gd name="connsiteY77" fmla="*/ 1534 h 10926"/>
                <a:gd name="connsiteX78" fmla="*/ 1237 w 10000"/>
                <a:gd name="connsiteY78" fmla="*/ 2142 h 10926"/>
                <a:gd name="connsiteX79" fmla="*/ 433 w 10000"/>
                <a:gd name="connsiteY79" fmla="*/ 2142 h 10926"/>
                <a:gd name="connsiteX80" fmla="*/ 433 w 10000"/>
                <a:gd name="connsiteY80" fmla="*/ 2412 h 10926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7096 w 10000"/>
                <a:gd name="connsiteY63" fmla="*/ 135 h 10000"/>
                <a:gd name="connsiteX64" fmla="*/ 6397 w 10000"/>
                <a:gd name="connsiteY64" fmla="*/ 135 h 10000"/>
                <a:gd name="connsiteX65" fmla="*/ 6452 w 10000"/>
                <a:gd name="connsiteY65" fmla="*/ 0 h 10000"/>
                <a:gd name="connsiteX66" fmla="*/ 6343 w 10000"/>
                <a:gd name="connsiteY66" fmla="*/ 0 h 10000"/>
                <a:gd name="connsiteX67" fmla="*/ 6290 w 10000"/>
                <a:gd name="connsiteY67" fmla="*/ 135 h 10000"/>
                <a:gd name="connsiteX68" fmla="*/ 5644 w 10000"/>
                <a:gd name="connsiteY68" fmla="*/ 135 h 10000"/>
                <a:gd name="connsiteX69" fmla="*/ 5002 w 10000"/>
                <a:gd name="connsiteY69" fmla="*/ 135 h 10000"/>
                <a:gd name="connsiteX70" fmla="*/ 4356 w 10000"/>
                <a:gd name="connsiteY70" fmla="*/ 135 h 10000"/>
                <a:gd name="connsiteX71" fmla="*/ 3709 w 10000"/>
                <a:gd name="connsiteY71" fmla="*/ 135 h 10000"/>
                <a:gd name="connsiteX72" fmla="*/ 3120 w 10000"/>
                <a:gd name="connsiteY72" fmla="*/ 135 h 10000"/>
                <a:gd name="connsiteX73" fmla="*/ 2475 w 10000"/>
                <a:gd name="connsiteY73" fmla="*/ 135 h 10000"/>
                <a:gd name="connsiteX74" fmla="*/ 1884 w 10000"/>
                <a:gd name="connsiteY74" fmla="*/ 135 h 10000"/>
                <a:gd name="connsiteX75" fmla="*/ 1237 w 10000"/>
                <a:gd name="connsiteY75" fmla="*/ 135 h 10000"/>
                <a:gd name="connsiteX76" fmla="*/ 1237 w 10000"/>
                <a:gd name="connsiteY76" fmla="*/ 608 h 10000"/>
                <a:gd name="connsiteX77" fmla="*/ 1237 w 10000"/>
                <a:gd name="connsiteY77" fmla="*/ 1216 h 10000"/>
                <a:gd name="connsiteX78" fmla="*/ 433 w 10000"/>
                <a:gd name="connsiteY78" fmla="*/ 1216 h 10000"/>
                <a:gd name="connsiteX79" fmla="*/ 433 w 10000"/>
                <a:gd name="connsiteY79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397 w 10000"/>
                <a:gd name="connsiteY63" fmla="*/ 135 h 10000"/>
                <a:gd name="connsiteX64" fmla="*/ 6452 w 10000"/>
                <a:gd name="connsiteY64" fmla="*/ 0 h 10000"/>
                <a:gd name="connsiteX65" fmla="*/ 6343 w 10000"/>
                <a:gd name="connsiteY65" fmla="*/ 0 h 10000"/>
                <a:gd name="connsiteX66" fmla="*/ 6290 w 10000"/>
                <a:gd name="connsiteY66" fmla="*/ 135 h 10000"/>
                <a:gd name="connsiteX67" fmla="*/ 5644 w 10000"/>
                <a:gd name="connsiteY67" fmla="*/ 135 h 10000"/>
                <a:gd name="connsiteX68" fmla="*/ 5002 w 10000"/>
                <a:gd name="connsiteY68" fmla="*/ 135 h 10000"/>
                <a:gd name="connsiteX69" fmla="*/ 4356 w 10000"/>
                <a:gd name="connsiteY69" fmla="*/ 135 h 10000"/>
                <a:gd name="connsiteX70" fmla="*/ 3709 w 10000"/>
                <a:gd name="connsiteY70" fmla="*/ 135 h 10000"/>
                <a:gd name="connsiteX71" fmla="*/ 3120 w 10000"/>
                <a:gd name="connsiteY71" fmla="*/ 135 h 10000"/>
                <a:gd name="connsiteX72" fmla="*/ 2475 w 10000"/>
                <a:gd name="connsiteY72" fmla="*/ 135 h 10000"/>
                <a:gd name="connsiteX73" fmla="*/ 1884 w 10000"/>
                <a:gd name="connsiteY73" fmla="*/ 135 h 10000"/>
                <a:gd name="connsiteX74" fmla="*/ 1237 w 10000"/>
                <a:gd name="connsiteY74" fmla="*/ 135 h 10000"/>
                <a:gd name="connsiteX75" fmla="*/ 1237 w 10000"/>
                <a:gd name="connsiteY75" fmla="*/ 608 h 10000"/>
                <a:gd name="connsiteX76" fmla="*/ 1237 w 10000"/>
                <a:gd name="connsiteY76" fmla="*/ 1216 h 10000"/>
                <a:gd name="connsiteX77" fmla="*/ 433 w 10000"/>
                <a:gd name="connsiteY77" fmla="*/ 1216 h 10000"/>
                <a:gd name="connsiteX78" fmla="*/ 433 w 10000"/>
                <a:gd name="connsiteY78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6290 w 10000"/>
                <a:gd name="connsiteY65" fmla="*/ 135 h 10000"/>
                <a:gd name="connsiteX66" fmla="*/ 5644 w 10000"/>
                <a:gd name="connsiteY66" fmla="*/ 135 h 10000"/>
                <a:gd name="connsiteX67" fmla="*/ 5002 w 10000"/>
                <a:gd name="connsiteY67" fmla="*/ 135 h 10000"/>
                <a:gd name="connsiteX68" fmla="*/ 4356 w 10000"/>
                <a:gd name="connsiteY68" fmla="*/ 135 h 10000"/>
                <a:gd name="connsiteX69" fmla="*/ 3709 w 10000"/>
                <a:gd name="connsiteY69" fmla="*/ 135 h 10000"/>
                <a:gd name="connsiteX70" fmla="*/ 3120 w 10000"/>
                <a:gd name="connsiteY70" fmla="*/ 135 h 10000"/>
                <a:gd name="connsiteX71" fmla="*/ 2475 w 10000"/>
                <a:gd name="connsiteY71" fmla="*/ 135 h 10000"/>
                <a:gd name="connsiteX72" fmla="*/ 1884 w 10000"/>
                <a:gd name="connsiteY72" fmla="*/ 135 h 10000"/>
                <a:gd name="connsiteX73" fmla="*/ 1237 w 10000"/>
                <a:gd name="connsiteY73" fmla="*/ 135 h 10000"/>
                <a:gd name="connsiteX74" fmla="*/ 1237 w 10000"/>
                <a:gd name="connsiteY74" fmla="*/ 608 h 10000"/>
                <a:gd name="connsiteX75" fmla="*/ 1237 w 10000"/>
                <a:gd name="connsiteY75" fmla="*/ 1216 h 10000"/>
                <a:gd name="connsiteX76" fmla="*/ 433 w 10000"/>
                <a:gd name="connsiteY76" fmla="*/ 1216 h 10000"/>
                <a:gd name="connsiteX77" fmla="*/ 433 w 10000"/>
                <a:gd name="connsiteY77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6343 w 10000"/>
                <a:gd name="connsiteY64" fmla="*/ 0 h 10000"/>
                <a:gd name="connsiteX65" fmla="*/ 5644 w 10000"/>
                <a:gd name="connsiteY65" fmla="*/ 135 h 10000"/>
                <a:gd name="connsiteX66" fmla="*/ 5002 w 10000"/>
                <a:gd name="connsiteY66" fmla="*/ 135 h 10000"/>
                <a:gd name="connsiteX67" fmla="*/ 4356 w 10000"/>
                <a:gd name="connsiteY67" fmla="*/ 135 h 10000"/>
                <a:gd name="connsiteX68" fmla="*/ 3709 w 10000"/>
                <a:gd name="connsiteY68" fmla="*/ 135 h 10000"/>
                <a:gd name="connsiteX69" fmla="*/ 3120 w 10000"/>
                <a:gd name="connsiteY69" fmla="*/ 135 h 10000"/>
                <a:gd name="connsiteX70" fmla="*/ 2475 w 10000"/>
                <a:gd name="connsiteY70" fmla="*/ 135 h 10000"/>
                <a:gd name="connsiteX71" fmla="*/ 1884 w 10000"/>
                <a:gd name="connsiteY71" fmla="*/ 135 h 10000"/>
                <a:gd name="connsiteX72" fmla="*/ 1237 w 10000"/>
                <a:gd name="connsiteY72" fmla="*/ 135 h 10000"/>
                <a:gd name="connsiteX73" fmla="*/ 1237 w 10000"/>
                <a:gd name="connsiteY73" fmla="*/ 608 h 10000"/>
                <a:gd name="connsiteX74" fmla="*/ 1237 w 10000"/>
                <a:gd name="connsiteY74" fmla="*/ 1216 h 10000"/>
                <a:gd name="connsiteX75" fmla="*/ 433 w 10000"/>
                <a:gd name="connsiteY75" fmla="*/ 1216 h 10000"/>
                <a:gd name="connsiteX76" fmla="*/ 433 w 10000"/>
                <a:gd name="connsiteY76" fmla="*/ 1486 h 10000"/>
                <a:gd name="connsiteX0" fmla="*/ 433 w 10000"/>
                <a:gd name="connsiteY0" fmla="*/ 1486 h 10000"/>
                <a:gd name="connsiteX1" fmla="*/ 6675 w 10000"/>
                <a:gd name="connsiteY1" fmla="*/ 6759 h 10000"/>
                <a:gd name="connsiteX2" fmla="*/ 6234 w 10000"/>
                <a:gd name="connsiteY2" fmla="*/ 6968 h 10000"/>
                <a:gd name="connsiteX3" fmla="*/ 5864 w 10000"/>
                <a:gd name="connsiteY3" fmla="*/ 6750 h 10000"/>
                <a:gd name="connsiteX4" fmla="*/ 5325 w 10000"/>
                <a:gd name="connsiteY4" fmla="*/ 6618 h 10000"/>
                <a:gd name="connsiteX5" fmla="*/ 5058 w 10000"/>
                <a:gd name="connsiteY5" fmla="*/ 6915 h 10000"/>
                <a:gd name="connsiteX6" fmla="*/ 4396 w 10000"/>
                <a:gd name="connsiteY6" fmla="*/ 7143 h 10000"/>
                <a:gd name="connsiteX7" fmla="*/ 3972 w 10000"/>
                <a:gd name="connsiteY7" fmla="*/ 7141 h 10000"/>
                <a:gd name="connsiteX8" fmla="*/ 3044 w 10000"/>
                <a:gd name="connsiteY8" fmla="*/ 6948 h 10000"/>
                <a:gd name="connsiteX9" fmla="*/ 2796 w 10000"/>
                <a:gd name="connsiteY9" fmla="*/ 7052 h 10000"/>
                <a:gd name="connsiteX10" fmla="*/ 2177 w 10000"/>
                <a:gd name="connsiteY10" fmla="*/ 6819 h 10000"/>
                <a:gd name="connsiteX11" fmla="*/ 1903 w 10000"/>
                <a:gd name="connsiteY11" fmla="*/ 6467 h 10000"/>
                <a:gd name="connsiteX12" fmla="*/ 1449 w 10000"/>
                <a:gd name="connsiteY12" fmla="*/ 6563 h 10000"/>
                <a:gd name="connsiteX13" fmla="*/ 1324 w 10000"/>
                <a:gd name="connsiteY13" fmla="*/ 6771 h 10000"/>
                <a:gd name="connsiteX14" fmla="*/ 845 w 10000"/>
                <a:gd name="connsiteY14" fmla="*/ 6860 h 10000"/>
                <a:gd name="connsiteX15" fmla="*/ 526 w 10000"/>
                <a:gd name="connsiteY15" fmla="*/ 6852 h 10000"/>
                <a:gd name="connsiteX16" fmla="*/ 354 w 10000"/>
                <a:gd name="connsiteY16" fmla="*/ 7017 h 10000"/>
                <a:gd name="connsiteX17" fmla="*/ 56 w 10000"/>
                <a:gd name="connsiteY17" fmla="*/ 6757 h 10000"/>
                <a:gd name="connsiteX18" fmla="*/ 0 w 10000"/>
                <a:gd name="connsiteY18" fmla="*/ 7229 h 10000"/>
                <a:gd name="connsiteX19" fmla="*/ 106 w 10000"/>
                <a:gd name="connsiteY19" fmla="*/ 7297 h 10000"/>
                <a:gd name="connsiteX20" fmla="*/ 538 w 10000"/>
                <a:gd name="connsiteY20" fmla="*/ 7331 h 10000"/>
                <a:gd name="connsiteX21" fmla="*/ 596 w 10000"/>
                <a:gd name="connsiteY21" fmla="*/ 7465 h 10000"/>
                <a:gd name="connsiteX22" fmla="*/ 1075 w 10000"/>
                <a:gd name="connsiteY22" fmla="*/ 7500 h 10000"/>
                <a:gd name="connsiteX23" fmla="*/ 1346 w 10000"/>
                <a:gd name="connsiteY23" fmla="*/ 7635 h 10000"/>
                <a:gd name="connsiteX24" fmla="*/ 1397 w 10000"/>
                <a:gd name="connsiteY24" fmla="*/ 7872 h 10000"/>
                <a:gd name="connsiteX25" fmla="*/ 2260 w 10000"/>
                <a:gd name="connsiteY25" fmla="*/ 8277 h 10000"/>
                <a:gd name="connsiteX26" fmla="*/ 2475 w 10000"/>
                <a:gd name="connsiteY26" fmla="*/ 8683 h 10000"/>
                <a:gd name="connsiteX27" fmla="*/ 3064 w 10000"/>
                <a:gd name="connsiteY27" fmla="*/ 8886 h 10000"/>
                <a:gd name="connsiteX28" fmla="*/ 3280 w 10000"/>
                <a:gd name="connsiteY28" fmla="*/ 9154 h 10000"/>
                <a:gd name="connsiteX29" fmla="*/ 3709 w 10000"/>
                <a:gd name="connsiteY29" fmla="*/ 9494 h 10000"/>
                <a:gd name="connsiteX30" fmla="*/ 4034 w 10000"/>
                <a:gd name="connsiteY30" fmla="*/ 9594 h 10000"/>
                <a:gd name="connsiteX31" fmla="*/ 4248 w 10000"/>
                <a:gd name="connsiteY31" fmla="*/ 9494 h 10000"/>
                <a:gd name="connsiteX32" fmla="*/ 4785 w 10000"/>
                <a:gd name="connsiteY32" fmla="*/ 9527 h 10000"/>
                <a:gd name="connsiteX33" fmla="*/ 5002 w 10000"/>
                <a:gd name="connsiteY33" fmla="*/ 9459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9 h 10000"/>
                <a:gd name="connsiteX37" fmla="*/ 6823 w 10000"/>
                <a:gd name="connsiteY37" fmla="*/ 9899 h 10000"/>
                <a:gd name="connsiteX38" fmla="*/ 6936 w 10000"/>
                <a:gd name="connsiteY38" fmla="*/ 10000 h 10000"/>
                <a:gd name="connsiteX39" fmla="*/ 7526 w 10000"/>
                <a:gd name="connsiteY39" fmla="*/ 9864 h 10000"/>
                <a:gd name="connsiteX40" fmla="*/ 8062 w 10000"/>
                <a:gd name="connsiteY40" fmla="*/ 9864 h 10000"/>
                <a:gd name="connsiteX41" fmla="*/ 8438 w 10000"/>
                <a:gd name="connsiteY41" fmla="*/ 9730 h 10000"/>
                <a:gd name="connsiteX42" fmla="*/ 8871 w 10000"/>
                <a:gd name="connsiteY42" fmla="*/ 9459 h 10000"/>
                <a:gd name="connsiteX43" fmla="*/ 10000 w 10000"/>
                <a:gd name="connsiteY43" fmla="*/ 9459 h 10000"/>
                <a:gd name="connsiteX44" fmla="*/ 10000 w 10000"/>
                <a:gd name="connsiteY44" fmla="*/ 9088 h 10000"/>
                <a:gd name="connsiteX45" fmla="*/ 9409 w 10000"/>
                <a:gd name="connsiteY45" fmla="*/ 8920 h 10000"/>
                <a:gd name="connsiteX46" fmla="*/ 9083 w 10000"/>
                <a:gd name="connsiteY46" fmla="*/ 8379 h 10000"/>
                <a:gd name="connsiteX47" fmla="*/ 8655 w 10000"/>
                <a:gd name="connsiteY47" fmla="*/ 8176 h 10000"/>
                <a:gd name="connsiteX48" fmla="*/ 8385 w 10000"/>
                <a:gd name="connsiteY48" fmla="*/ 7905 h 10000"/>
                <a:gd name="connsiteX49" fmla="*/ 7687 w 10000"/>
                <a:gd name="connsiteY49" fmla="*/ 7703 h 10000"/>
                <a:gd name="connsiteX50" fmla="*/ 7848 w 10000"/>
                <a:gd name="connsiteY50" fmla="*/ 7635 h 10000"/>
                <a:gd name="connsiteX51" fmla="*/ 7848 w 10000"/>
                <a:gd name="connsiteY51" fmla="*/ 7465 h 10000"/>
                <a:gd name="connsiteX52" fmla="*/ 8334 w 10000"/>
                <a:gd name="connsiteY52" fmla="*/ 7465 h 10000"/>
                <a:gd name="connsiteX53" fmla="*/ 8599 w 10000"/>
                <a:gd name="connsiteY53" fmla="*/ 7331 h 10000"/>
                <a:gd name="connsiteX54" fmla="*/ 8655 w 10000"/>
                <a:gd name="connsiteY54" fmla="*/ 6352 h 10000"/>
                <a:gd name="connsiteX55" fmla="*/ 8707 w 10000"/>
                <a:gd name="connsiteY55" fmla="*/ 6385 h 10000"/>
                <a:gd name="connsiteX56" fmla="*/ 8517 w 10000"/>
                <a:gd name="connsiteY56" fmla="*/ 6447 h 10000"/>
                <a:gd name="connsiteX57" fmla="*/ 8440 w 10000"/>
                <a:gd name="connsiteY57" fmla="*/ 6579 h 10000"/>
                <a:gd name="connsiteX58" fmla="*/ 7961 w 10000"/>
                <a:gd name="connsiteY58" fmla="*/ 6319 h 10000"/>
                <a:gd name="connsiteX59" fmla="*/ 7874 w 10000"/>
                <a:gd name="connsiteY59" fmla="*/ 5616 h 10000"/>
                <a:gd name="connsiteX60" fmla="*/ 7361 w 10000"/>
                <a:gd name="connsiteY60" fmla="*/ 5921 h 10000"/>
                <a:gd name="connsiteX61" fmla="*/ 7369 w 10000"/>
                <a:gd name="connsiteY61" fmla="*/ 6283 h 10000"/>
                <a:gd name="connsiteX62" fmla="*/ 6955 w 10000"/>
                <a:gd name="connsiteY62" fmla="*/ 6501 h 10000"/>
                <a:gd name="connsiteX63" fmla="*/ 6452 w 10000"/>
                <a:gd name="connsiteY63" fmla="*/ 0 h 10000"/>
                <a:gd name="connsiteX64" fmla="*/ 5644 w 10000"/>
                <a:gd name="connsiteY64" fmla="*/ 135 h 10000"/>
                <a:gd name="connsiteX65" fmla="*/ 5002 w 10000"/>
                <a:gd name="connsiteY65" fmla="*/ 135 h 10000"/>
                <a:gd name="connsiteX66" fmla="*/ 4356 w 10000"/>
                <a:gd name="connsiteY66" fmla="*/ 135 h 10000"/>
                <a:gd name="connsiteX67" fmla="*/ 3709 w 10000"/>
                <a:gd name="connsiteY67" fmla="*/ 135 h 10000"/>
                <a:gd name="connsiteX68" fmla="*/ 3120 w 10000"/>
                <a:gd name="connsiteY68" fmla="*/ 135 h 10000"/>
                <a:gd name="connsiteX69" fmla="*/ 2475 w 10000"/>
                <a:gd name="connsiteY69" fmla="*/ 135 h 10000"/>
                <a:gd name="connsiteX70" fmla="*/ 1884 w 10000"/>
                <a:gd name="connsiteY70" fmla="*/ 135 h 10000"/>
                <a:gd name="connsiteX71" fmla="*/ 1237 w 10000"/>
                <a:gd name="connsiteY71" fmla="*/ 135 h 10000"/>
                <a:gd name="connsiteX72" fmla="*/ 1237 w 10000"/>
                <a:gd name="connsiteY72" fmla="*/ 608 h 10000"/>
                <a:gd name="connsiteX73" fmla="*/ 1237 w 10000"/>
                <a:gd name="connsiteY73" fmla="*/ 1216 h 10000"/>
                <a:gd name="connsiteX74" fmla="*/ 433 w 10000"/>
                <a:gd name="connsiteY74" fmla="*/ 1216 h 10000"/>
                <a:gd name="connsiteX75" fmla="*/ 433 w 10000"/>
                <a:gd name="connsiteY75" fmla="*/ 1486 h 10000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644 w 10000"/>
                <a:gd name="connsiteY63" fmla="*/ 1061 h 10926"/>
                <a:gd name="connsiteX64" fmla="*/ 5002 w 10000"/>
                <a:gd name="connsiteY64" fmla="*/ 1061 h 10926"/>
                <a:gd name="connsiteX65" fmla="*/ 4356 w 10000"/>
                <a:gd name="connsiteY65" fmla="*/ 1061 h 10926"/>
                <a:gd name="connsiteX66" fmla="*/ 3709 w 10000"/>
                <a:gd name="connsiteY66" fmla="*/ 1061 h 10926"/>
                <a:gd name="connsiteX67" fmla="*/ 3120 w 10000"/>
                <a:gd name="connsiteY67" fmla="*/ 1061 h 10926"/>
                <a:gd name="connsiteX68" fmla="*/ 2475 w 10000"/>
                <a:gd name="connsiteY68" fmla="*/ 1061 h 10926"/>
                <a:gd name="connsiteX69" fmla="*/ 1884 w 10000"/>
                <a:gd name="connsiteY69" fmla="*/ 1061 h 10926"/>
                <a:gd name="connsiteX70" fmla="*/ 1237 w 10000"/>
                <a:gd name="connsiteY70" fmla="*/ 1061 h 10926"/>
                <a:gd name="connsiteX71" fmla="*/ 1237 w 10000"/>
                <a:gd name="connsiteY71" fmla="*/ 1534 h 10926"/>
                <a:gd name="connsiteX72" fmla="*/ 1237 w 10000"/>
                <a:gd name="connsiteY72" fmla="*/ 2142 h 10926"/>
                <a:gd name="connsiteX73" fmla="*/ 433 w 10000"/>
                <a:gd name="connsiteY73" fmla="*/ 2142 h 10926"/>
                <a:gd name="connsiteX74" fmla="*/ 433 w 10000"/>
                <a:gd name="connsiteY74" fmla="*/ 2412 h 10926"/>
                <a:gd name="connsiteX0" fmla="*/ 433 w 10000"/>
                <a:gd name="connsiteY0" fmla="*/ 2412 h 10926"/>
                <a:gd name="connsiteX1" fmla="*/ 6675 w 10000"/>
                <a:gd name="connsiteY1" fmla="*/ 7685 h 10926"/>
                <a:gd name="connsiteX2" fmla="*/ 6234 w 10000"/>
                <a:gd name="connsiteY2" fmla="*/ 7894 h 10926"/>
                <a:gd name="connsiteX3" fmla="*/ 5864 w 10000"/>
                <a:gd name="connsiteY3" fmla="*/ 7676 h 10926"/>
                <a:gd name="connsiteX4" fmla="*/ 5325 w 10000"/>
                <a:gd name="connsiteY4" fmla="*/ 7544 h 10926"/>
                <a:gd name="connsiteX5" fmla="*/ 5058 w 10000"/>
                <a:gd name="connsiteY5" fmla="*/ 7841 h 10926"/>
                <a:gd name="connsiteX6" fmla="*/ 4396 w 10000"/>
                <a:gd name="connsiteY6" fmla="*/ 8069 h 10926"/>
                <a:gd name="connsiteX7" fmla="*/ 3972 w 10000"/>
                <a:gd name="connsiteY7" fmla="*/ 8067 h 10926"/>
                <a:gd name="connsiteX8" fmla="*/ 3044 w 10000"/>
                <a:gd name="connsiteY8" fmla="*/ 7874 h 10926"/>
                <a:gd name="connsiteX9" fmla="*/ 2796 w 10000"/>
                <a:gd name="connsiteY9" fmla="*/ 7978 h 10926"/>
                <a:gd name="connsiteX10" fmla="*/ 2177 w 10000"/>
                <a:gd name="connsiteY10" fmla="*/ 7745 h 10926"/>
                <a:gd name="connsiteX11" fmla="*/ 1903 w 10000"/>
                <a:gd name="connsiteY11" fmla="*/ 7393 h 10926"/>
                <a:gd name="connsiteX12" fmla="*/ 1449 w 10000"/>
                <a:gd name="connsiteY12" fmla="*/ 7489 h 10926"/>
                <a:gd name="connsiteX13" fmla="*/ 1324 w 10000"/>
                <a:gd name="connsiteY13" fmla="*/ 7697 h 10926"/>
                <a:gd name="connsiteX14" fmla="*/ 845 w 10000"/>
                <a:gd name="connsiteY14" fmla="*/ 7786 h 10926"/>
                <a:gd name="connsiteX15" fmla="*/ 526 w 10000"/>
                <a:gd name="connsiteY15" fmla="*/ 7778 h 10926"/>
                <a:gd name="connsiteX16" fmla="*/ 354 w 10000"/>
                <a:gd name="connsiteY16" fmla="*/ 7943 h 10926"/>
                <a:gd name="connsiteX17" fmla="*/ 56 w 10000"/>
                <a:gd name="connsiteY17" fmla="*/ 7683 h 10926"/>
                <a:gd name="connsiteX18" fmla="*/ 0 w 10000"/>
                <a:gd name="connsiteY18" fmla="*/ 8155 h 10926"/>
                <a:gd name="connsiteX19" fmla="*/ 106 w 10000"/>
                <a:gd name="connsiteY19" fmla="*/ 8223 h 10926"/>
                <a:gd name="connsiteX20" fmla="*/ 538 w 10000"/>
                <a:gd name="connsiteY20" fmla="*/ 8257 h 10926"/>
                <a:gd name="connsiteX21" fmla="*/ 596 w 10000"/>
                <a:gd name="connsiteY21" fmla="*/ 8391 h 10926"/>
                <a:gd name="connsiteX22" fmla="*/ 1075 w 10000"/>
                <a:gd name="connsiteY22" fmla="*/ 8426 h 10926"/>
                <a:gd name="connsiteX23" fmla="*/ 1346 w 10000"/>
                <a:gd name="connsiteY23" fmla="*/ 8561 h 10926"/>
                <a:gd name="connsiteX24" fmla="*/ 1397 w 10000"/>
                <a:gd name="connsiteY24" fmla="*/ 8798 h 10926"/>
                <a:gd name="connsiteX25" fmla="*/ 2260 w 10000"/>
                <a:gd name="connsiteY25" fmla="*/ 9203 h 10926"/>
                <a:gd name="connsiteX26" fmla="*/ 2475 w 10000"/>
                <a:gd name="connsiteY26" fmla="*/ 9609 h 10926"/>
                <a:gd name="connsiteX27" fmla="*/ 3064 w 10000"/>
                <a:gd name="connsiteY27" fmla="*/ 9812 h 10926"/>
                <a:gd name="connsiteX28" fmla="*/ 3280 w 10000"/>
                <a:gd name="connsiteY28" fmla="*/ 10080 h 10926"/>
                <a:gd name="connsiteX29" fmla="*/ 3709 w 10000"/>
                <a:gd name="connsiteY29" fmla="*/ 10420 h 10926"/>
                <a:gd name="connsiteX30" fmla="*/ 4034 w 10000"/>
                <a:gd name="connsiteY30" fmla="*/ 10520 h 10926"/>
                <a:gd name="connsiteX31" fmla="*/ 4248 w 10000"/>
                <a:gd name="connsiteY31" fmla="*/ 10420 h 10926"/>
                <a:gd name="connsiteX32" fmla="*/ 4785 w 10000"/>
                <a:gd name="connsiteY32" fmla="*/ 10453 h 10926"/>
                <a:gd name="connsiteX33" fmla="*/ 5002 w 10000"/>
                <a:gd name="connsiteY33" fmla="*/ 10385 h 10926"/>
                <a:gd name="connsiteX34" fmla="*/ 5967 w 10000"/>
                <a:gd name="connsiteY34" fmla="*/ 10893 h 10926"/>
                <a:gd name="connsiteX35" fmla="*/ 6021 w 10000"/>
                <a:gd name="connsiteY35" fmla="*/ 10893 h 10926"/>
                <a:gd name="connsiteX36" fmla="*/ 6130 w 10000"/>
                <a:gd name="connsiteY36" fmla="*/ 10825 h 10926"/>
                <a:gd name="connsiteX37" fmla="*/ 6823 w 10000"/>
                <a:gd name="connsiteY37" fmla="*/ 10825 h 10926"/>
                <a:gd name="connsiteX38" fmla="*/ 6936 w 10000"/>
                <a:gd name="connsiteY38" fmla="*/ 10926 h 10926"/>
                <a:gd name="connsiteX39" fmla="*/ 7526 w 10000"/>
                <a:gd name="connsiteY39" fmla="*/ 10790 h 10926"/>
                <a:gd name="connsiteX40" fmla="*/ 8062 w 10000"/>
                <a:gd name="connsiteY40" fmla="*/ 10790 h 10926"/>
                <a:gd name="connsiteX41" fmla="*/ 8438 w 10000"/>
                <a:gd name="connsiteY41" fmla="*/ 10656 h 10926"/>
                <a:gd name="connsiteX42" fmla="*/ 8871 w 10000"/>
                <a:gd name="connsiteY42" fmla="*/ 10385 h 10926"/>
                <a:gd name="connsiteX43" fmla="*/ 10000 w 10000"/>
                <a:gd name="connsiteY43" fmla="*/ 10385 h 10926"/>
                <a:gd name="connsiteX44" fmla="*/ 10000 w 10000"/>
                <a:gd name="connsiteY44" fmla="*/ 10014 h 10926"/>
                <a:gd name="connsiteX45" fmla="*/ 9409 w 10000"/>
                <a:gd name="connsiteY45" fmla="*/ 9846 h 10926"/>
                <a:gd name="connsiteX46" fmla="*/ 9083 w 10000"/>
                <a:gd name="connsiteY46" fmla="*/ 9305 h 10926"/>
                <a:gd name="connsiteX47" fmla="*/ 8655 w 10000"/>
                <a:gd name="connsiteY47" fmla="*/ 9102 h 10926"/>
                <a:gd name="connsiteX48" fmla="*/ 8385 w 10000"/>
                <a:gd name="connsiteY48" fmla="*/ 8831 h 10926"/>
                <a:gd name="connsiteX49" fmla="*/ 7687 w 10000"/>
                <a:gd name="connsiteY49" fmla="*/ 8629 h 10926"/>
                <a:gd name="connsiteX50" fmla="*/ 7848 w 10000"/>
                <a:gd name="connsiteY50" fmla="*/ 8561 h 10926"/>
                <a:gd name="connsiteX51" fmla="*/ 7848 w 10000"/>
                <a:gd name="connsiteY51" fmla="*/ 8391 h 10926"/>
                <a:gd name="connsiteX52" fmla="*/ 8334 w 10000"/>
                <a:gd name="connsiteY52" fmla="*/ 8391 h 10926"/>
                <a:gd name="connsiteX53" fmla="*/ 8599 w 10000"/>
                <a:gd name="connsiteY53" fmla="*/ 8257 h 10926"/>
                <a:gd name="connsiteX54" fmla="*/ 8655 w 10000"/>
                <a:gd name="connsiteY54" fmla="*/ 7278 h 10926"/>
                <a:gd name="connsiteX55" fmla="*/ 8707 w 10000"/>
                <a:gd name="connsiteY55" fmla="*/ 7311 h 10926"/>
                <a:gd name="connsiteX56" fmla="*/ 8517 w 10000"/>
                <a:gd name="connsiteY56" fmla="*/ 7373 h 10926"/>
                <a:gd name="connsiteX57" fmla="*/ 8440 w 10000"/>
                <a:gd name="connsiteY57" fmla="*/ 7505 h 10926"/>
                <a:gd name="connsiteX58" fmla="*/ 7961 w 10000"/>
                <a:gd name="connsiteY58" fmla="*/ 7245 h 10926"/>
                <a:gd name="connsiteX59" fmla="*/ 7874 w 10000"/>
                <a:gd name="connsiteY59" fmla="*/ 6542 h 10926"/>
                <a:gd name="connsiteX60" fmla="*/ 7361 w 10000"/>
                <a:gd name="connsiteY60" fmla="*/ 6847 h 10926"/>
                <a:gd name="connsiteX61" fmla="*/ 7369 w 10000"/>
                <a:gd name="connsiteY61" fmla="*/ 7209 h 10926"/>
                <a:gd name="connsiteX62" fmla="*/ 6955 w 10000"/>
                <a:gd name="connsiteY62" fmla="*/ 7427 h 10926"/>
                <a:gd name="connsiteX63" fmla="*/ 5002 w 10000"/>
                <a:gd name="connsiteY63" fmla="*/ 1061 h 10926"/>
                <a:gd name="connsiteX64" fmla="*/ 4356 w 10000"/>
                <a:gd name="connsiteY64" fmla="*/ 1061 h 10926"/>
                <a:gd name="connsiteX65" fmla="*/ 3709 w 10000"/>
                <a:gd name="connsiteY65" fmla="*/ 1061 h 10926"/>
                <a:gd name="connsiteX66" fmla="*/ 3120 w 10000"/>
                <a:gd name="connsiteY66" fmla="*/ 1061 h 10926"/>
                <a:gd name="connsiteX67" fmla="*/ 2475 w 10000"/>
                <a:gd name="connsiteY67" fmla="*/ 1061 h 10926"/>
                <a:gd name="connsiteX68" fmla="*/ 1884 w 10000"/>
                <a:gd name="connsiteY68" fmla="*/ 1061 h 10926"/>
                <a:gd name="connsiteX69" fmla="*/ 1237 w 10000"/>
                <a:gd name="connsiteY69" fmla="*/ 1061 h 10926"/>
                <a:gd name="connsiteX70" fmla="*/ 1237 w 10000"/>
                <a:gd name="connsiteY70" fmla="*/ 1534 h 10926"/>
                <a:gd name="connsiteX71" fmla="*/ 1237 w 10000"/>
                <a:gd name="connsiteY71" fmla="*/ 2142 h 10926"/>
                <a:gd name="connsiteX72" fmla="*/ 433 w 10000"/>
                <a:gd name="connsiteY72" fmla="*/ 2142 h 10926"/>
                <a:gd name="connsiteX73" fmla="*/ 433 w 10000"/>
                <a:gd name="connsiteY73" fmla="*/ 2412 h 10926"/>
                <a:gd name="connsiteX0" fmla="*/ 433 w 10000"/>
                <a:gd name="connsiteY0" fmla="*/ 1351 h 9865"/>
                <a:gd name="connsiteX1" fmla="*/ 6675 w 10000"/>
                <a:gd name="connsiteY1" fmla="*/ 6624 h 9865"/>
                <a:gd name="connsiteX2" fmla="*/ 6234 w 10000"/>
                <a:gd name="connsiteY2" fmla="*/ 6833 h 9865"/>
                <a:gd name="connsiteX3" fmla="*/ 5864 w 10000"/>
                <a:gd name="connsiteY3" fmla="*/ 6615 h 9865"/>
                <a:gd name="connsiteX4" fmla="*/ 5325 w 10000"/>
                <a:gd name="connsiteY4" fmla="*/ 6483 h 9865"/>
                <a:gd name="connsiteX5" fmla="*/ 5058 w 10000"/>
                <a:gd name="connsiteY5" fmla="*/ 6780 h 9865"/>
                <a:gd name="connsiteX6" fmla="*/ 4396 w 10000"/>
                <a:gd name="connsiteY6" fmla="*/ 7008 h 9865"/>
                <a:gd name="connsiteX7" fmla="*/ 3972 w 10000"/>
                <a:gd name="connsiteY7" fmla="*/ 7006 h 9865"/>
                <a:gd name="connsiteX8" fmla="*/ 3044 w 10000"/>
                <a:gd name="connsiteY8" fmla="*/ 6813 h 9865"/>
                <a:gd name="connsiteX9" fmla="*/ 2796 w 10000"/>
                <a:gd name="connsiteY9" fmla="*/ 6917 h 9865"/>
                <a:gd name="connsiteX10" fmla="*/ 2177 w 10000"/>
                <a:gd name="connsiteY10" fmla="*/ 6684 h 9865"/>
                <a:gd name="connsiteX11" fmla="*/ 1903 w 10000"/>
                <a:gd name="connsiteY11" fmla="*/ 6332 h 9865"/>
                <a:gd name="connsiteX12" fmla="*/ 1449 w 10000"/>
                <a:gd name="connsiteY12" fmla="*/ 6428 h 9865"/>
                <a:gd name="connsiteX13" fmla="*/ 1324 w 10000"/>
                <a:gd name="connsiteY13" fmla="*/ 6636 h 9865"/>
                <a:gd name="connsiteX14" fmla="*/ 845 w 10000"/>
                <a:gd name="connsiteY14" fmla="*/ 6725 h 9865"/>
                <a:gd name="connsiteX15" fmla="*/ 526 w 10000"/>
                <a:gd name="connsiteY15" fmla="*/ 6717 h 9865"/>
                <a:gd name="connsiteX16" fmla="*/ 354 w 10000"/>
                <a:gd name="connsiteY16" fmla="*/ 6882 h 9865"/>
                <a:gd name="connsiteX17" fmla="*/ 56 w 10000"/>
                <a:gd name="connsiteY17" fmla="*/ 6622 h 9865"/>
                <a:gd name="connsiteX18" fmla="*/ 0 w 10000"/>
                <a:gd name="connsiteY18" fmla="*/ 7094 h 9865"/>
                <a:gd name="connsiteX19" fmla="*/ 106 w 10000"/>
                <a:gd name="connsiteY19" fmla="*/ 7162 h 9865"/>
                <a:gd name="connsiteX20" fmla="*/ 538 w 10000"/>
                <a:gd name="connsiteY20" fmla="*/ 7196 h 9865"/>
                <a:gd name="connsiteX21" fmla="*/ 596 w 10000"/>
                <a:gd name="connsiteY21" fmla="*/ 7330 h 9865"/>
                <a:gd name="connsiteX22" fmla="*/ 1075 w 10000"/>
                <a:gd name="connsiteY22" fmla="*/ 7365 h 9865"/>
                <a:gd name="connsiteX23" fmla="*/ 1346 w 10000"/>
                <a:gd name="connsiteY23" fmla="*/ 7500 h 9865"/>
                <a:gd name="connsiteX24" fmla="*/ 1397 w 10000"/>
                <a:gd name="connsiteY24" fmla="*/ 7737 h 9865"/>
                <a:gd name="connsiteX25" fmla="*/ 2260 w 10000"/>
                <a:gd name="connsiteY25" fmla="*/ 8142 h 9865"/>
                <a:gd name="connsiteX26" fmla="*/ 2475 w 10000"/>
                <a:gd name="connsiteY26" fmla="*/ 8548 h 9865"/>
                <a:gd name="connsiteX27" fmla="*/ 3064 w 10000"/>
                <a:gd name="connsiteY27" fmla="*/ 8751 h 9865"/>
                <a:gd name="connsiteX28" fmla="*/ 3280 w 10000"/>
                <a:gd name="connsiteY28" fmla="*/ 9019 h 9865"/>
                <a:gd name="connsiteX29" fmla="*/ 3709 w 10000"/>
                <a:gd name="connsiteY29" fmla="*/ 9359 h 9865"/>
                <a:gd name="connsiteX30" fmla="*/ 4034 w 10000"/>
                <a:gd name="connsiteY30" fmla="*/ 9459 h 9865"/>
                <a:gd name="connsiteX31" fmla="*/ 4248 w 10000"/>
                <a:gd name="connsiteY31" fmla="*/ 9359 h 9865"/>
                <a:gd name="connsiteX32" fmla="*/ 4785 w 10000"/>
                <a:gd name="connsiteY32" fmla="*/ 9392 h 9865"/>
                <a:gd name="connsiteX33" fmla="*/ 5002 w 10000"/>
                <a:gd name="connsiteY33" fmla="*/ 9324 h 9865"/>
                <a:gd name="connsiteX34" fmla="*/ 5967 w 10000"/>
                <a:gd name="connsiteY34" fmla="*/ 9832 h 9865"/>
                <a:gd name="connsiteX35" fmla="*/ 6021 w 10000"/>
                <a:gd name="connsiteY35" fmla="*/ 9832 h 9865"/>
                <a:gd name="connsiteX36" fmla="*/ 6130 w 10000"/>
                <a:gd name="connsiteY36" fmla="*/ 9764 h 9865"/>
                <a:gd name="connsiteX37" fmla="*/ 6823 w 10000"/>
                <a:gd name="connsiteY37" fmla="*/ 9764 h 9865"/>
                <a:gd name="connsiteX38" fmla="*/ 6936 w 10000"/>
                <a:gd name="connsiteY38" fmla="*/ 9865 h 9865"/>
                <a:gd name="connsiteX39" fmla="*/ 7526 w 10000"/>
                <a:gd name="connsiteY39" fmla="*/ 9729 h 9865"/>
                <a:gd name="connsiteX40" fmla="*/ 8062 w 10000"/>
                <a:gd name="connsiteY40" fmla="*/ 9729 h 9865"/>
                <a:gd name="connsiteX41" fmla="*/ 8438 w 10000"/>
                <a:gd name="connsiteY41" fmla="*/ 9595 h 9865"/>
                <a:gd name="connsiteX42" fmla="*/ 8871 w 10000"/>
                <a:gd name="connsiteY42" fmla="*/ 9324 h 9865"/>
                <a:gd name="connsiteX43" fmla="*/ 10000 w 10000"/>
                <a:gd name="connsiteY43" fmla="*/ 9324 h 9865"/>
                <a:gd name="connsiteX44" fmla="*/ 10000 w 10000"/>
                <a:gd name="connsiteY44" fmla="*/ 8953 h 9865"/>
                <a:gd name="connsiteX45" fmla="*/ 9409 w 10000"/>
                <a:gd name="connsiteY45" fmla="*/ 8785 h 9865"/>
                <a:gd name="connsiteX46" fmla="*/ 9083 w 10000"/>
                <a:gd name="connsiteY46" fmla="*/ 8244 h 9865"/>
                <a:gd name="connsiteX47" fmla="*/ 8655 w 10000"/>
                <a:gd name="connsiteY47" fmla="*/ 8041 h 9865"/>
                <a:gd name="connsiteX48" fmla="*/ 8385 w 10000"/>
                <a:gd name="connsiteY48" fmla="*/ 7770 h 9865"/>
                <a:gd name="connsiteX49" fmla="*/ 7687 w 10000"/>
                <a:gd name="connsiteY49" fmla="*/ 7568 h 9865"/>
                <a:gd name="connsiteX50" fmla="*/ 7848 w 10000"/>
                <a:gd name="connsiteY50" fmla="*/ 7500 h 9865"/>
                <a:gd name="connsiteX51" fmla="*/ 7848 w 10000"/>
                <a:gd name="connsiteY51" fmla="*/ 7330 h 9865"/>
                <a:gd name="connsiteX52" fmla="*/ 8334 w 10000"/>
                <a:gd name="connsiteY52" fmla="*/ 7330 h 9865"/>
                <a:gd name="connsiteX53" fmla="*/ 8599 w 10000"/>
                <a:gd name="connsiteY53" fmla="*/ 7196 h 9865"/>
                <a:gd name="connsiteX54" fmla="*/ 8655 w 10000"/>
                <a:gd name="connsiteY54" fmla="*/ 6217 h 9865"/>
                <a:gd name="connsiteX55" fmla="*/ 8707 w 10000"/>
                <a:gd name="connsiteY55" fmla="*/ 6250 h 9865"/>
                <a:gd name="connsiteX56" fmla="*/ 8517 w 10000"/>
                <a:gd name="connsiteY56" fmla="*/ 6312 h 9865"/>
                <a:gd name="connsiteX57" fmla="*/ 8440 w 10000"/>
                <a:gd name="connsiteY57" fmla="*/ 6444 h 9865"/>
                <a:gd name="connsiteX58" fmla="*/ 7961 w 10000"/>
                <a:gd name="connsiteY58" fmla="*/ 6184 h 9865"/>
                <a:gd name="connsiteX59" fmla="*/ 7874 w 10000"/>
                <a:gd name="connsiteY59" fmla="*/ 5481 h 9865"/>
                <a:gd name="connsiteX60" fmla="*/ 7361 w 10000"/>
                <a:gd name="connsiteY60" fmla="*/ 5786 h 9865"/>
                <a:gd name="connsiteX61" fmla="*/ 7369 w 10000"/>
                <a:gd name="connsiteY61" fmla="*/ 6148 h 9865"/>
                <a:gd name="connsiteX62" fmla="*/ 6955 w 10000"/>
                <a:gd name="connsiteY62" fmla="*/ 6366 h 9865"/>
                <a:gd name="connsiteX63" fmla="*/ 4356 w 10000"/>
                <a:gd name="connsiteY63" fmla="*/ 0 h 9865"/>
                <a:gd name="connsiteX64" fmla="*/ 3709 w 10000"/>
                <a:gd name="connsiteY64" fmla="*/ 0 h 9865"/>
                <a:gd name="connsiteX65" fmla="*/ 3120 w 10000"/>
                <a:gd name="connsiteY65" fmla="*/ 0 h 9865"/>
                <a:gd name="connsiteX66" fmla="*/ 2475 w 10000"/>
                <a:gd name="connsiteY66" fmla="*/ 0 h 9865"/>
                <a:gd name="connsiteX67" fmla="*/ 1884 w 10000"/>
                <a:gd name="connsiteY67" fmla="*/ 0 h 9865"/>
                <a:gd name="connsiteX68" fmla="*/ 1237 w 10000"/>
                <a:gd name="connsiteY68" fmla="*/ 0 h 9865"/>
                <a:gd name="connsiteX69" fmla="*/ 1237 w 10000"/>
                <a:gd name="connsiteY69" fmla="*/ 473 h 9865"/>
                <a:gd name="connsiteX70" fmla="*/ 1237 w 10000"/>
                <a:gd name="connsiteY70" fmla="*/ 1081 h 9865"/>
                <a:gd name="connsiteX71" fmla="*/ 433 w 10000"/>
                <a:gd name="connsiteY71" fmla="*/ 1081 h 9865"/>
                <a:gd name="connsiteX72" fmla="*/ 433 w 10000"/>
                <a:gd name="connsiteY72" fmla="*/ 1351 h 9865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709 w 10000"/>
                <a:gd name="connsiteY63" fmla="*/ 0 h 10000"/>
                <a:gd name="connsiteX64" fmla="*/ 3120 w 10000"/>
                <a:gd name="connsiteY64" fmla="*/ 0 h 10000"/>
                <a:gd name="connsiteX65" fmla="*/ 2475 w 10000"/>
                <a:gd name="connsiteY65" fmla="*/ 0 h 10000"/>
                <a:gd name="connsiteX66" fmla="*/ 1884 w 10000"/>
                <a:gd name="connsiteY66" fmla="*/ 0 h 10000"/>
                <a:gd name="connsiteX67" fmla="*/ 1237 w 10000"/>
                <a:gd name="connsiteY67" fmla="*/ 0 h 10000"/>
                <a:gd name="connsiteX68" fmla="*/ 1237 w 10000"/>
                <a:gd name="connsiteY68" fmla="*/ 479 h 10000"/>
                <a:gd name="connsiteX69" fmla="*/ 1237 w 10000"/>
                <a:gd name="connsiteY69" fmla="*/ 1096 h 10000"/>
                <a:gd name="connsiteX70" fmla="*/ 433 w 10000"/>
                <a:gd name="connsiteY70" fmla="*/ 1096 h 10000"/>
                <a:gd name="connsiteX71" fmla="*/ 433 w 10000"/>
                <a:gd name="connsiteY71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3120 w 10000"/>
                <a:gd name="connsiteY63" fmla="*/ 0 h 10000"/>
                <a:gd name="connsiteX64" fmla="*/ 2475 w 10000"/>
                <a:gd name="connsiteY64" fmla="*/ 0 h 10000"/>
                <a:gd name="connsiteX65" fmla="*/ 1884 w 10000"/>
                <a:gd name="connsiteY65" fmla="*/ 0 h 10000"/>
                <a:gd name="connsiteX66" fmla="*/ 1237 w 10000"/>
                <a:gd name="connsiteY66" fmla="*/ 0 h 10000"/>
                <a:gd name="connsiteX67" fmla="*/ 1237 w 10000"/>
                <a:gd name="connsiteY67" fmla="*/ 479 h 10000"/>
                <a:gd name="connsiteX68" fmla="*/ 1237 w 10000"/>
                <a:gd name="connsiteY68" fmla="*/ 1096 h 10000"/>
                <a:gd name="connsiteX69" fmla="*/ 433 w 10000"/>
                <a:gd name="connsiteY69" fmla="*/ 1096 h 10000"/>
                <a:gd name="connsiteX70" fmla="*/ 433 w 10000"/>
                <a:gd name="connsiteY70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2475 w 10000"/>
                <a:gd name="connsiteY63" fmla="*/ 0 h 10000"/>
                <a:gd name="connsiteX64" fmla="*/ 1884 w 10000"/>
                <a:gd name="connsiteY64" fmla="*/ 0 h 10000"/>
                <a:gd name="connsiteX65" fmla="*/ 1237 w 10000"/>
                <a:gd name="connsiteY65" fmla="*/ 0 h 10000"/>
                <a:gd name="connsiteX66" fmla="*/ 1237 w 10000"/>
                <a:gd name="connsiteY66" fmla="*/ 479 h 10000"/>
                <a:gd name="connsiteX67" fmla="*/ 1237 w 10000"/>
                <a:gd name="connsiteY67" fmla="*/ 1096 h 10000"/>
                <a:gd name="connsiteX68" fmla="*/ 433 w 10000"/>
                <a:gd name="connsiteY68" fmla="*/ 1096 h 10000"/>
                <a:gd name="connsiteX69" fmla="*/ 433 w 10000"/>
                <a:gd name="connsiteY69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884 w 10000"/>
                <a:gd name="connsiteY63" fmla="*/ 0 h 10000"/>
                <a:gd name="connsiteX64" fmla="*/ 1237 w 10000"/>
                <a:gd name="connsiteY64" fmla="*/ 0 h 10000"/>
                <a:gd name="connsiteX65" fmla="*/ 1237 w 10000"/>
                <a:gd name="connsiteY65" fmla="*/ 479 h 10000"/>
                <a:gd name="connsiteX66" fmla="*/ 1237 w 10000"/>
                <a:gd name="connsiteY66" fmla="*/ 1096 h 10000"/>
                <a:gd name="connsiteX67" fmla="*/ 433 w 10000"/>
                <a:gd name="connsiteY67" fmla="*/ 1096 h 10000"/>
                <a:gd name="connsiteX68" fmla="*/ 433 w 10000"/>
                <a:gd name="connsiteY68" fmla="*/ 1369 h 10000"/>
                <a:gd name="connsiteX0" fmla="*/ 433 w 10000"/>
                <a:gd name="connsiteY0" fmla="*/ 1369 h 10000"/>
                <a:gd name="connsiteX1" fmla="*/ 6675 w 10000"/>
                <a:gd name="connsiteY1" fmla="*/ 6715 h 10000"/>
                <a:gd name="connsiteX2" fmla="*/ 6234 w 10000"/>
                <a:gd name="connsiteY2" fmla="*/ 6927 h 10000"/>
                <a:gd name="connsiteX3" fmla="*/ 5864 w 10000"/>
                <a:gd name="connsiteY3" fmla="*/ 6706 h 10000"/>
                <a:gd name="connsiteX4" fmla="*/ 5325 w 10000"/>
                <a:gd name="connsiteY4" fmla="*/ 6572 h 10000"/>
                <a:gd name="connsiteX5" fmla="*/ 5058 w 10000"/>
                <a:gd name="connsiteY5" fmla="*/ 6873 h 10000"/>
                <a:gd name="connsiteX6" fmla="*/ 4396 w 10000"/>
                <a:gd name="connsiteY6" fmla="*/ 7104 h 10000"/>
                <a:gd name="connsiteX7" fmla="*/ 3972 w 10000"/>
                <a:gd name="connsiteY7" fmla="*/ 7102 h 10000"/>
                <a:gd name="connsiteX8" fmla="*/ 3044 w 10000"/>
                <a:gd name="connsiteY8" fmla="*/ 6906 h 10000"/>
                <a:gd name="connsiteX9" fmla="*/ 2796 w 10000"/>
                <a:gd name="connsiteY9" fmla="*/ 7012 h 10000"/>
                <a:gd name="connsiteX10" fmla="*/ 2177 w 10000"/>
                <a:gd name="connsiteY10" fmla="*/ 6775 h 10000"/>
                <a:gd name="connsiteX11" fmla="*/ 1903 w 10000"/>
                <a:gd name="connsiteY11" fmla="*/ 6419 h 10000"/>
                <a:gd name="connsiteX12" fmla="*/ 1449 w 10000"/>
                <a:gd name="connsiteY12" fmla="*/ 6516 h 10000"/>
                <a:gd name="connsiteX13" fmla="*/ 1324 w 10000"/>
                <a:gd name="connsiteY13" fmla="*/ 6727 h 10000"/>
                <a:gd name="connsiteX14" fmla="*/ 845 w 10000"/>
                <a:gd name="connsiteY14" fmla="*/ 6817 h 10000"/>
                <a:gd name="connsiteX15" fmla="*/ 526 w 10000"/>
                <a:gd name="connsiteY15" fmla="*/ 6809 h 10000"/>
                <a:gd name="connsiteX16" fmla="*/ 354 w 10000"/>
                <a:gd name="connsiteY16" fmla="*/ 6976 h 10000"/>
                <a:gd name="connsiteX17" fmla="*/ 56 w 10000"/>
                <a:gd name="connsiteY17" fmla="*/ 6713 h 10000"/>
                <a:gd name="connsiteX18" fmla="*/ 0 w 10000"/>
                <a:gd name="connsiteY18" fmla="*/ 7191 h 10000"/>
                <a:gd name="connsiteX19" fmla="*/ 106 w 10000"/>
                <a:gd name="connsiteY19" fmla="*/ 7260 h 10000"/>
                <a:gd name="connsiteX20" fmla="*/ 538 w 10000"/>
                <a:gd name="connsiteY20" fmla="*/ 7294 h 10000"/>
                <a:gd name="connsiteX21" fmla="*/ 596 w 10000"/>
                <a:gd name="connsiteY21" fmla="*/ 7430 h 10000"/>
                <a:gd name="connsiteX22" fmla="*/ 1075 w 10000"/>
                <a:gd name="connsiteY22" fmla="*/ 7466 h 10000"/>
                <a:gd name="connsiteX23" fmla="*/ 1346 w 10000"/>
                <a:gd name="connsiteY23" fmla="*/ 7603 h 10000"/>
                <a:gd name="connsiteX24" fmla="*/ 1397 w 10000"/>
                <a:gd name="connsiteY24" fmla="*/ 7843 h 10000"/>
                <a:gd name="connsiteX25" fmla="*/ 2260 w 10000"/>
                <a:gd name="connsiteY25" fmla="*/ 8253 h 10000"/>
                <a:gd name="connsiteX26" fmla="*/ 2475 w 10000"/>
                <a:gd name="connsiteY26" fmla="*/ 8665 h 10000"/>
                <a:gd name="connsiteX27" fmla="*/ 3064 w 10000"/>
                <a:gd name="connsiteY27" fmla="*/ 8871 h 10000"/>
                <a:gd name="connsiteX28" fmla="*/ 3280 w 10000"/>
                <a:gd name="connsiteY28" fmla="*/ 9142 h 10000"/>
                <a:gd name="connsiteX29" fmla="*/ 3709 w 10000"/>
                <a:gd name="connsiteY29" fmla="*/ 9487 h 10000"/>
                <a:gd name="connsiteX30" fmla="*/ 4034 w 10000"/>
                <a:gd name="connsiteY30" fmla="*/ 9588 h 10000"/>
                <a:gd name="connsiteX31" fmla="*/ 4248 w 10000"/>
                <a:gd name="connsiteY31" fmla="*/ 9487 h 10000"/>
                <a:gd name="connsiteX32" fmla="*/ 4785 w 10000"/>
                <a:gd name="connsiteY32" fmla="*/ 9521 h 10000"/>
                <a:gd name="connsiteX33" fmla="*/ 5002 w 10000"/>
                <a:gd name="connsiteY33" fmla="*/ 9452 h 10000"/>
                <a:gd name="connsiteX34" fmla="*/ 5967 w 10000"/>
                <a:gd name="connsiteY34" fmla="*/ 9967 h 10000"/>
                <a:gd name="connsiteX35" fmla="*/ 6021 w 10000"/>
                <a:gd name="connsiteY35" fmla="*/ 9967 h 10000"/>
                <a:gd name="connsiteX36" fmla="*/ 6130 w 10000"/>
                <a:gd name="connsiteY36" fmla="*/ 9898 h 10000"/>
                <a:gd name="connsiteX37" fmla="*/ 6823 w 10000"/>
                <a:gd name="connsiteY37" fmla="*/ 9898 h 10000"/>
                <a:gd name="connsiteX38" fmla="*/ 6936 w 10000"/>
                <a:gd name="connsiteY38" fmla="*/ 10000 h 10000"/>
                <a:gd name="connsiteX39" fmla="*/ 7526 w 10000"/>
                <a:gd name="connsiteY39" fmla="*/ 9862 h 10000"/>
                <a:gd name="connsiteX40" fmla="*/ 8062 w 10000"/>
                <a:gd name="connsiteY40" fmla="*/ 9862 h 10000"/>
                <a:gd name="connsiteX41" fmla="*/ 8438 w 10000"/>
                <a:gd name="connsiteY41" fmla="*/ 9726 h 10000"/>
                <a:gd name="connsiteX42" fmla="*/ 8871 w 10000"/>
                <a:gd name="connsiteY42" fmla="*/ 9452 h 10000"/>
                <a:gd name="connsiteX43" fmla="*/ 10000 w 10000"/>
                <a:gd name="connsiteY43" fmla="*/ 9452 h 10000"/>
                <a:gd name="connsiteX44" fmla="*/ 10000 w 10000"/>
                <a:gd name="connsiteY44" fmla="*/ 9076 h 10000"/>
                <a:gd name="connsiteX45" fmla="*/ 9409 w 10000"/>
                <a:gd name="connsiteY45" fmla="*/ 8905 h 10000"/>
                <a:gd name="connsiteX46" fmla="*/ 9083 w 10000"/>
                <a:gd name="connsiteY46" fmla="*/ 8357 h 10000"/>
                <a:gd name="connsiteX47" fmla="*/ 8655 w 10000"/>
                <a:gd name="connsiteY47" fmla="*/ 8151 h 10000"/>
                <a:gd name="connsiteX48" fmla="*/ 8385 w 10000"/>
                <a:gd name="connsiteY48" fmla="*/ 7876 h 10000"/>
                <a:gd name="connsiteX49" fmla="*/ 7687 w 10000"/>
                <a:gd name="connsiteY49" fmla="*/ 7672 h 10000"/>
                <a:gd name="connsiteX50" fmla="*/ 7848 w 10000"/>
                <a:gd name="connsiteY50" fmla="*/ 7603 h 10000"/>
                <a:gd name="connsiteX51" fmla="*/ 7848 w 10000"/>
                <a:gd name="connsiteY51" fmla="*/ 7430 h 10000"/>
                <a:gd name="connsiteX52" fmla="*/ 8334 w 10000"/>
                <a:gd name="connsiteY52" fmla="*/ 7430 h 10000"/>
                <a:gd name="connsiteX53" fmla="*/ 8599 w 10000"/>
                <a:gd name="connsiteY53" fmla="*/ 7294 h 10000"/>
                <a:gd name="connsiteX54" fmla="*/ 8655 w 10000"/>
                <a:gd name="connsiteY54" fmla="*/ 6302 h 10000"/>
                <a:gd name="connsiteX55" fmla="*/ 8707 w 10000"/>
                <a:gd name="connsiteY55" fmla="*/ 6336 h 10000"/>
                <a:gd name="connsiteX56" fmla="*/ 8517 w 10000"/>
                <a:gd name="connsiteY56" fmla="*/ 6398 h 10000"/>
                <a:gd name="connsiteX57" fmla="*/ 8440 w 10000"/>
                <a:gd name="connsiteY57" fmla="*/ 6532 h 10000"/>
                <a:gd name="connsiteX58" fmla="*/ 7961 w 10000"/>
                <a:gd name="connsiteY58" fmla="*/ 6269 h 10000"/>
                <a:gd name="connsiteX59" fmla="*/ 7874 w 10000"/>
                <a:gd name="connsiteY59" fmla="*/ 5556 h 10000"/>
                <a:gd name="connsiteX60" fmla="*/ 7361 w 10000"/>
                <a:gd name="connsiteY60" fmla="*/ 5865 h 10000"/>
                <a:gd name="connsiteX61" fmla="*/ 7369 w 10000"/>
                <a:gd name="connsiteY61" fmla="*/ 6232 h 10000"/>
                <a:gd name="connsiteX62" fmla="*/ 6955 w 10000"/>
                <a:gd name="connsiteY62" fmla="*/ 6453 h 10000"/>
                <a:gd name="connsiteX63" fmla="*/ 1237 w 10000"/>
                <a:gd name="connsiteY63" fmla="*/ 0 h 10000"/>
                <a:gd name="connsiteX64" fmla="*/ 1237 w 10000"/>
                <a:gd name="connsiteY64" fmla="*/ 479 h 10000"/>
                <a:gd name="connsiteX65" fmla="*/ 1237 w 10000"/>
                <a:gd name="connsiteY65" fmla="*/ 1096 h 10000"/>
                <a:gd name="connsiteX66" fmla="*/ 433 w 10000"/>
                <a:gd name="connsiteY66" fmla="*/ 1096 h 10000"/>
                <a:gd name="connsiteX67" fmla="*/ 433 w 10000"/>
                <a:gd name="connsiteY67" fmla="*/ 1369 h 10000"/>
                <a:gd name="connsiteX0" fmla="*/ 433 w 10000"/>
                <a:gd name="connsiteY0" fmla="*/ 890 h 9521"/>
                <a:gd name="connsiteX1" fmla="*/ 6675 w 10000"/>
                <a:gd name="connsiteY1" fmla="*/ 6236 h 9521"/>
                <a:gd name="connsiteX2" fmla="*/ 6234 w 10000"/>
                <a:gd name="connsiteY2" fmla="*/ 6448 h 9521"/>
                <a:gd name="connsiteX3" fmla="*/ 5864 w 10000"/>
                <a:gd name="connsiteY3" fmla="*/ 6227 h 9521"/>
                <a:gd name="connsiteX4" fmla="*/ 5325 w 10000"/>
                <a:gd name="connsiteY4" fmla="*/ 6093 h 9521"/>
                <a:gd name="connsiteX5" fmla="*/ 5058 w 10000"/>
                <a:gd name="connsiteY5" fmla="*/ 6394 h 9521"/>
                <a:gd name="connsiteX6" fmla="*/ 4396 w 10000"/>
                <a:gd name="connsiteY6" fmla="*/ 6625 h 9521"/>
                <a:gd name="connsiteX7" fmla="*/ 3972 w 10000"/>
                <a:gd name="connsiteY7" fmla="*/ 6623 h 9521"/>
                <a:gd name="connsiteX8" fmla="*/ 3044 w 10000"/>
                <a:gd name="connsiteY8" fmla="*/ 6427 h 9521"/>
                <a:gd name="connsiteX9" fmla="*/ 2796 w 10000"/>
                <a:gd name="connsiteY9" fmla="*/ 6533 h 9521"/>
                <a:gd name="connsiteX10" fmla="*/ 2177 w 10000"/>
                <a:gd name="connsiteY10" fmla="*/ 6296 h 9521"/>
                <a:gd name="connsiteX11" fmla="*/ 1903 w 10000"/>
                <a:gd name="connsiteY11" fmla="*/ 5940 h 9521"/>
                <a:gd name="connsiteX12" fmla="*/ 1449 w 10000"/>
                <a:gd name="connsiteY12" fmla="*/ 6037 h 9521"/>
                <a:gd name="connsiteX13" fmla="*/ 1324 w 10000"/>
                <a:gd name="connsiteY13" fmla="*/ 6248 h 9521"/>
                <a:gd name="connsiteX14" fmla="*/ 845 w 10000"/>
                <a:gd name="connsiteY14" fmla="*/ 6338 h 9521"/>
                <a:gd name="connsiteX15" fmla="*/ 526 w 10000"/>
                <a:gd name="connsiteY15" fmla="*/ 6330 h 9521"/>
                <a:gd name="connsiteX16" fmla="*/ 354 w 10000"/>
                <a:gd name="connsiteY16" fmla="*/ 6497 h 9521"/>
                <a:gd name="connsiteX17" fmla="*/ 56 w 10000"/>
                <a:gd name="connsiteY17" fmla="*/ 6234 h 9521"/>
                <a:gd name="connsiteX18" fmla="*/ 0 w 10000"/>
                <a:gd name="connsiteY18" fmla="*/ 6712 h 9521"/>
                <a:gd name="connsiteX19" fmla="*/ 106 w 10000"/>
                <a:gd name="connsiteY19" fmla="*/ 6781 h 9521"/>
                <a:gd name="connsiteX20" fmla="*/ 538 w 10000"/>
                <a:gd name="connsiteY20" fmla="*/ 6815 h 9521"/>
                <a:gd name="connsiteX21" fmla="*/ 596 w 10000"/>
                <a:gd name="connsiteY21" fmla="*/ 6951 h 9521"/>
                <a:gd name="connsiteX22" fmla="*/ 1075 w 10000"/>
                <a:gd name="connsiteY22" fmla="*/ 6987 h 9521"/>
                <a:gd name="connsiteX23" fmla="*/ 1346 w 10000"/>
                <a:gd name="connsiteY23" fmla="*/ 7124 h 9521"/>
                <a:gd name="connsiteX24" fmla="*/ 1397 w 10000"/>
                <a:gd name="connsiteY24" fmla="*/ 7364 h 9521"/>
                <a:gd name="connsiteX25" fmla="*/ 2260 w 10000"/>
                <a:gd name="connsiteY25" fmla="*/ 7774 h 9521"/>
                <a:gd name="connsiteX26" fmla="*/ 2475 w 10000"/>
                <a:gd name="connsiteY26" fmla="*/ 8186 h 9521"/>
                <a:gd name="connsiteX27" fmla="*/ 3064 w 10000"/>
                <a:gd name="connsiteY27" fmla="*/ 8392 h 9521"/>
                <a:gd name="connsiteX28" fmla="*/ 3280 w 10000"/>
                <a:gd name="connsiteY28" fmla="*/ 8663 h 9521"/>
                <a:gd name="connsiteX29" fmla="*/ 3709 w 10000"/>
                <a:gd name="connsiteY29" fmla="*/ 9008 h 9521"/>
                <a:gd name="connsiteX30" fmla="*/ 4034 w 10000"/>
                <a:gd name="connsiteY30" fmla="*/ 9109 h 9521"/>
                <a:gd name="connsiteX31" fmla="*/ 4248 w 10000"/>
                <a:gd name="connsiteY31" fmla="*/ 9008 h 9521"/>
                <a:gd name="connsiteX32" fmla="*/ 4785 w 10000"/>
                <a:gd name="connsiteY32" fmla="*/ 9042 h 9521"/>
                <a:gd name="connsiteX33" fmla="*/ 5002 w 10000"/>
                <a:gd name="connsiteY33" fmla="*/ 8973 h 9521"/>
                <a:gd name="connsiteX34" fmla="*/ 5967 w 10000"/>
                <a:gd name="connsiteY34" fmla="*/ 9488 h 9521"/>
                <a:gd name="connsiteX35" fmla="*/ 6021 w 10000"/>
                <a:gd name="connsiteY35" fmla="*/ 9488 h 9521"/>
                <a:gd name="connsiteX36" fmla="*/ 6130 w 10000"/>
                <a:gd name="connsiteY36" fmla="*/ 9419 h 9521"/>
                <a:gd name="connsiteX37" fmla="*/ 6823 w 10000"/>
                <a:gd name="connsiteY37" fmla="*/ 9419 h 9521"/>
                <a:gd name="connsiteX38" fmla="*/ 6936 w 10000"/>
                <a:gd name="connsiteY38" fmla="*/ 9521 h 9521"/>
                <a:gd name="connsiteX39" fmla="*/ 7526 w 10000"/>
                <a:gd name="connsiteY39" fmla="*/ 9383 h 9521"/>
                <a:gd name="connsiteX40" fmla="*/ 8062 w 10000"/>
                <a:gd name="connsiteY40" fmla="*/ 9383 h 9521"/>
                <a:gd name="connsiteX41" fmla="*/ 8438 w 10000"/>
                <a:gd name="connsiteY41" fmla="*/ 9247 h 9521"/>
                <a:gd name="connsiteX42" fmla="*/ 8871 w 10000"/>
                <a:gd name="connsiteY42" fmla="*/ 8973 h 9521"/>
                <a:gd name="connsiteX43" fmla="*/ 10000 w 10000"/>
                <a:gd name="connsiteY43" fmla="*/ 8973 h 9521"/>
                <a:gd name="connsiteX44" fmla="*/ 10000 w 10000"/>
                <a:gd name="connsiteY44" fmla="*/ 8597 h 9521"/>
                <a:gd name="connsiteX45" fmla="*/ 9409 w 10000"/>
                <a:gd name="connsiteY45" fmla="*/ 8426 h 9521"/>
                <a:gd name="connsiteX46" fmla="*/ 9083 w 10000"/>
                <a:gd name="connsiteY46" fmla="*/ 7878 h 9521"/>
                <a:gd name="connsiteX47" fmla="*/ 8655 w 10000"/>
                <a:gd name="connsiteY47" fmla="*/ 7672 h 9521"/>
                <a:gd name="connsiteX48" fmla="*/ 8385 w 10000"/>
                <a:gd name="connsiteY48" fmla="*/ 7397 h 9521"/>
                <a:gd name="connsiteX49" fmla="*/ 7687 w 10000"/>
                <a:gd name="connsiteY49" fmla="*/ 7193 h 9521"/>
                <a:gd name="connsiteX50" fmla="*/ 7848 w 10000"/>
                <a:gd name="connsiteY50" fmla="*/ 7124 h 9521"/>
                <a:gd name="connsiteX51" fmla="*/ 7848 w 10000"/>
                <a:gd name="connsiteY51" fmla="*/ 6951 h 9521"/>
                <a:gd name="connsiteX52" fmla="*/ 8334 w 10000"/>
                <a:gd name="connsiteY52" fmla="*/ 6951 h 9521"/>
                <a:gd name="connsiteX53" fmla="*/ 8599 w 10000"/>
                <a:gd name="connsiteY53" fmla="*/ 6815 h 9521"/>
                <a:gd name="connsiteX54" fmla="*/ 8655 w 10000"/>
                <a:gd name="connsiteY54" fmla="*/ 5823 h 9521"/>
                <a:gd name="connsiteX55" fmla="*/ 8707 w 10000"/>
                <a:gd name="connsiteY55" fmla="*/ 5857 h 9521"/>
                <a:gd name="connsiteX56" fmla="*/ 8517 w 10000"/>
                <a:gd name="connsiteY56" fmla="*/ 5919 h 9521"/>
                <a:gd name="connsiteX57" fmla="*/ 8440 w 10000"/>
                <a:gd name="connsiteY57" fmla="*/ 6053 h 9521"/>
                <a:gd name="connsiteX58" fmla="*/ 7961 w 10000"/>
                <a:gd name="connsiteY58" fmla="*/ 5790 h 9521"/>
                <a:gd name="connsiteX59" fmla="*/ 7874 w 10000"/>
                <a:gd name="connsiteY59" fmla="*/ 5077 h 9521"/>
                <a:gd name="connsiteX60" fmla="*/ 7361 w 10000"/>
                <a:gd name="connsiteY60" fmla="*/ 5386 h 9521"/>
                <a:gd name="connsiteX61" fmla="*/ 7369 w 10000"/>
                <a:gd name="connsiteY61" fmla="*/ 5753 h 9521"/>
                <a:gd name="connsiteX62" fmla="*/ 6955 w 10000"/>
                <a:gd name="connsiteY62" fmla="*/ 5974 h 9521"/>
                <a:gd name="connsiteX63" fmla="*/ 1237 w 10000"/>
                <a:gd name="connsiteY63" fmla="*/ 0 h 9521"/>
                <a:gd name="connsiteX64" fmla="*/ 1237 w 10000"/>
                <a:gd name="connsiteY64" fmla="*/ 617 h 9521"/>
                <a:gd name="connsiteX65" fmla="*/ 433 w 10000"/>
                <a:gd name="connsiteY65" fmla="*/ 617 h 9521"/>
                <a:gd name="connsiteX66" fmla="*/ 433 w 10000"/>
                <a:gd name="connsiteY66" fmla="*/ 890 h 9521"/>
                <a:gd name="connsiteX0" fmla="*/ 433 w 10000"/>
                <a:gd name="connsiteY0" fmla="*/ 287 h 9352"/>
                <a:gd name="connsiteX1" fmla="*/ 6675 w 10000"/>
                <a:gd name="connsiteY1" fmla="*/ 5902 h 9352"/>
                <a:gd name="connsiteX2" fmla="*/ 6234 w 10000"/>
                <a:gd name="connsiteY2" fmla="*/ 6124 h 9352"/>
                <a:gd name="connsiteX3" fmla="*/ 5864 w 10000"/>
                <a:gd name="connsiteY3" fmla="*/ 5892 h 9352"/>
                <a:gd name="connsiteX4" fmla="*/ 5325 w 10000"/>
                <a:gd name="connsiteY4" fmla="*/ 5752 h 9352"/>
                <a:gd name="connsiteX5" fmla="*/ 5058 w 10000"/>
                <a:gd name="connsiteY5" fmla="*/ 6068 h 9352"/>
                <a:gd name="connsiteX6" fmla="*/ 4396 w 10000"/>
                <a:gd name="connsiteY6" fmla="*/ 6310 h 9352"/>
                <a:gd name="connsiteX7" fmla="*/ 3972 w 10000"/>
                <a:gd name="connsiteY7" fmla="*/ 6308 h 9352"/>
                <a:gd name="connsiteX8" fmla="*/ 3044 w 10000"/>
                <a:gd name="connsiteY8" fmla="*/ 6102 h 9352"/>
                <a:gd name="connsiteX9" fmla="*/ 2796 w 10000"/>
                <a:gd name="connsiteY9" fmla="*/ 6214 h 9352"/>
                <a:gd name="connsiteX10" fmla="*/ 2177 w 10000"/>
                <a:gd name="connsiteY10" fmla="*/ 5965 h 9352"/>
                <a:gd name="connsiteX11" fmla="*/ 1903 w 10000"/>
                <a:gd name="connsiteY11" fmla="*/ 5591 h 9352"/>
                <a:gd name="connsiteX12" fmla="*/ 1449 w 10000"/>
                <a:gd name="connsiteY12" fmla="*/ 5693 h 9352"/>
                <a:gd name="connsiteX13" fmla="*/ 1324 w 10000"/>
                <a:gd name="connsiteY13" fmla="*/ 5914 h 9352"/>
                <a:gd name="connsiteX14" fmla="*/ 845 w 10000"/>
                <a:gd name="connsiteY14" fmla="*/ 6009 h 9352"/>
                <a:gd name="connsiteX15" fmla="*/ 526 w 10000"/>
                <a:gd name="connsiteY15" fmla="*/ 6000 h 9352"/>
                <a:gd name="connsiteX16" fmla="*/ 354 w 10000"/>
                <a:gd name="connsiteY16" fmla="*/ 6176 h 9352"/>
                <a:gd name="connsiteX17" fmla="*/ 56 w 10000"/>
                <a:gd name="connsiteY17" fmla="*/ 5900 h 9352"/>
                <a:gd name="connsiteX18" fmla="*/ 0 w 10000"/>
                <a:gd name="connsiteY18" fmla="*/ 6402 h 9352"/>
                <a:gd name="connsiteX19" fmla="*/ 106 w 10000"/>
                <a:gd name="connsiteY19" fmla="*/ 6474 h 9352"/>
                <a:gd name="connsiteX20" fmla="*/ 538 w 10000"/>
                <a:gd name="connsiteY20" fmla="*/ 6510 h 9352"/>
                <a:gd name="connsiteX21" fmla="*/ 596 w 10000"/>
                <a:gd name="connsiteY21" fmla="*/ 6653 h 9352"/>
                <a:gd name="connsiteX22" fmla="*/ 1075 w 10000"/>
                <a:gd name="connsiteY22" fmla="*/ 6691 h 9352"/>
                <a:gd name="connsiteX23" fmla="*/ 1346 w 10000"/>
                <a:gd name="connsiteY23" fmla="*/ 6834 h 9352"/>
                <a:gd name="connsiteX24" fmla="*/ 1397 w 10000"/>
                <a:gd name="connsiteY24" fmla="*/ 7086 h 9352"/>
                <a:gd name="connsiteX25" fmla="*/ 2260 w 10000"/>
                <a:gd name="connsiteY25" fmla="*/ 7517 h 9352"/>
                <a:gd name="connsiteX26" fmla="*/ 2475 w 10000"/>
                <a:gd name="connsiteY26" fmla="*/ 7950 h 9352"/>
                <a:gd name="connsiteX27" fmla="*/ 3064 w 10000"/>
                <a:gd name="connsiteY27" fmla="*/ 8166 h 9352"/>
                <a:gd name="connsiteX28" fmla="*/ 3280 w 10000"/>
                <a:gd name="connsiteY28" fmla="*/ 8451 h 9352"/>
                <a:gd name="connsiteX29" fmla="*/ 3709 w 10000"/>
                <a:gd name="connsiteY29" fmla="*/ 8813 h 9352"/>
                <a:gd name="connsiteX30" fmla="*/ 4034 w 10000"/>
                <a:gd name="connsiteY30" fmla="*/ 8919 h 9352"/>
                <a:gd name="connsiteX31" fmla="*/ 4248 w 10000"/>
                <a:gd name="connsiteY31" fmla="*/ 8813 h 9352"/>
                <a:gd name="connsiteX32" fmla="*/ 4785 w 10000"/>
                <a:gd name="connsiteY32" fmla="*/ 8849 h 9352"/>
                <a:gd name="connsiteX33" fmla="*/ 5002 w 10000"/>
                <a:gd name="connsiteY33" fmla="*/ 8776 h 9352"/>
                <a:gd name="connsiteX34" fmla="*/ 5967 w 10000"/>
                <a:gd name="connsiteY34" fmla="*/ 9317 h 9352"/>
                <a:gd name="connsiteX35" fmla="*/ 6021 w 10000"/>
                <a:gd name="connsiteY35" fmla="*/ 9317 h 9352"/>
                <a:gd name="connsiteX36" fmla="*/ 6130 w 10000"/>
                <a:gd name="connsiteY36" fmla="*/ 9245 h 9352"/>
                <a:gd name="connsiteX37" fmla="*/ 6823 w 10000"/>
                <a:gd name="connsiteY37" fmla="*/ 9245 h 9352"/>
                <a:gd name="connsiteX38" fmla="*/ 6936 w 10000"/>
                <a:gd name="connsiteY38" fmla="*/ 9352 h 9352"/>
                <a:gd name="connsiteX39" fmla="*/ 7526 w 10000"/>
                <a:gd name="connsiteY39" fmla="*/ 9207 h 9352"/>
                <a:gd name="connsiteX40" fmla="*/ 8062 w 10000"/>
                <a:gd name="connsiteY40" fmla="*/ 9207 h 9352"/>
                <a:gd name="connsiteX41" fmla="*/ 8438 w 10000"/>
                <a:gd name="connsiteY41" fmla="*/ 9064 h 9352"/>
                <a:gd name="connsiteX42" fmla="*/ 8871 w 10000"/>
                <a:gd name="connsiteY42" fmla="*/ 8776 h 9352"/>
                <a:gd name="connsiteX43" fmla="*/ 10000 w 10000"/>
                <a:gd name="connsiteY43" fmla="*/ 8776 h 9352"/>
                <a:gd name="connsiteX44" fmla="*/ 10000 w 10000"/>
                <a:gd name="connsiteY44" fmla="*/ 8382 h 9352"/>
                <a:gd name="connsiteX45" fmla="*/ 9409 w 10000"/>
                <a:gd name="connsiteY45" fmla="*/ 8202 h 9352"/>
                <a:gd name="connsiteX46" fmla="*/ 9083 w 10000"/>
                <a:gd name="connsiteY46" fmla="*/ 7626 h 9352"/>
                <a:gd name="connsiteX47" fmla="*/ 8655 w 10000"/>
                <a:gd name="connsiteY47" fmla="*/ 7410 h 9352"/>
                <a:gd name="connsiteX48" fmla="*/ 8385 w 10000"/>
                <a:gd name="connsiteY48" fmla="*/ 7121 h 9352"/>
                <a:gd name="connsiteX49" fmla="*/ 7687 w 10000"/>
                <a:gd name="connsiteY49" fmla="*/ 6907 h 9352"/>
                <a:gd name="connsiteX50" fmla="*/ 7848 w 10000"/>
                <a:gd name="connsiteY50" fmla="*/ 6834 h 9352"/>
                <a:gd name="connsiteX51" fmla="*/ 7848 w 10000"/>
                <a:gd name="connsiteY51" fmla="*/ 6653 h 9352"/>
                <a:gd name="connsiteX52" fmla="*/ 8334 w 10000"/>
                <a:gd name="connsiteY52" fmla="*/ 6653 h 9352"/>
                <a:gd name="connsiteX53" fmla="*/ 8599 w 10000"/>
                <a:gd name="connsiteY53" fmla="*/ 6510 h 9352"/>
                <a:gd name="connsiteX54" fmla="*/ 8655 w 10000"/>
                <a:gd name="connsiteY54" fmla="*/ 5468 h 9352"/>
                <a:gd name="connsiteX55" fmla="*/ 8707 w 10000"/>
                <a:gd name="connsiteY55" fmla="*/ 5504 h 9352"/>
                <a:gd name="connsiteX56" fmla="*/ 8517 w 10000"/>
                <a:gd name="connsiteY56" fmla="*/ 5569 h 9352"/>
                <a:gd name="connsiteX57" fmla="*/ 8440 w 10000"/>
                <a:gd name="connsiteY57" fmla="*/ 5710 h 9352"/>
                <a:gd name="connsiteX58" fmla="*/ 7961 w 10000"/>
                <a:gd name="connsiteY58" fmla="*/ 5433 h 9352"/>
                <a:gd name="connsiteX59" fmla="*/ 7874 w 10000"/>
                <a:gd name="connsiteY59" fmla="*/ 4684 h 9352"/>
                <a:gd name="connsiteX60" fmla="*/ 7361 w 10000"/>
                <a:gd name="connsiteY60" fmla="*/ 5009 h 9352"/>
                <a:gd name="connsiteX61" fmla="*/ 7369 w 10000"/>
                <a:gd name="connsiteY61" fmla="*/ 5394 h 9352"/>
                <a:gd name="connsiteX62" fmla="*/ 6955 w 10000"/>
                <a:gd name="connsiteY62" fmla="*/ 5627 h 9352"/>
                <a:gd name="connsiteX63" fmla="*/ 1237 w 10000"/>
                <a:gd name="connsiteY63" fmla="*/ 0 h 9352"/>
                <a:gd name="connsiteX64" fmla="*/ 433 w 10000"/>
                <a:gd name="connsiteY64" fmla="*/ 0 h 9352"/>
                <a:gd name="connsiteX65" fmla="*/ 433 w 10000"/>
                <a:gd name="connsiteY65" fmla="*/ 287 h 9352"/>
                <a:gd name="connsiteX0" fmla="*/ 433 w 10000"/>
                <a:gd name="connsiteY0" fmla="*/ 307 h 10000"/>
                <a:gd name="connsiteX1" fmla="*/ 6675 w 10000"/>
                <a:gd name="connsiteY1" fmla="*/ 6311 h 10000"/>
                <a:gd name="connsiteX2" fmla="*/ 6234 w 10000"/>
                <a:gd name="connsiteY2" fmla="*/ 6548 h 10000"/>
                <a:gd name="connsiteX3" fmla="*/ 5864 w 10000"/>
                <a:gd name="connsiteY3" fmla="*/ 6300 h 10000"/>
                <a:gd name="connsiteX4" fmla="*/ 5325 w 10000"/>
                <a:gd name="connsiteY4" fmla="*/ 6151 h 10000"/>
                <a:gd name="connsiteX5" fmla="*/ 5058 w 10000"/>
                <a:gd name="connsiteY5" fmla="*/ 6488 h 10000"/>
                <a:gd name="connsiteX6" fmla="*/ 4396 w 10000"/>
                <a:gd name="connsiteY6" fmla="*/ 6747 h 10000"/>
                <a:gd name="connsiteX7" fmla="*/ 3972 w 10000"/>
                <a:gd name="connsiteY7" fmla="*/ 6745 h 10000"/>
                <a:gd name="connsiteX8" fmla="*/ 3044 w 10000"/>
                <a:gd name="connsiteY8" fmla="*/ 6525 h 10000"/>
                <a:gd name="connsiteX9" fmla="*/ 2796 w 10000"/>
                <a:gd name="connsiteY9" fmla="*/ 6645 h 10000"/>
                <a:gd name="connsiteX10" fmla="*/ 2177 w 10000"/>
                <a:gd name="connsiteY10" fmla="*/ 6378 h 10000"/>
                <a:gd name="connsiteX11" fmla="*/ 1903 w 10000"/>
                <a:gd name="connsiteY11" fmla="*/ 5978 h 10000"/>
                <a:gd name="connsiteX12" fmla="*/ 1449 w 10000"/>
                <a:gd name="connsiteY12" fmla="*/ 6087 h 10000"/>
                <a:gd name="connsiteX13" fmla="*/ 1324 w 10000"/>
                <a:gd name="connsiteY13" fmla="*/ 6324 h 10000"/>
                <a:gd name="connsiteX14" fmla="*/ 845 w 10000"/>
                <a:gd name="connsiteY14" fmla="*/ 6425 h 10000"/>
                <a:gd name="connsiteX15" fmla="*/ 526 w 10000"/>
                <a:gd name="connsiteY15" fmla="*/ 6416 h 10000"/>
                <a:gd name="connsiteX16" fmla="*/ 354 w 10000"/>
                <a:gd name="connsiteY16" fmla="*/ 6604 h 10000"/>
                <a:gd name="connsiteX17" fmla="*/ 56 w 10000"/>
                <a:gd name="connsiteY17" fmla="*/ 6309 h 10000"/>
                <a:gd name="connsiteX18" fmla="*/ 0 w 10000"/>
                <a:gd name="connsiteY18" fmla="*/ 6846 h 10000"/>
                <a:gd name="connsiteX19" fmla="*/ 106 w 10000"/>
                <a:gd name="connsiteY19" fmla="*/ 6923 h 10000"/>
                <a:gd name="connsiteX20" fmla="*/ 538 w 10000"/>
                <a:gd name="connsiteY20" fmla="*/ 6961 h 10000"/>
                <a:gd name="connsiteX21" fmla="*/ 596 w 10000"/>
                <a:gd name="connsiteY21" fmla="*/ 7114 h 10000"/>
                <a:gd name="connsiteX22" fmla="*/ 1075 w 10000"/>
                <a:gd name="connsiteY22" fmla="*/ 7155 h 10000"/>
                <a:gd name="connsiteX23" fmla="*/ 1346 w 10000"/>
                <a:gd name="connsiteY23" fmla="*/ 7308 h 10000"/>
                <a:gd name="connsiteX24" fmla="*/ 1397 w 10000"/>
                <a:gd name="connsiteY24" fmla="*/ 7577 h 10000"/>
                <a:gd name="connsiteX25" fmla="*/ 2260 w 10000"/>
                <a:gd name="connsiteY25" fmla="*/ 8038 h 10000"/>
                <a:gd name="connsiteX26" fmla="*/ 2475 w 10000"/>
                <a:gd name="connsiteY26" fmla="*/ 8501 h 10000"/>
                <a:gd name="connsiteX27" fmla="*/ 3064 w 10000"/>
                <a:gd name="connsiteY27" fmla="*/ 8732 h 10000"/>
                <a:gd name="connsiteX28" fmla="*/ 3280 w 10000"/>
                <a:gd name="connsiteY28" fmla="*/ 9037 h 10000"/>
                <a:gd name="connsiteX29" fmla="*/ 3709 w 10000"/>
                <a:gd name="connsiteY29" fmla="*/ 9424 h 10000"/>
                <a:gd name="connsiteX30" fmla="*/ 4034 w 10000"/>
                <a:gd name="connsiteY30" fmla="*/ 9537 h 10000"/>
                <a:gd name="connsiteX31" fmla="*/ 4248 w 10000"/>
                <a:gd name="connsiteY31" fmla="*/ 9424 h 10000"/>
                <a:gd name="connsiteX32" fmla="*/ 4785 w 10000"/>
                <a:gd name="connsiteY32" fmla="*/ 9462 h 10000"/>
                <a:gd name="connsiteX33" fmla="*/ 5002 w 10000"/>
                <a:gd name="connsiteY33" fmla="*/ 9384 h 10000"/>
                <a:gd name="connsiteX34" fmla="*/ 5967 w 10000"/>
                <a:gd name="connsiteY34" fmla="*/ 9963 h 10000"/>
                <a:gd name="connsiteX35" fmla="*/ 6021 w 10000"/>
                <a:gd name="connsiteY35" fmla="*/ 9963 h 10000"/>
                <a:gd name="connsiteX36" fmla="*/ 6130 w 10000"/>
                <a:gd name="connsiteY36" fmla="*/ 9886 h 10000"/>
                <a:gd name="connsiteX37" fmla="*/ 6823 w 10000"/>
                <a:gd name="connsiteY37" fmla="*/ 9886 h 10000"/>
                <a:gd name="connsiteX38" fmla="*/ 6936 w 10000"/>
                <a:gd name="connsiteY38" fmla="*/ 10000 h 10000"/>
                <a:gd name="connsiteX39" fmla="*/ 7526 w 10000"/>
                <a:gd name="connsiteY39" fmla="*/ 9845 h 10000"/>
                <a:gd name="connsiteX40" fmla="*/ 8062 w 10000"/>
                <a:gd name="connsiteY40" fmla="*/ 9845 h 10000"/>
                <a:gd name="connsiteX41" fmla="*/ 8438 w 10000"/>
                <a:gd name="connsiteY41" fmla="*/ 9692 h 10000"/>
                <a:gd name="connsiteX42" fmla="*/ 8871 w 10000"/>
                <a:gd name="connsiteY42" fmla="*/ 9384 h 10000"/>
                <a:gd name="connsiteX43" fmla="*/ 10000 w 10000"/>
                <a:gd name="connsiteY43" fmla="*/ 9384 h 10000"/>
                <a:gd name="connsiteX44" fmla="*/ 10000 w 10000"/>
                <a:gd name="connsiteY44" fmla="*/ 8963 h 10000"/>
                <a:gd name="connsiteX45" fmla="*/ 9409 w 10000"/>
                <a:gd name="connsiteY45" fmla="*/ 8770 h 10000"/>
                <a:gd name="connsiteX46" fmla="*/ 9083 w 10000"/>
                <a:gd name="connsiteY46" fmla="*/ 8154 h 10000"/>
                <a:gd name="connsiteX47" fmla="*/ 8655 w 10000"/>
                <a:gd name="connsiteY47" fmla="*/ 7923 h 10000"/>
                <a:gd name="connsiteX48" fmla="*/ 8385 w 10000"/>
                <a:gd name="connsiteY48" fmla="*/ 7614 h 10000"/>
                <a:gd name="connsiteX49" fmla="*/ 7687 w 10000"/>
                <a:gd name="connsiteY49" fmla="*/ 7386 h 10000"/>
                <a:gd name="connsiteX50" fmla="*/ 7848 w 10000"/>
                <a:gd name="connsiteY50" fmla="*/ 7308 h 10000"/>
                <a:gd name="connsiteX51" fmla="*/ 7848 w 10000"/>
                <a:gd name="connsiteY51" fmla="*/ 7114 h 10000"/>
                <a:gd name="connsiteX52" fmla="*/ 8334 w 10000"/>
                <a:gd name="connsiteY52" fmla="*/ 7114 h 10000"/>
                <a:gd name="connsiteX53" fmla="*/ 8599 w 10000"/>
                <a:gd name="connsiteY53" fmla="*/ 6961 h 10000"/>
                <a:gd name="connsiteX54" fmla="*/ 8655 w 10000"/>
                <a:gd name="connsiteY54" fmla="*/ 5847 h 10000"/>
                <a:gd name="connsiteX55" fmla="*/ 8707 w 10000"/>
                <a:gd name="connsiteY55" fmla="*/ 5885 h 10000"/>
                <a:gd name="connsiteX56" fmla="*/ 8517 w 10000"/>
                <a:gd name="connsiteY56" fmla="*/ 5955 h 10000"/>
                <a:gd name="connsiteX57" fmla="*/ 8440 w 10000"/>
                <a:gd name="connsiteY57" fmla="*/ 6106 h 10000"/>
                <a:gd name="connsiteX58" fmla="*/ 7961 w 10000"/>
                <a:gd name="connsiteY58" fmla="*/ 5809 h 10000"/>
                <a:gd name="connsiteX59" fmla="*/ 7874 w 10000"/>
                <a:gd name="connsiteY59" fmla="*/ 5009 h 10000"/>
                <a:gd name="connsiteX60" fmla="*/ 7361 w 10000"/>
                <a:gd name="connsiteY60" fmla="*/ 5356 h 10000"/>
                <a:gd name="connsiteX61" fmla="*/ 7369 w 10000"/>
                <a:gd name="connsiteY61" fmla="*/ 5768 h 10000"/>
                <a:gd name="connsiteX62" fmla="*/ 6955 w 10000"/>
                <a:gd name="connsiteY62" fmla="*/ 6017 h 10000"/>
                <a:gd name="connsiteX63" fmla="*/ 433 w 10000"/>
                <a:gd name="connsiteY63" fmla="*/ 0 h 10000"/>
                <a:gd name="connsiteX64" fmla="*/ 433 w 10000"/>
                <a:gd name="connsiteY64" fmla="*/ 307 h 10000"/>
                <a:gd name="connsiteX0" fmla="*/ 433 w 10000"/>
                <a:gd name="connsiteY0" fmla="*/ 49 h 9742"/>
                <a:gd name="connsiteX1" fmla="*/ 6675 w 10000"/>
                <a:gd name="connsiteY1" fmla="*/ 6053 h 9742"/>
                <a:gd name="connsiteX2" fmla="*/ 6234 w 10000"/>
                <a:gd name="connsiteY2" fmla="*/ 6290 h 9742"/>
                <a:gd name="connsiteX3" fmla="*/ 5864 w 10000"/>
                <a:gd name="connsiteY3" fmla="*/ 6042 h 9742"/>
                <a:gd name="connsiteX4" fmla="*/ 5325 w 10000"/>
                <a:gd name="connsiteY4" fmla="*/ 5893 h 9742"/>
                <a:gd name="connsiteX5" fmla="*/ 5058 w 10000"/>
                <a:gd name="connsiteY5" fmla="*/ 6230 h 9742"/>
                <a:gd name="connsiteX6" fmla="*/ 4396 w 10000"/>
                <a:gd name="connsiteY6" fmla="*/ 6489 h 9742"/>
                <a:gd name="connsiteX7" fmla="*/ 3972 w 10000"/>
                <a:gd name="connsiteY7" fmla="*/ 6487 h 9742"/>
                <a:gd name="connsiteX8" fmla="*/ 3044 w 10000"/>
                <a:gd name="connsiteY8" fmla="*/ 6267 h 9742"/>
                <a:gd name="connsiteX9" fmla="*/ 2796 w 10000"/>
                <a:gd name="connsiteY9" fmla="*/ 6387 h 9742"/>
                <a:gd name="connsiteX10" fmla="*/ 2177 w 10000"/>
                <a:gd name="connsiteY10" fmla="*/ 6120 h 9742"/>
                <a:gd name="connsiteX11" fmla="*/ 1903 w 10000"/>
                <a:gd name="connsiteY11" fmla="*/ 5720 h 9742"/>
                <a:gd name="connsiteX12" fmla="*/ 1449 w 10000"/>
                <a:gd name="connsiteY12" fmla="*/ 5829 h 9742"/>
                <a:gd name="connsiteX13" fmla="*/ 1324 w 10000"/>
                <a:gd name="connsiteY13" fmla="*/ 6066 h 9742"/>
                <a:gd name="connsiteX14" fmla="*/ 845 w 10000"/>
                <a:gd name="connsiteY14" fmla="*/ 6167 h 9742"/>
                <a:gd name="connsiteX15" fmla="*/ 526 w 10000"/>
                <a:gd name="connsiteY15" fmla="*/ 6158 h 9742"/>
                <a:gd name="connsiteX16" fmla="*/ 354 w 10000"/>
                <a:gd name="connsiteY16" fmla="*/ 6346 h 9742"/>
                <a:gd name="connsiteX17" fmla="*/ 56 w 10000"/>
                <a:gd name="connsiteY17" fmla="*/ 6051 h 9742"/>
                <a:gd name="connsiteX18" fmla="*/ 0 w 10000"/>
                <a:gd name="connsiteY18" fmla="*/ 6588 h 9742"/>
                <a:gd name="connsiteX19" fmla="*/ 106 w 10000"/>
                <a:gd name="connsiteY19" fmla="*/ 6665 h 9742"/>
                <a:gd name="connsiteX20" fmla="*/ 538 w 10000"/>
                <a:gd name="connsiteY20" fmla="*/ 6703 h 9742"/>
                <a:gd name="connsiteX21" fmla="*/ 596 w 10000"/>
                <a:gd name="connsiteY21" fmla="*/ 6856 h 9742"/>
                <a:gd name="connsiteX22" fmla="*/ 1075 w 10000"/>
                <a:gd name="connsiteY22" fmla="*/ 6897 h 9742"/>
                <a:gd name="connsiteX23" fmla="*/ 1346 w 10000"/>
                <a:gd name="connsiteY23" fmla="*/ 7050 h 9742"/>
                <a:gd name="connsiteX24" fmla="*/ 1397 w 10000"/>
                <a:gd name="connsiteY24" fmla="*/ 7319 h 9742"/>
                <a:gd name="connsiteX25" fmla="*/ 2260 w 10000"/>
                <a:gd name="connsiteY25" fmla="*/ 7780 h 9742"/>
                <a:gd name="connsiteX26" fmla="*/ 2475 w 10000"/>
                <a:gd name="connsiteY26" fmla="*/ 8243 h 9742"/>
                <a:gd name="connsiteX27" fmla="*/ 3064 w 10000"/>
                <a:gd name="connsiteY27" fmla="*/ 8474 h 9742"/>
                <a:gd name="connsiteX28" fmla="*/ 3280 w 10000"/>
                <a:gd name="connsiteY28" fmla="*/ 8779 h 9742"/>
                <a:gd name="connsiteX29" fmla="*/ 3709 w 10000"/>
                <a:gd name="connsiteY29" fmla="*/ 9166 h 9742"/>
                <a:gd name="connsiteX30" fmla="*/ 4034 w 10000"/>
                <a:gd name="connsiteY30" fmla="*/ 9279 h 9742"/>
                <a:gd name="connsiteX31" fmla="*/ 4248 w 10000"/>
                <a:gd name="connsiteY31" fmla="*/ 9166 h 9742"/>
                <a:gd name="connsiteX32" fmla="*/ 4785 w 10000"/>
                <a:gd name="connsiteY32" fmla="*/ 9204 h 9742"/>
                <a:gd name="connsiteX33" fmla="*/ 5002 w 10000"/>
                <a:gd name="connsiteY33" fmla="*/ 9126 h 9742"/>
                <a:gd name="connsiteX34" fmla="*/ 5967 w 10000"/>
                <a:gd name="connsiteY34" fmla="*/ 9705 h 9742"/>
                <a:gd name="connsiteX35" fmla="*/ 6021 w 10000"/>
                <a:gd name="connsiteY35" fmla="*/ 9705 h 9742"/>
                <a:gd name="connsiteX36" fmla="*/ 6130 w 10000"/>
                <a:gd name="connsiteY36" fmla="*/ 9628 h 9742"/>
                <a:gd name="connsiteX37" fmla="*/ 6823 w 10000"/>
                <a:gd name="connsiteY37" fmla="*/ 9628 h 9742"/>
                <a:gd name="connsiteX38" fmla="*/ 6936 w 10000"/>
                <a:gd name="connsiteY38" fmla="*/ 9742 h 9742"/>
                <a:gd name="connsiteX39" fmla="*/ 7526 w 10000"/>
                <a:gd name="connsiteY39" fmla="*/ 9587 h 9742"/>
                <a:gd name="connsiteX40" fmla="*/ 8062 w 10000"/>
                <a:gd name="connsiteY40" fmla="*/ 9587 h 9742"/>
                <a:gd name="connsiteX41" fmla="*/ 8438 w 10000"/>
                <a:gd name="connsiteY41" fmla="*/ 9434 h 9742"/>
                <a:gd name="connsiteX42" fmla="*/ 8871 w 10000"/>
                <a:gd name="connsiteY42" fmla="*/ 9126 h 9742"/>
                <a:gd name="connsiteX43" fmla="*/ 10000 w 10000"/>
                <a:gd name="connsiteY43" fmla="*/ 9126 h 9742"/>
                <a:gd name="connsiteX44" fmla="*/ 10000 w 10000"/>
                <a:gd name="connsiteY44" fmla="*/ 8705 h 9742"/>
                <a:gd name="connsiteX45" fmla="*/ 9409 w 10000"/>
                <a:gd name="connsiteY45" fmla="*/ 8512 h 9742"/>
                <a:gd name="connsiteX46" fmla="*/ 9083 w 10000"/>
                <a:gd name="connsiteY46" fmla="*/ 7896 h 9742"/>
                <a:gd name="connsiteX47" fmla="*/ 8655 w 10000"/>
                <a:gd name="connsiteY47" fmla="*/ 7665 h 9742"/>
                <a:gd name="connsiteX48" fmla="*/ 8385 w 10000"/>
                <a:gd name="connsiteY48" fmla="*/ 7356 h 9742"/>
                <a:gd name="connsiteX49" fmla="*/ 7687 w 10000"/>
                <a:gd name="connsiteY49" fmla="*/ 7128 h 9742"/>
                <a:gd name="connsiteX50" fmla="*/ 7848 w 10000"/>
                <a:gd name="connsiteY50" fmla="*/ 7050 h 9742"/>
                <a:gd name="connsiteX51" fmla="*/ 7848 w 10000"/>
                <a:gd name="connsiteY51" fmla="*/ 6856 h 9742"/>
                <a:gd name="connsiteX52" fmla="*/ 8334 w 10000"/>
                <a:gd name="connsiteY52" fmla="*/ 6856 h 9742"/>
                <a:gd name="connsiteX53" fmla="*/ 8599 w 10000"/>
                <a:gd name="connsiteY53" fmla="*/ 6703 h 9742"/>
                <a:gd name="connsiteX54" fmla="*/ 8655 w 10000"/>
                <a:gd name="connsiteY54" fmla="*/ 5589 h 9742"/>
                <a:gd name="connsiteX55" fmla="*/ 8707 w 10000"/>
                <a:gd name="connsiteY55" fmla="*/ 5627 h 9742"/>
                <a:gd name="connsiteX56" fmla="*/ 8517 w 10000"/>
                <a:gd name="connsiteY56" fmla="*/ 5697 h 9742"/>
                <a:gd name="connsiteX57" fmla="*/ 8440 w 10000"/>
                <a:gd name="connsiteY57" fmla="*/ 5848 h 9742"/>
                <a:gd name="connsiteX58" fmla="*/ 7961 w 10000"/>
                <a:gd name="connsiteY58" fmla="*/ 5551 h 9742"/>
                <a:gd name="connsiteX59" fmla="*/ 7874 w 10000"/>
                <a:gd name="connsiteY59" fmla="*/ 4751 h 9742"/>
                <a:gd name="connsiteX60" fmla="*/ 7361 w 10000"/>
                <a:gd name="connsiteY60" fmla="*/ 5098 h 9742"/>
                <a:gd name="connsiteX61" fmla="*/ 7369 w 10000"/>
                <a:gd name="connsiteY61" fmla="*/ 5510 h 9742"/>
                <a:gd name="connsiteX62" fmla="*/ 6955 w 10000"/>
                <a:gd name="connsiteY62" fmla="*/ 5759 h 9742"/>
                <a:gd name="connsiteX63" fmla="*/ 433 w 10000"/>
                <a:gd name="connsiteY63" fmla="*/ 49 h 9742"/>
                <a:gd name="connsiteX0" fmla="*/ 6955 w 10000"/>
                <a:gd name="connsiteY0" fmla="*/ 1035 h 5123"/>
                <a:gd name="connsiteX1" fmla="*/ 6675 w 10000"/>
                <a:gd name="connsiteY1" fmla="*/ 1336 h 5123"/>
                <a:gd name="connsiteX2" fmla="*/ 6234 w 10000"/>
                <a:gd name="connsiteY2" fmla="*/ 1580 h 5123"/>
                <a:gd name="connsiteX3" fmla="*/ 5864 w 10000"/>
                <a:gd name="connsiteY3" fmla="*/ 1325 h 5123"/>
                <a:gd name="connsiteX4" fmla="*/ 5325 w 10000"/>
                <a:gd name="connsiteY4" fmla="*/ 1172 h 5123"/>
                <a:gd name="connsiteX5" fmla="*/ 5058 w 10000"/>
                <a:gd name="connsiteY5" fmla="*/ 1518 h 5123"/>
                <a:gd name="connsiteX6" fmla="*/ 4396 w 10000"/>
                <a:gd name="connsiteY6" fmla="*/ 1784 h 5123"/>
                <a:gd name="connsiteX7" fmla="*/ 3972 w 10000"/>
                <a:gd name="connsiteY7" fmla="*/ 1782 h 5123"/>
                <a:gd name="connsiteX8" fmla="*/ 3044 w 10000"/>
                <a:gd name="connsiteY8" fmla="*/ 1556 h 5123"/>
                <a:gd name="connsiteX9" fmla="*/ 2796 w 10000"/>
                <a:gd name="connsiteY9" fmla="*/ 1679 h 5123"/>
                <a:gd name="connsiteX10" fmla="*/ 2177 w 10000"/>
                <a:gd name="connsiteY10" fmla="*/ 1405 h 5123"/>
                <a:gd name="connsiteX11" fmla="*/ 1903 w 10000"/>
                <a:gd name="connsiteY11" fmla="*/ 994 h 5123"/>
                <a:gd name="connsiteX12" fmla="*/ 1449 w 10000"/>
                <a:gd name="connsiteY12" fmla="*/ 1106 h 5123"/>
                <a:gd name="connsiteX13" fmla="*/ 1324 w 10000"/>
                <a:gd name="connsiteY13" fmla="*/ 1350 h 5123"/>
                <a:gd name="connsiteX14" fmla="*/ 845 w 10000"/>
                <a:gd name="connsiteY14" fmla="*/ 1453 h 5123"/>
                <a:gd name="connsiteX15" fmla="*/ 526 w 10000"/>
                <a:gd name="connsiteY15" fmla="*/ 1444 h 5123"/>
                <a:gd name="connsiteX16" fmla="*/ 354 w 10000"/>
                <a:gd name="connsiteY16" fmla="*/ 1637 h 5123"/>
                <a:gd name="connsiteX17" fmla="*/ 56 w 10000"/>
                <a:gd name="connsiteY17" fmla="*/ 1334 h 5123"/>
                <a:gd name="connsiteX18" fmla="*/ 0 w 10000"/>
                <a:gd name="connsiteY18" fmla="*/ 1885 h 5123"/>
                <a:gd name="connsiteX19" fmla="*/ 106 w 10000"/>
                <a:gd name="connsiteY19" fmla="*/ 1965 h 5123"/>
                <a:gd name="connsiteX20" fmla="*/ 538 w 10000"/>
                <a:gd name="connsiteY20" fmla="*/ 2004 h 5123"/>
                <a:gd name="connsiteX21" fmla="*/ 596 w 10000"/>
                <a:gd name="connsiteY21" fmla="*/ 2161 h 5123"/>
                <a:gd name="connsiteX22" fmla="*/ 1075 w 10000"/>
                <a:gd name="connsiteY22" fmla="*/ 2203 h 5123"/>
                <a:gd name="connsiteX23" fmla="*/ 1346 w 10000"/>
                <a:gd name="connsiteY23" fmla="*/ 2360 h 5123"/>
                <a:gd name="connsiteX24" fmla="*/ 1397 w 10000"/>
                <a:gd name="connsiteY24" fmla="*/ 2636 h 5123"/>
                <a:gd name="connsiteX25" fmla="*/ 2260 w 10000"/>
                <a:gd name="connsiteY25" fmla="*/ 3109 h 5123"/>
                <a:gd name="connsiteX26" fmla="*/ 2475 w 10000"/>
                <a:gd name="connsiteY26" fmla="*/ 3584 h 5123"/>
                <a:gd name="connsiteX27" fmla="*/ 3064 w 10000"/>
                <a:gd name="connsiteY27" fmla="*/ 3821 h 5123"/>
                <a:gd name="connsiteX28" fmla="*/ 3280 w 10000"/>
                <a:gd name="connsiteY28" fmla="*/ 4134 h 5123"/>
                <a:gd name="connsiteX29" fmla="*/ 3709 w 10000"/>
                <a:gd name="connsiteY29" fmla="*/ 4532 h 5123"/>
                <a:gd name="connsiteX30" fmla="*/ 4034 w 10000"/>
                <a:gd name="connsiteY30" fmla="*/ 4648 h 5123"/>
                <a:gd name="connsiteX31" fmla="*/ 4248 w 10000"/>
                <a:gd name="connsiteY31" fmla="*/ 4532 h 5123"/>
                <a:gd name="connsiteX32" fmla="*/ 4785 w 10000"/>
                <a:gd name="connsiteY32" fmla="*/ 4571 h 5123"/>
                <a:gd name="connsiteX33" fmla="*/ 5002 w 10000"/>
                <a:gd name="connsiteY33" fmla="*/ 4491 h 5123"/>
                <a:gd name="connsiteX34" fmla="*/ 5967 w 10000"/>
                <a:gd name="connsiteY34" fmla="*/ 5085 h 5123"/>
                <a:gd name="connsiteX35" fmla="*/ 6021 w 10000"/>
                <a:gd name="connsiteY35" fmla="*/ 5085 h 5123"/>
                <a:gd name="connsiteX36" fmla="*/ 6130 w 10000"/>
                <a:gd name="connsiteY36" fmla="*/ 5006 h 5123"/>
                <a:gd name="connsiteX37" fmla="*/ 6823 w 10000"/>
                <a:gd name="connsiteY37" fmla="*/ 5006 h 5123"/>
                <a:gd name="connsiteX38" fmla="*/ 6936 w 10000"/>
                <a:gd name="connsiteY38" fmla="*/ 5123 h 5123"/>
                <a:gd name="connsiteX39" fmla="*/ 7526 w 10000"/>
                <a:gd name="connsiteY39" fmla="*/ 4964 h 5123"/>
                <a:gd name="connsiteX40" fmla="*/ 8062 w 10000"/>
                <a:gd name="connsiteY40" fmla="*/ 4964 h 5123"/>
                <a:gd name="connsiteX41" fmla="*/ 8438 w 10000"/>
                <a:gd name="connsiteY41" fmla="*/ 4807 h 5123"/>
                <a:gd name="connsiteX42" fmla="*/ 8871 w 10000"/>
                <a:gd name="connsiteY42" fmla="*/ 4491 h 5123"/>
                <a:gd name="connsiteX43" fmla="*/ 10000 w 10000"/>
                <a:gd name="connsiteY43" fmla="*/ 4491 h 5123"/>
                <a:gd name="connsiteX44" fmla="*/ 10000 w 10000"/>
                <a:gd name="connsiteY44" fmla="*/ 4059 h 5123"/>
                <a:gd name="connsiteX45" fmla="*/ 9409 w 10000"/>
                <a:gd name="connsiteY45" fmla="*/ 3860 h 5123"/>
                <a:gd name="connsiteX46" fmla="*/ 9083 w 10000"/>
                <a:gd name="connsiteY46" fmla="*/ 3228 h 5123"/>
                <a:gd name="connsiteX47" fmla="*/ 8655 w 10000"/>
                <a:gd name="connsiteY47" fmla="*/ 2991 h 5123"/>
                <a:gd name="connsiteX48" fmla="*/ 8385 w 10000"/>
                <a:gd name="connsiteY48" fmla="*/ 2674 h 5123"/>
                <a:gd name="connsiteX49" fmla="*/ 7687 w 10000"/>
                <a:gd name="connsiteY49" fmla="*/ 2440 h 5123"/>
                <a:gd name="connsiteX50" fmla="*/ 7848 w 10000"/>
                <a:gd name="connsiteY50" fmla="*/ 2360 h 5123"/>
                <a:gd name="connsiteX51" fmla="*/ 7848 w 10000"/>
                <a:gd name="connsiteY51" fmla="*/ 2161 h 5123"/>
                <a:gd name="connsiteX52" fmla="*/ 8334 w 10000"/>
                <a:gd name="connsiteY52" fmla="*/ 2161 h 5123"/>
                <a:gd name="connsiteX53" fmla="*/ 8599 w 10000"/>
                <a:gd name="connsiteY53" fmla="*/ 2004 h 5123"/>
                <a:gd name="connsiteX54" fmla="*/ 8655 w 10000"/>
                <a:gd name="connsiteY54" fmla="*/ 860 h 5123"/>
                <a:gd name="connsiteX55" fmla="*/ 8707 w 10000"/>
                <a:gd name="connsiteY55" fmla="*/ 899 h 5123"/>
                <a:gd name="connsiteX56" fmla="*/ 8517 w 10000"/>
                <a:gd name="connsiteY56" fmla="*/ 971 h 5123"/>
                <a:gd name="connsiteX57" fmla="*/ 8440 w 10000"/>
                <a:gd name="connsiteY57" fmla="*/ 1126 h 5123"/>
                <a:gd name="connsiteX58" fmla="*/ 7961 w 10000"/>
                <a:gd name="connsiteY58" fmla="*/ 821 h 5123"/>
                <a:gd name="connsiteX59" fmla="*/ 7874 w 10000"/>
                <a:gd name="connsiteY59" fmla="*/ 0 h 5123"/>
                <a:gd name="connsiteX60" fmla="*/ 7361 w 10000"/>
                <a:gd name="connsiteY60" fmla="*/ 356 h 5123"/>
                <a:gd name="connsiteX61" fmla="*/ 7369 w 10000"/>
                <a:gd name="connsiteY61" fmla="*/ 779 h 5123"/>
                <a:gd name="connsiteX62" fmla="*/ 6955 w 10000"/>
                <a:gd name="connsiteY62" fmla="*/ 1035 h 5123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96 w 10000"/>
                <a:gd name="connsiteY9" fmla="*/ 3277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34 w 10000"/>
                <a:gd name="connsiteY2" fmla="*/ 3084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361 w 10000"/>
                <a:gd name="connsiteY60" fmla="*/ 695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237 w 10000"/>
                <a:gd name="connsiteY61" fmla="*/ 1489 h 10000"/>
                <a:gd name="connsiteX62" fmla="*/ 6955 w 10000"/>
                <a:gd name="connsiteY62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329 w 10000"/>
                <a:gd name="connsiteY61" fmla="*/ 107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237 w 10000"/>
                <a:gd name="connsiteY62" fmla="*/ 1489 h 10000"/>
                <a:gd name="connsiteX63" fmla="*/ 6955 w 10000"/>
                <a:gd name="connsiteY63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972 w 10000"/>
                <a:gd name="connsiteY7" fmla="*/ 3478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82 w 10000"/>
                <a:gd name="connsiteY60" fmla="*/ 379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  <a:gd name="connsiteX0" fmla="*/ 6955 w 10000"/>
                <a:gd name="connsiteY0" fmla="*/ 2020 h 10000"/>
                <a:gd name="connsiteX1" fmla="*/ 6675 w 10000"/>
                <a:gd name="connsiteY1" fmla="*/ 2608 h 10000"/>
                <a:gd name="connsiteX2" fmla="*/ 6212 w 10000"/>
                <a:gd name="connsiteY2" fmla="*/ 2957 h 10000"/>
                <a:gd name="connsiteX3" fmla="*/ 5864 w 10000"/>
                <a:gd name="connsiteY3" fmla="*/ 2586 h 10000"/>
                <a:gd name="connsiteX4" fmla="*/ 5325 w 10000"/>
                <a:gd name="connsiteY4" fmla="*/ 2288 h 10000"/>
                <a:gd name="connsiteX5" fmla="*/ 5058 w 10000"/>
                <a:gd name="connsiteY5" fmla="*/ 2963 h 10000"/>
                <a:gd name="connsiteX6" fmla="*/ 4396 w 10000"/>
                <a:gd name="connsiteY6" fmla="*/ 3482 h 10000"/>
                <a:gd name="connsiteX7" fmla="*/ 3840 w 10000"/>
                <a:gd name="connsiteY7" fmla="*/ 3351 h 10000"/>
                <a:gd name="connsiteX8" fmla="*/ 3044 w 10000"/>
                <a:gd name="connsiteY8" fmla="*/ 3037 h 10000"/>
                <a:gd name="connsiteX9" fmla="*/ 2774 w 10000"/>
                <a:gd name="connsiteY9" fmla="*/ 3182 h 10000"/>
                <a:gd name="connsiteX10" fmla="*/ 2177 w 10000"/>
                <a:gd name="connsiteY10" fmla="*/ 2743 h 10000"/>
                <a:gd name="connsiteX11" fmla="*/ 1903 w 10000"/>
                <a:gd name="connsiteY11" fmla="*/ 1940 h 10000"/>
                <a:gd name="connsiteX12" fmla="*/ 1449 w 10000"/>
                <a:gd name="connsiteY12" fmla="*/ 2159 h 10000"/>
                <a:gd name="connsiteX13" fmla="*/ 1324 w 10000"/>
                <a:gd name="connsiteY13" fmla="*/ 2635 h 10000"/>
                <a:gd name="connsiteX14" fmla="*/ 845 w 10000"/>
                <a:gd name="connsiteY14" fmla="*/ 2836 h 10000"/>
                <a:gd name="connsiteX15" fmla="*/ 526 w 10000"/>
                <a:gd name="connsiteY15" fmla="*/ 2819 h 10000"/>
                <a:gd name="connsiteX16" fmla="*/ 354 w 10000"/>
                <a:gd name="connsiteY16" fmla="*/ 3195 h 10000"/>
                <a:gd name="connsiteX17" fmla="*/ 56 w 10000"/>
                <a:gd name="connsiteY17" fmla="*/ 2604 h 10000"/>
                <a:gd name="connsiteX18" fmla="*/ 0 w 10000"/>
                <a:gd name="connsiteY18" fmla="*/ 3679 h 10000"/>
                <a:gd name="connsiteX19" fmla="*/ 106 w 10000"/>
                <a:gd name="connsiteY19" fmla="*/ 3836 h 10000"/>
                <a:gd name="connsiteX20" fmla="*/ 538 w 10000"/>
                <a:gd name="connsiteY20" fmla="*/ 3912 h 10000"/>
                <a:gd name="connsiteX21" fmla="*/ 596 w 10000"/>
                <a:gd name="connsiteY21" fmla="*/ 4218 h 10000"/>
                <a:gd name="connsiteX22" fmla="*/ 1075 w 10000"/>
                <a:gd name="connsiteY22" fmla="*/ 4300 h 10000"/>
                <a:gd name="connsiteX23" fmla="*/ 1346 w 10000"/>
                <a:gd name="connsiteY23" fmla="*/ 4607 h 10000"/>
                <a:gd name="connsiteX24" fmla="*/ 1397 w 10000"/>
                <a:gd name="connsiteY24" fmla="*/ 5145 h 10000"/>
                <a:gd name="connsiteX25" fmla="*/ 2260 w 10000"/>
                <a:gd name="connsiteY25" fmla="*/ 6069 h 10000"/>
                <a:gd name="connsiteX26" fmla="*/ 2475 w 10000"/>
                <a:gd name="connsiteY26" fmla="*/ 6996 h 10000"/>
                <a:gd name="connsiteX27" fmla="*/ 3064 w 10000"/>
                <a:gd name="connsiteY27" fmla="*/ 7459 h 10000"/>
                <a:gd name="connsiteX28" fmla="*/ 3280 w 10000"/>
                <a:gd name="connsiteY28" fmla="*/ 8069 h 10000"/>
                <a:gd name="connsiteX29" fmla="*/ 3709 w 10000"/>
                <a:gd name="connsiteY29" fmla="*/ 8846 h 10000"/>
                <a:gd name="connsiteX30" fmla="*/ 4034 w 10000"/>
                <a:gd name="connsiteY30" fmla="*/ 9073 h 10000"/>
                <a:gd name="connsiteX31" fmla="*/ 4248 w 10000"/>
                <a:gd name="connsiteY31" fmla="*/ 8846 h 10000"/>
                <a:gd name="connsiteX32" fmla="*/ 4785 w 10000"/>
                <a:gd name="connsiteY32" fmla="*/ 8923 h 10000"/>
                <a:gd name="connsiteX33" fmla="*/ 5002 w 10000"/>
                <a:gd name="connsiteY33" fmla="*/ 8766 h 10000"/>
                <a:gd name="connsiteX34" fmla="*/ 5967 w 10000"/>
                <a:gd name="connsiteY34" fmla="*/ 9926 h 10000"/>
                <a:gd name="connsiteX35" fmla="*/ 6021 w 10000"/>
                <a:gd name="connsiteY35" fmla="*/ 9926 h 10000"/>
                <a:gd name="connsiteX36" fmla="*/ 6130 w 10000"/>
                <a:gd name="connsiteY36" fmla="*/ 9772 h 10000"/>
                <a:gd name="connsiteX37" fmla="*/ 6823 w 10000"/>
                <a:gd name="connsiteY37" fmla="*/ 9772 h 10000"/>
                <a:gd name="connsiteX38" fmla="*/ 6936 w 10000"/>
                <a:gd name="connsiteY38" fmla="*/ 10000 h 10000"/>
                <a:gd name="connsiteX39" fmla="*/ 7526 w 10000"/>
                <a:gd name="connsiteY39" fmla="*/ 9690 h 10000"/>
                <a:gd name="connsiteX40" fmla="*/ 8062 w 10000"/>
                <a:gd name="connsiteY40" fmla="*/ 9690 h 10000"/>
                <a:gd name="connsiteX41" fmla="*/ 8438 w 10000"/>
                <a:gd name="connsiteY41" fmla="*/ 9383 h 10000"/>
                <a:gd name="connsiteX42" fmla="*/ 8871 w 10000"/>
                <a:gd name="connsiteY42" fmla="*/ 8766 h 10000"/>
                <a:gd name="connsiteX43" fmla="*/ 10000 w 10000"/>
                <a:gd name="connsiteY43" fmla="*/ 8766 h 10000"/>
                <a:gd name="connsiteX44" fmla="*/ 10000 w 10000"/>
                <a:gd name="connsiteY44" fmla="*/ 7923 h 10000"/>
                <a:gd name="connsiteX45" fmla="*/ 9409 w 10000"/>
                <a:gd name="connsiteY45" fmla="*/ 7535 h 10000"/>
                <a:gd name="connsiteX46" fmla="*/ 9083 w 10000"/>
                <a:gd name="connsiteY46" fmla="*/ 6301 h 10000"/>
                <a:gd name="connsiteX47" fmla="*/ 8655 w 10000"/>
                <a:gd name="connsiteY47" fmla="*/ 5838 h 10000"/>
                <a:gd name="connsiteX48" fmla="*/ 8385 w 10000"/>
                <a:gd name="connsiteY48" fmla="*/ 5220 h 10000"/>
                <a:gd name="connsiteX49" fmla="*/ 7687 w 10000"/>
                <a:gd name="connsiteY49" fmla="*/ 4763 h 10000"/>
                <a:gd name="connsiteX50" fmla="*/ 7848 w 10000"/>
                <a:gd name="connsiteY50" fmla="*/ 4607 h 10000"/>
                <a:gd name="connsiteX51" fmla="*/ 7848 w 10000"/>
                <a:gd name="connsiteY51" fmla="*/ 4218 h 10000"/>
                <a:gd name="connsiteX52" fmla="*/ 8334 w 10000"/>
                <a:gd name="connsiteY52" fmla="*/ 4218 h 10000"/>
                <a:gd name="connsiteX53" fmla="*/ 8599 w 10000"/>
                <a:gd name="connsiteY53" fmla="*/ 3912 h 10000"/>
                <a:gd name="connsiteX54" fmla="*/ 8655 w 10000"/>
                <a:gd name="connsiteY54" fmla="*/ 1679 h 10000"/>
                <a:gd name="connsiteX55" fmla="*/ 8707 w 10000"/>
                <a:gd name="connsiteY55" fmla="*/ 1755 h 10000"/>
                <a:gd name="connsiteX56" fmla="*/ 8517 w 10000"/>
                <a:gd name="connsiteY56" fmla="*/ 1895 h 10000"/>
                <a:gd name="connsiteX57" fmla="*/ 8440 w 10000"/>
                <a:gd name="connsiteY57" fmla="*/ 2198 h 10000"/>
                <a:gd name="connsiteX58" fmla="*/ 7961 w 10000"/>
                <a:gd name="connsiteY58" fmla="*/ 1603 h 10000"/>
                <a:gd name="connsiteX59" fmla="*/ 7874 w 10000"/>
                <a:gd name="connsiteY59" fmla="*/ 0 h 10000"/>
                <a:gd name="connsiteX60" fmla="*/ 7538 w 10000"/>
                <a:gd name="connsiteY60" fmla="*/ 316 h 10000"/>
                <a:gd name="connsiteX61" fmla="*/ 7506 w 10000"/>
                <a:gd name="connsiteY61" fmla="*/ 885 h 10000"/>
                <a:gd name="connsiteX62" fmla="*/ 7351 w 10000"/>
                <a:gd name="connsiteY62" fmla="*/ 1297 h 10000"/>
                <a:gd name="connsiteX63" fmla="*/ 7237 w 10000"/>
                <a:gd name="connsiteY63" fmla="*/ 1489 h 10000"/>
                <a:gd name="connsiteX64" fmla="*/ 6955 w 10000"/>
                <a:gd name="connsiteY64" fmla="*/ 2020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</a:cxnLst>
              <a:rect l="l" t="t" r="r" b="b"/>
              <a:pathLst>
                <a:path w="10000" h="10000">
                  <a:moveTo>
                    <a:pt x="6955" y="2020"/>
                  </a:moveTo>
                  <a:cubicBezTo>
                    <a:pt x="6839" y="2202"/>
                    <a:pt x="6795" y="2430"/>
                    <a:pt x="6675" y="2608"/>
                  </a:cubicBezTo>
                  <a:lnTo>
                    <a:pt x="6212" y="2957"/>
                  </a:lnTo>
                  <a:lnTo>
                    <a:pt x="5864" y="2586"/>
                  </a:lnTo>
                  <a:cubicBezTo>
                    <a:pt x="5808" y="2795"/>
                    <a:pt x="5376" y="2079"/>
                    <a:pt x="5325" y="2288"/>
                  </a:cubicBezTo>
                  <a:lnTo>
                    <a:pt x="5058" y="2963"/>
                  </a:lnTo>
                  <a:lnTo>
                    <a:pt x="4396" y="3482"/>
                  </a:lnTo>
                  <a:cubicBezTo>
                    <a:pt x="4343" y="3535"/>
                    <a:pt x="3891" y="3301"/>
                    <a:pt x="3840" y="3351"/>
                  </a:cubicBezTo>
                  <a:lnTo>
                    <a:pt x="3044" y="3037"/>
                  </a:lnTo>
                  <a:lnTo>
                    <a:pt x="2774" y="3182"/>
                  </a:lnTo>
                  <a:lnTo>
                    <a:pt x="2177" y="2743"/>
                  </a:lnTo>
                  <a:cubicBezTo>
                    <a:pt x="2086" y="2475"/>
                    <a:pt x="1994" y="2208"/>
                    <a:pt x="1903" y="1940"/>
                  </a:cubicBezTo>
                  <a:cubicBezTo>
                    <a:pt x="1921" y="2173"/>
                    <a:pt x="1434" y="1931"/>
                    <a:pt x="1449" y="2159"/>
                  </a:cubicBezTo>
                  <a:cubicBezTo>
                    <a:pt x="1409" y="2317"/>
                    <a:pt x="1369" y="2479"/>
                    <a:pt x="1324" y="2635"/>
                  </a:cubicBezTo>
                  <a:lnTo>
                    <a:pt x="845" y="2836"/>
                  </a:lnTo>
                  <a:lnTo>
                    <a:pt x="526" y="2819"/>
                  </a:lnTo>
                  <a:cubicBezTo>
                    <a:pt x="469" y="2946"/>
                    <a:pt x="411" y="3069"/>
                    <a:pt x="354" y="3195"/>
                  </a:cubicBezTo>
                  <a:cubicBezTo>
                    <a:pt x="373" y="3326"/>
                    <a:pt x="37" y="2475"/>
                    <a:pt x="56" y="2604"/>
                  </a:cubicBezTo>
                  <a:cubicBezTo>
                    <a:pt x="37" y="2961"/>
                    <a:pt x="17" y="3322"/>
                    <a:pt x="0" y="3679"/>
                  </a:cubicBezTo>
                  <a:cubicBezTo>
                    <a:pt x="36" y="3732"/>
                    <a:pt x="73" y="3785"/>
                    <a:pt x="106" y="3836"/>
                  </a:cubicBezTo>
                  <a:lnTo>
                    <a:pt x="538" y="3912"/>
                  </a:lnTo>
                  <a:cubicBezTo>
                    <a:pt x="559" y="4013"/>
                    <a:pt x="575" y="4117"/>
                    <a:pt x="596" y="4218"/>
                  </a:cubicBezTo>
                  <a:lnTo>
                    <a:pt x="1075" y="4300"/>
                  </a:lnTo>
                  <a:lnTo>
                    <a:pt x="1346" y="4607"/>
                  </a:lnTo>
                  <a:cubicBezTo>
                    <a:pt x="1361" y="4784"/>
                    <a:pt x="1382" y="4964"/>
                    <a:pt x="1397" y="5145"/>
                  </a:cubicBezTo>
                  <a:lnTo>
                    <a:pt x="2260" y="6069"/>
                  </a:lnTo>
                  <a:cubicBezTo>
                    <a:pt x="2330" y="6377"/>
                    <a:pt x="2404" y="6686"/>
                    <a:pt x="2475" y="6996"/>
                  </a:cubicBezTo>
                  <a:lnTo>
                    <a:pt x="3064" y="7459"/>
                  </a:lnTo>
                  <a:lnTo>
                    <a:pt x="3280" y="8069"/>
                  </a:lnTo>
                  <a:lnTo>
                    <a:pt x="3709" y="8846"/>
                  </a:lnTo>
                  <a:lnTo>
                    <a:pt x="4034" y="9073"/>
                  </a:lnTo>
                  <a:lnTo>
                    <a:pt x="4248" y="8846"/>
                  </a:lnTo>
                  <a:lnTo>
                    <a:pt x="4785" y="8923"/>
                  </a:lnTo>
                  <a:lnTo>
                    <a:pt x="5002" y="8766"/>
                  </a:lnTo>
                  <a:lnTo>
                    <a:pt x="5967" y="9926"/>
                  </a:lnTo>
                  <a:lnTo>
                    <a:pt x="6021" y="9926"/>
                  </a:lnTo>
                  <a:cubicBezTo>
                    <a:pt x="6057" y="9871"/>
                    <a:pt x="6094" y="9822"/>
                    <a:pt x="6130" y="9772"/>
                  </a:cubicBezTo>
                  <a:lnTo>
                    <a:pt x="6823" y="9772"/>
                  </a:lnTo>
                  <a:cubicBezTo>
                    <a:pt x="6863" y="9848"/>
                    <a:pt x="6901" y="9926"/>
                    <a:pt x="6936" y="10000"/>
                  </a:cubicBezTo>
                  <a:lnTo>
                    <a:pt x="7526" y="9690"/>
                  </a:lnTo>
                  <a:lnTo>
                    <a:pt x="8062" y="9690"/>
                  </a:lnTo>
                  <a:lnTo>
                    <a:pt x="8438" y="9383"/>
                  </a:lnTo>
                  <a:lnTo>
                    <a:pt x="8871" y="8766"/>
                  </a:lnTo>
                  <a:lnTo>
                    <a:pt x="10000" y="8766"/>
                  </a:lnTo>
                  <a:lnTo>
                    <a:pt x="10000" y="7923"/>
                  </a:lnTo>
                  <a:lnTo>
                    <a:pt x="9409" y="7535"/>
                  </a:lnTo>
                  <a:cubicBezTo>
                    <a:pt x="9299" y="7125"/>
                    <a:pt x="9193" y="6711"/>
                    <a:pt x="9083" y="6301"/>
                  </a:cubicBezTo>
                  <a:lnTo>
                    <a:pt x="8655" y="5838"/>
                  </a:lnTo>
                  <a:lnTo>
                    <a:pt x="8385" y="5220"/>
                  </a:lnTo>
                  <a:lnTo>
                    <a:pt x="7687" y="4763"/>
                  </a:lnTo>
                  <a:cubicBezTo>
                    <a:pt x="7740" y="4706"/>
                    <a:pt x="7794" y="4657"/>
                    <a:pt x="7848" y="4607"/>
                  </a:cubicBezTo>
                  <a:lnTo>
                    <a:pt x="7848" y="4218"/>
                  </a:lnTo>
                  <a:lnTo>
                    <a:pt x="8334" y="4218"/>
                  </a:lnTo>
                  <a:lnTo>
                    <a:pt x="8599" y="3912"/>
                  </a:lnTo>
                  <a:cubicBezTo>
                    <a:pt x="8620" y="3168"/>
                    <a:pt x="8640" y="2424"/>
                    <a:pt x="8655" y="1679"/>
                  </a:cubicBezTo>
                  <a:cubicBezTo>
                    <a:pt x="8673" y="1704"/>
                    <a:pt x="8690" y="1726"/>
                    <a:pt x="8707" y="1755"/>
                  </a:cubicBezTo>
                  <a:cubicBezTo>
                    <a:pt x="8758" y="1599"/>
                    <a:pt x="8463" y="2050"/>
                    <a:pt x="8517" y="1895"/>
                  </a:cubicBezTo>
                  <a:cubicBezTo>
                    <a:pt x="8491" y="1993"/>
                    <a:pt x="8467" y="2098"/>
                    <a:pt x="8440" y="2198"/>
                  </a:cubicBezTo>
                  <a:cubicBezTo>
                    <a:pt x="8494" y="1917"/>
                    <a:pt x="7910" y="1888"/>
                    <a:pt x="7961" y="1603"/>
                  </a:cubicBezTo>
                  <a:cubicBezTo>
                    <a:pt x="7933" y="1068"/>
                    <a:pt x="7903" y="533"/>
                    <a:pt x="7874" y="0"/>
                  </a:cubicBezTo>
                  <a:lnTo>
                    <a:pt x="7538" y="316"/>
                  </a:lnTo>
                  <a:cubicBezTo>
                    <a:pt x="7447" y="495"/>
                    <a:pt x="7563" y="700"/>
                    <a:pt x="7506" y="885"/>
                  </a:cubicBezTo>
                  <a:cubicBezTo>
                    <a:pt x="7468" y="1038"/>
                    <a:pt x="7396" y="1196"/>
                    <a:pt x="7351" y="1297"/>
                  </a:cubicBezTo>
                  <a:cubicBezTo>
                    <a:pt x="7306" y="1398"/>
                    <a:pt x="7303" y="1368"/>
                    <a:pt x="7237" y="1489"/>
                  </a:cubicBezTo>
                  <a:lnTo>
                    <a:pt x="6955" y="2020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7783" tIns="37783" rIns="37783" bIns="37783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2" name="Freeform 441">
              <a:extLst>
                <a:ext uri="{FF2B5EF4-FFF2-40B4-BE49-F238E27FC236}">
                  <a16:creationId xmlns:a16="http://schemas.microsoft.com/office/drawing/2014/main" id="{F83F1EF9-DD13-D946-9347-1B3A61EE5A95}"/>
                </a:ext>
              </a:extLst>
            </p:cNvPr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4211040" y="5419819"/>
              <a:ext cx="322210" cy="346528"/>
            </a:xfrm>
            <a:custGeom>
              <a:avLst/>
              <a:gdLst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7189 w 10000"/>
                <a:gd name="connsiteY54" fmla="*/ 7588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758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27 w 10000"/>
                <a:gd name="connsiteY52" fmla="*/ 7749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7814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7229 w 10000"/>
                <a:gd name="connsiteY50" fmla="*/ 8006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7430 w 10000"/>
                <a:gd name="connsiteY49" fmla="*/ 8264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7751 w 10000"/>
                <a:gd name="connsiteY48" fmla="*/ 8457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7992 w 10000"/>
                <a:gd name="connsiteY47" fmla="*/ 8971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8434 w 10000"/>
                <a:gd name="connsiteY46" fmla="*/ 9132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8434 w 10000"/>
                <a:gd name="connsiteY45" fmla="*/ 9486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7590 w 10000"/>
                <a:gd name="connsiteY44" fmla="*/ 948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7269 w 10000"/>
                <a:gd name="connsiteY43" fmla="*/ 9743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6988 w 10000"/>
                <a:gd name="connsiteY42" fmla="*/ 9871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6586 w 10000"/>
                <a:gd name="connsiteY41" fmla="*/ 9871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6064 w 10000"/>
                <a:gd name="connsiteY39" fmla="*/ 99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10000"/>
                <a:gd name="connsiteX1" fmla="*/ 1285 w 10000"/>
                <a:gd name="connsiteY1" fmla="*/ 2412 h 10000"/>
                <a:gd name="connsiteX2" fmla="*/ 1285 w 10000"/>
                <a:gd name="connsiteY2" fmla="*/ 2894 h 10000"/>
                <a:gd name="connsiteX3" fmla="*/ 1285 w 10000"/>
                <a:gd name="connsiteY3" fmla="*/ 3376 h 10000"/>
                <a:gd name="connsiteX4" fmla="*/ 1285 w 10000"/>
                <a:gd name="connsiteY4" fmla="*/ 3826 h 10000"/>
                <a:gd name="connsiteX5" fmla="*/ 643 w 10000"/>
                <a:gd name="connsiteY5" fmla="*/ 3923 h 10000"/>
                <a:gd name="connsiteX6" fmla="*/ 522 w 10000"/>
                <a:gd name="connsiteY6" fmla="*/ 4180 h 10000"/>
                <a:gd name="connsiteX7" fmla="*/ 241 w 10000"/>
                <a:gd name="connsiteY7" fmla="*/ 4502 h 10000"/>
                <a:gd name="connsiteX8" fmla="*/ 241 w 10000"/>
                <a:gd name="connsiteY8" fmla="*/ 4759 h 10000"/>
                <a:gd name="connsiteX9" fmla="*/ 120 w 10000"/>
                <a:gd name="connsiteY9" fmla="*/ 4823 h 10000"/>
                <a:gd name="connsiteX10" fmla="*/ 120 w 10000"/>
                <a:gd name="connsiteY10" fmla="*/ 5048 h 10000"/>
                <a:gd name="connsiteX11" fmla="*/ 0 w 10000"/>
                <a:gd name="connsiteY11" fmla="*/ 5241 h 10000"/>
                <a:gd name="connsiteX12" fmla="*/ 0 w 10000"/>
                <a:gd name="connsiteY12" fmla="*/ 5402 h 10000"/>
                <a:gd name="connsiteX13" fmla="*/ 241 w 10000"/>
                <a:gd name="connsiteY13" fmla="*/ 5370 h 10000"/>
                <a:gd name="connsiteX14" fmla="*/ 281 w 10000"/>
                <a:gd name="connsiteY14" fmla="*/ 5659 h 10000"/>
                <a:gd name="connsiteX15" fmla="*/ 602 w 10000"/>
                <a:gd name="connsiteY15" fmla="*/ 6174 h 10000"/>
                <a:gd name="connsiteX16" fmla="*/ 602 w 10000"/>
                <a:gd name="connsiteY16" fmla="*/ 6206 h 10000"/>
                <a:gd name="connsiteX17" fmla="*/ 482 w 10000"/>
                <a:gd name="connsiteY17" fmla="*/ 6238 h 10000"/>
                <a:gd name="connsiteX18" fmla="*/ 964 w 10000"/>
                <a:gd name="connsiteY18" fmla="*/ 6752 h 10000"/>
                <a:gd name="connsiteX19" fmla="*/ 1004 w 10000"/>
                <a:gd name="connsiteY19" fmla="*/ 6913 h 10000"/>
                <a:gd name="connsiteX20" fmla="*/ 964 w 10000"/>
                <a:gd name="connsiteY20" fmla="*/ 7363 h 10000"/>
                <a:gd name="connsiteX21" fmla="*/ 1044 w 10000"/>
                <a:gd name="connsiteY21" fmla="*/ 7428 h 10000"/>
                <a:gd name="connsiteX22" fmla="*/ 1365 w 10000"/>
                <a:gd name="connsiteY22" fmla="*/ 7460 h 10000"/>
                <a:gd name="connsiteX23" fmla="*/ 1406 w 10000"/>
                <a:gd name="connsiteY23" fmla="*/ 7588 h 10000"/>
                <a:gd name="connsiteX24" fmla="*/ 1767 w 10000"/>
                <a:gd name="connsiteY24" fmla="*/ 7621 h 10000"/>
                <a:gd name="connsiteX25" fmla="*/ 1968 w 10000"/>
                <a:gd name="connsiteY25" fmla="*/ 7749 h 10000"/>
                <a:gd name="connsiteX26" fmla="*/ 2008 w 10000"/>
                <a:gd name="connsiteY26" fmla="*/ 7974 h 10000"/>
                <a:gd name="connsiteX27" fmla="*/ 2651 w 10000"/>
                <a:gd name="connsiteY27" fmla="*/ 8360 h 10000"/>
                <a:gd name="connsiteX28" fmla="*/ 2811 w 10000"/>
                <a:gd name="connsiteY28" fmla="*/ 8746 h 10000"/>
                <a:gd name="connsiteX29" fmla="*/ 3253 w 10000"/>
                <a:gd name="connsiteY29" fmla="*/ 8939 h 10000"/>
                <a:gd name="connsiteX30" fmla="*/ 3414 w 10000"/>
                <a:gd name="connsiteY30" fmla="*/ 9196 h 10000"/>
                <a:gd name="connsiteX31" fmla="*/ 3735 w 10000"/>
                <a:gd name="connsiteY31" fmla="*/ 9518 h 10000"/>
                <a:gd name="connsiteX32" fmla="*/ 3976 w 10000"/>
                <a:gd name="connsiteY32" fmla="*/ 9614 h 10000"/>
                <a:gd name="connsiteX33" fmla="*/ 4137 w 10000"/>
                <a:gd name="connsiteY33" fmla="*/ 9518 h 10000"/>
                <a:gd name="connsiteX34" fmla="*/ 4538 w 10000"/>
                <a:gd name="connsiteY34" fmla="*/ 9550 h 10000"/>
                <a:gd name="connsiteX35" fmla="*/ 4699 w 10000"/>
                <a:gd name="connsiteY35" fmla="*/ 9486 h 10000"/>
                <a:gd name="connsiteX36" fmla="*/ 5422 w 10000"/>
                <a:gd name="connsiteY36" fmla="*/ 9968 h 10000"/>
                <a:gd name="connsiteX37" fmla="*/ 5462 w 10000"/>
                <a:gd name="connsiteY37" fmla="*/ 9968 h 10000"/>
                <a:gd name="connsiteX38" fmla="*/ 5542 w 10000"/>
                <a:gd name="connsiteY38" fmla="*/ 9904 h 10000"/>
                <a:gd name="connsiteX39" fmla="*/ 5272 w 10000"/>
                <a:gd name="connsiteY39" fmla="*/ 9204 h 10000"/>
                <a:gd name="connsiteX40" fmla="*/ 6145 w 10000"/>
                <a:gd name="connsiteY40" fmla="*/ 10000 h 10000"/>
                <a:gd name="connsiteX41" fmla="*/ 5564 w 10000"/>
                <a:gd name="connsiteY41" fmla="*/ 7085 h 10000"/>
                <a:gd name="connsiteX42" fmla="*/ 5768 w 10000"/>
                <a:gd name="connsiteY42" fmla="*/ 7006 h 10000"/>
                <a:gd name="connsiteX43" fmla="*/ 5933 w 10000"/>
                <a:gd name="connsiteY43" fmla="*/ 6931 h 10000"/>
                <a:gd name="connsiteX44" fmla="*/ 6089 w 10000"/>
                <a:gd name="connsiteY44" fmla="*/ 6766 h 10000"/>
                <a:gd name="connsiteX45" fmla="*/ 6274 w 10000"/>
                <a:gd name="connsiteY45" fmla="*/ 6541 h 10000"/>
                <a:gd name="connsiteX46" fmla="*/ 6389 w 10000"/>
                <a:gd name="connsiteY46" fmla="*/ 6438 h 10000"/>
                <a:gd name="connsiteX47" fmla="*/ 6524 w 10000"/>
                <a:gd name="connsiteY47" fmla="*/ 6396 h 10000"/>
                <a:gd name="connsiteX48" fmla="*/ 6531 w 10000"/>
                <a:gd name="connsiteY48" fmla="*/ 6265 h 10000"/>
                <a:gd name="connsiteX49" fmla="*/ 6424 w 10000"/>
                <a:gd name="connsiteY49" fmla="*/ 5966 h 10000"/>
                <a:gd name="connsiteX50" fmla="*/ 6602 w 10000"/>
                <a:gd name="connsiteY50" fmla="*/ 5973 h 10000"/>
                <a:gd name="connsiteX51" fmla="*/ 6707 w 10000"/>
                <a:gd name="connsiteY51" fmla="*/ 5860 h 10000"/>
                <a:gd name="connsiteX52" fmla="*/ 6876 w 10000"/>
                <a:gd name="connsiteY52" fmla="*/ 5861 h 10000"/>
                <a:gd name="connsiteX53" fmla="*/ 6827 w 10000"/>
                <a:gd name="connsiteY53" fmla="*/ 6558 h 10000"/>
                <a:gd name="connsiteX54" fmla="*/ 6991 w 10000"/>
                <a:gd name="connsiteY54" fmla="*/ 6637 h 10000"/>
                <a:gd name="connsiteX55" fmla="*/ 7275 w 10000"/>
                <a:gd name="connsiteY55" fmla="*/ 6839 h 10000"/>
                <a:gd name="connsiteX56" fmla="*/ 7430 w 10000"/>
                <a:gd name="connsiteY56" fmla="*/ 6527 h 10000"/>
                <a:gd name="connsiteX57" fmla="*/ 7470 w 10000"/>
                <a:gd name="connsiteY57" fmla="*/ 6559 h 10000"/>
                <a:gd name="connsiteX58" fmla="*/ 7590 w 10000"/>
                <a:gd name="connsiteY58" fmla="*/ 6367 h 10000"/>
                <a:gd name="connsiteX59" fmla="*/ 7831 w 10000"/>
                <a:gd name="connsiteY59" fmla="*/ 6270 h 10000"/>
                <a:gd name="connsiteX60" fmla="*/ 7952 w 10000"/>
                <a:gd name="connsiteY60" fmla="*/ 5916 h 10000"/>
                <a:gd name="connsiteX61" fmla="*/ 8313 w 10000"/>
                <a:gd name="connsiteY61" fmla="*/ 5498 h 10000"/>
                <a:gd name="connsiteX62" fmla="*/ 8594 w 10000"/>
                <a:gd name="connsiteY62" fmla="*/ 5305 h 10000"/>
                <a:gd name="connsiteX63" fmla="*/ 8795 w 10000"/>
                <a:gd name="connsiteY63" fmla="*/ 4759 h 10000"/>
                <a:gd name="connsiteX64" fmla="*/ 8795 w 10000"/>
                <a:gd name="connsiteY64" fmla="*/ 4630 h 10000"/>
                <a:gd name="connsiteX65" fmla="*/ 8755 w 10000"/>
                <a:gd name="connsiteY65" fmla="*/ 4309 h 10000"/>
                <a:gd name="connsiteX66" fmla="*/ 9157 w 10000"/>
                <a:gd name="connsiteY66" fmla="*/ 3151 h 10000"/>
                <a:gd name="connsiteX67" fmla="*/ 9277 w 10000"/>
                <a:gd name="connsiteY67" fmla="*/ 3151 h 10000"/>
                <a:gd name="connsiteX68" fmla="*/ 9438 w 10000"/>
                <a:gd name="connsiteY68" fmla="*/ 3055 h 10000"/>
                <a:gd name="connsiteX69" fmla="*/ 9920 w 10000"/>
                <a:gd name="connsiteY69" fmla="*/ 2894 h 10000"/>
                <a:gd name="connsiteX70" fmla="*/ 10000 w 10000"/>
                <a:gd name="connsiteY70" fmla="*/ 2637 h 10000"/>
                <a:gd name="connsiteX71" fmla="*/ 9960 w 10000"/>
                <a:gd name="connsiteY71" fmla="*/ 2572 h 10000"/>
                <a:gd name="connsiteX72" fmla="*/ 9799 w 10000"/>
                <a:gd name="connsiteY72" fmla="*/ 2572 h 10000"/>
                <a:gd name="connsiteX73" fmla="*/ 9679 w 10000"/>
                <a:gd name="connsiteY73" fmla="*/ 2412 h 10000"/>
                <a:gd name="connsiteX74" fmla="*/ 9438 w 10000"/>
                <a:gd name="connsiteY74" fmla="*/ 2347 h 10000"/>
                <a:gd name="connsiteX75" fmla="*/ 9317 w 10000"/>
                <a:gd name="connsiteY75" fmla="*/ 2219 h 10000"/>
                <a:gd name="connsiteX76" fmla="*/ 9237 w 10000"/>
                <a:gd name="connsiteY76" fmla="*/ 1736 h 10000"/>
                <a:gd name="connsiteX77" fmla="*/ 9237 w 10000"/>
                <a:gd name="connsiteY77" fmla="*/ 1061 h 10000"/>
                <a:gd name="connsiteX78" fmla="*/ 9036 w 10000"/>
                <a:gd name="connsiteY78" fmla="*/ 836 h 10000"/>
                <a:gd name="connsiteX79" fmla="*/ 8996 w 10000"/>
                <a:gd name="connsiteY79" fmla="*/ 611 h 10000"/>
                <a:gd name="connsiteX80" fmla="*/ 8675 w 10000"/>
                <a:gd name="connsiteY80" fmla="*/ 289 h 10000"/>
                <a:gd name="connsiteX81" fmla="*/ 8394 w 10000"/>
                <a:gd name="connsiteY81" fmla="*/ 161 h 10000"/>
                <a:gd name="connsiteX82" fmla="*/ 8233 w 10000"/>
                <a:gd name="connsiteY82" fmla="*/ 0 h 10000"/>
                <a:gd name="connsiteX83" fmla="*/ 7992 w 10000"/>
                <a:gd name="connsiteY83" fmla="*/ 161 h 10000"/>
                <a:gd name="connsiteX84" fmla="*/ 7831 w 10000"/>
                <a:gd name="connsiteY84" fmla="*/ 129 h 10000"/>
                <a:gd name="connsiteX85" fmla="*/ 7711 w 10000"/>
                <a:gd name="connsiteY85" fmla="*/ 418 h 10000"/>
                <a:gd name="connsiteX86" fmla="*/ 7390 w 10000"/>
                <a:gd name="connsiteY86" fmla="*/ 482 h 10000"/>
                <a:gd name="connsiteX87" fmla="*/ 7309 w 10000"/>
                <a:gd name="connsiteY87" fmla="*/ 707 h 10000"/>
                <a:gd name="connsiteX88" fmla="*/ 7028 w 10000"/>
                <a:gd name="connsiteY88" fmla="*/ 707 h 10000"/>
                <a:gd name="connsiteX89" fmla="*/ 6787 w 10000"/>
                <a:gd name="connsiteY89" fmla="*/ 611 h 10000"/>
                <a:gd name="connsiteX90" fmla="*/ 6265 w 10000"/>
                <a:gd name="connsiteY90" fmla="*/ 611 h 10000"/>
                <a:gd name="connsiteX91" fmla="*/ 5743 w 10000"/>
                <a:gd name="connsiteY91" fmla="*/ 611 h 10000"/>
                <a:gd name="connsiteX92" fmla="*/ 5783 w 10000"/>
                <a:gd name="connsiteY92" fmla="*/ 482 h 10000"/>
                <a:gd name="connsiteX93" fmla="*/ 5703 w 10000"/>
                <a:gd name="connsiteY93" fmla="*/ 482 h 10000"/>
                <a:gd name="connsiteX94" fmla="*/ 5663 w 10000"/>
                <a:gd name="connsiteY94" fmla="*/ 611 h 10000"/>
                <a:gd name="connsiteX95" fmla="*/ 5181 w 10000"/>
                <a:gd name="connsiteY95" fmla="*/ 611 h 10000"/>
                <a:gd name="connsiteX96" fmla="*/ 4699 w 10000"/>
                <a:gd name="connsiteY96" fmla="*/ 611 h 10000"/>
                <a:gd name="connsiteX97" fmla="*/ 4217 w 10000"/>
                <a:gd name="connsiteY97" fmla="*/ 611 h 10000"/>
                <a:gd name="connsiteX98" fmla="*/ 3735 w 10000"/>
                <a:gd name="connsiteY98" fmla="*/ 611 h 10000"/>
                <a:gd name="connsiteX99" fmla="*/ 3293 w 10000"/>
                <a:gd name="connsiteY99" fmla="*/ 611 h 10000"/>
                <a:gd name="connsiteX100" fmla="*/ 2811 w 10000"/>
                <a:gd name="connsiteY100" fmla="*/ 611 h 10000"/>
                <a:gd name="connsiteX101" fmla="*/ 2369 w 10000"/>
                <a:gd name="connsiteY101" fmla="*/ 611 h 10000"/>
                <a:gd name="connsiteX102" fmla="*/ 1888 w 10000"/>
                <a:gd name="connsiteY102" fmla="*/ 611 h 10000"/>
                <a:gd name="connsiteX103" fmla="*/ 1888 w 10000"/>
                <a:gd name="connsiteY103" fmla="*/ 1061 h 10000"/>
                <a:gd name="connsiteX104" fmla="*/ 1888 w 10000"/>
                <a:gd name="connsiteY104" fmla="*/ 1640 h 10000"/>
                <a:gd name="connsiteX105" fmla="*/ 1285 w 10000"/>
                <a:gd name="connsiteY105" fmla="*/ 1640 h 10000"/>
                <a:gd name="connsiteX106" fmla="*/ 1285 w 10000"/>
                <a:gd name="connsiteY106" fmla="*/ 1897 h 10000"/>
                <a:gd name="connsiteX0" fmla="*/ 1285 w 10000"/>
                <a:gd name="connsiteY0" fmla="*/ 1897 h 9968"/>
                <a:gd name="connsiteX1" fmla="*/ 1285 w 10000"/>
                <a:gd name="connsiteY1" fmla="*/ 2412 h 9968"/>
                <a:gd name="connsiteX2" fmla="*/ 1285 w 10000"/>
                <a:gd name="connsiteY2" fmla="*/ 2894 h 9968"/>
                <a:gd name="connsiteX3" fmla="*/ 1285 w 10000"/>
                <a:gd name="connsiteY3" fmla="*/ 3376 h 9968"/>
                <a:gd name="connsiteX4" fmla="*/ 1285 w 10000"/>
                <a:gd name="connsiteY4" fmla="*/ 3826 h 9968"/>
                <a:gd name="connsiteX5" fmla="*/ 643 w 10000"/>
                <a:gd name="connsiteY5" fmla="*/ 3923 h 9968"/>
                <a:gd name="connsiteX6" fmla="*/ 522 w 10000"/>
                <a:gd name="connsiteY6" fmla="*/ 4180 h 9968"/>
                <a:gd name="connsiteX7" fmla="*/ 241 w 10000"/>
                <a:gd name="connsiteY7" fmla="*/ 4502 h 9968"/>
                <a:gd name="connsiteX8" fmla="*/ 241 w 10000"/>
                <a:gd name="connsiteY8" fmla="*/ 4759 h 9968"/>
                <a:gd name="connsiteX9" fmla="*/ 120 w 10000"/>
                <a:gd name="connsiteY9" fmla="*/ 4823 h 9968"/>
                <a:gd name="connsiteX10" fmla="*/ 120 w 10000"/>
                <a:gd name="connsiteY10" fmla="*/ 5048 h 9968"/>
                <a:gd name="connsiteX11" fmla="*/ 0 w 10000"/>
                <a:gd name="connsiteY11" fmla="*/ 5241 h 9968"/>
                <a:gd name="connsiteX12" fmla="*/ 0 w 10000"/>
                <a:gd name="connsiteY12" fmla="*/ 5402 h 9968"/>
                <a:gd name="connsiteX13" fmla="*/ 241 w 10000"/>
                <a:gd name="connsiteY13" fmla="*/ 5370 h 9968"/>
                <a:gd name="connsiteX14" fmla="*/ 281 w 10000"/>
                <a:gd name="connsiteY14" fmla="*/ 5659 h 9968"/>
                <a:gd name="connsiteX15" fmla="*/ 602 w 10000"/>
                <a:gd name="connsiteY15" fmla="*/ 6174 h 9968"/>
                <a:gd name="connsiteX16" fmla="*/ 602 w 10000"/>
                <a:gd name="connsiteY16" fmla="*/ 6206 h 9968"/>
                <a:gd name="connsiteX17" fmla="*/ 482 w 10000"/>
                <a:gd name="connsiteY17" fmla="*/ 6238 h 9968"/>
                <a:gd name="connsiteX18" fmla="*/ 964 w 10000"/>
                <a:gd name="connsiteY18" fmla="*/ 6752 h 9968"/>
                <a:gd name="connsiteX19" fmla="*/ 1004 w 10000"/>
                <a:gd name="connsiteY19" fmla="*/ 6913 h 9968"/>
                <a:gd name="connsiteX20" fmla="*/ 964 w 10000"/>
                <a:gd name="connsiteY20" fmla="*/ 7363 h 9968"/>
                <a:gd name="connsiteX21" fmla="*/ 1044 w 10000"/>
                <a:gd name="connsiteY21" fmla="*/ 7428 h 9968"/>
                <a:gd name="connsiteX22" fmla="*/ 1365 w 10000"/>
                <a:gd name="connsiteY22" fmla="*/ 7460 h 9968"/>
                <a:gd name="connsiteX23" fmla="*/ 1406 w 10000"/>
                <a:gd name="connsiteY23" fmla="*/ 7588 h 9968"/>
                <a:gd name="connsiteX24" fmla="*/ 1767 w 10000"/>
                <a:gd name="connsiteY24" fmla="*/ 7621 h 9968"/>
                <a:gd name="connsiteX25" fmla="*/ 1968 w 10000"/>
                <a:gd name="connsiteY25" fmla="*/ 7749 h 9968"/>
                <a:gd name="connsiteX26" fmla="*/ 2008 w 10000"/>
                <a:gd name="connsiteY26" fmla="*/ 7974 h 9968"/>
                <a:gd name="connsiteX27" fmla="*/ 2651 w 10000"/>
                <a:gd name="connsiteY27" fmla="*/ 8360 h 9968"/>
                <a:gd name="connsiteX28" fmla="*/ 2811 w 10000"/>
                <a:gd name="connsiteY28" fmla="*/ 8746 h 9968"/>
                <a:gd name="connsiteX29" fmla="*/ 3253 w 10000"/>
                <a:gd name="connsiteY29" fmla="*/ 8939 h 9968"/>
                <a:gd name="connsiteX30" fmla="*/ 3414 w 10000"/>
                <a:gd name="connsiteY30" fmla="*/ 9196 h 9968"/>
                <a:gd name="connsiteX31" fmla="*/ 3735 w 10000"/>
                <a:gd name="connsiteY31" fmla="*/ 9518 h 9968"/>
                <a:gd name="connsiteX32" fmla="*/ 3976 w 10000"/>
                <a:gd name="connsiteY32" fmla="*/ 9614 h 9968"/>
                <a:gd name="connsiteX33" fmla="*/ 4137 w 10000"/>
                <a:gd name="connsiteY33" fmla="*/ 9518 h 9968"/>
                <a:gd name="connsiteX34" fmla="*/ 4538 w 10000"/>
                <a:gd name="connsiteY34" fmla="*/ 9550 h 9968"/>
                <a:gd name="connsiteX35" fmla="*/ 4699 w 10000"/>
                <a:gd name="connsiteY35" fmla="*/ 9486 h 9968"/>
                <a:gd name="connsiteX36" fmla="*/ 5422 w 10000"/>
                <a:gd name="connsiteY36" fmla="*/ 9968 h 9968"/>
                <a:gd name="connsiteX37" fmla="*/ 5462 w 10000"/>
                <a:gd name="connsiteY37" fmla="*/ 9968 h 9968"/>
                <a:gd name="connsiteX38" fmla="*/ 5542 w 10000"/>
                <a:gd name="connsiteY38" fmla="*/ 9904 h 9968"/>
                <a:gd name="connsiteX39" fmla="*/ 5272 w 10000"/>
                <a:gd name="connsiteY39" fmla="*/ 9204 h 9968"/>
                <a:gd name="connsiteX40" fmla="*/ 5337 w 10000"/>
                <a:gd name="connsiteY40" fmla="*/ 6963 h 9968"/>
                <a:gd name="connsiteX41" fmla="*/ 5564 w 10000"/>
                <a:gd name="connsiteY41" fmla="*/ 7085 h 9968"/>
                <a:gd name="connsiteX42" fmla="*/ 5768 w 10000"/>
                <a:gd name="connsiteY42" fmla="*/ 7006 h 9968"/>
                <a:gd name="connsiteX43" fmla="*/ 5933 w 10000"/>
                <a:gd name="connsiteY43" fmla="*/ 6931 h 9968"/>
                <a:gd name="connsiteX44" fmla="*/ 6089 w 10000"/>
                <a:gd name="connsiteY44" fmla="*/ 6766 h 9968"/>
                <a:gd name="connsiteX45" fmla="*/ 6274 w 10000"/>
                <a:gd name="connsiteY45" fmla="*/ 6541 h 9968"/>
                <a:gd name="connsiteX46" fmla="*/ 6389 w 10000"/>
                <a:gd name="connsiteY46" fmla="*/ 6438 h 9968"/>
                <a:gd name="connsiteX47" fmla="*/ 6524 w 10000"/>
                <a:gd name="connsiteY47" fmla="*/ 6396 h 9968"/>
                <a:gd name="connsiteX48" fmla="*/ 6531 w 10000"/>
                <a:gd name="connsiteY48" fmla="*/ 6265 h 9968"/>
                <a:gd name="connsiteX49" fmla="*/ 6424 w 10000"/>
                <a:gd name="connsiteY49" fmla="*/ 5966 h 9968"/>
                <a:gd name="connsiteX50" fmla="*/ 6602 w 10000"/>
                <a:gd name="connsiteY50" fmla="*/ 5973 h 9968"/>
                <a:gd name="connsiteX51" fmla="*/ 6707 w 10000"/>
                <a:gd name="connsiteY51" fmla="*/ 5860 h 9968"/>
                <a:gd name="connsiteX52" fmla="*/ 6876 w 10000"/>
                <a:gd name="connsiteY52" fmla="*/ 5861 h 9968"/>
                <a:gd name="connsiteX53" fmla="*/ 6827 w 10000"/>
                <a:gd name="connsiteY53" fmla="*/ 6558 h 9968"/>
                <a:gd name="connsiteX54" fmla="*/ 6991 w 10000"/>
                <a:gd name="connsiteY54" fmla="*/ 6637 h 9968"/>
                <a:gd name="connsiteX55" fmla="*/ 7275 w 10000"/>
                <a:gd name="connsiteY55" fmla="*/ 6839 h 9968"/>
                <a:gd name="connsiteX56" fmla="*/ 7430 w 10000"/>
                <a:gd name="connsiteY56" fmla="*/ 6527 h 9968"/>
                <a:gd name="connsiteX57" fmla="*/ 7470 w 10000"/>
                <a:gd name="connsiteY57" fmla="*/ 6559 h 9968"/>
                <a:gd name="connsiteX58" fmla="*/ 7590 w 10000"/>
                <a:gd name="connsiteY58" fmla="*/ 6367 h 9968"/>
                <a:gd name="connsiteX59" fmla="*/ 7831 w 10000"/>
                <a:gd name="connsiteY59" fmla="*/ 6270 h 9968"/>
                <a:gd name="connsiteX60" fmla="*/ 7952 w 10000"/>
                <a:gd name="connsiteY60" fmla="*/ 5916 h 9968"/>
                <a:gd name="connsiteX61" fmla="*/ 8313 w 10000"/>
                <a:gd name="connsiteY61" fmla="*/ 5498 h 9968"/>
                <a:gd name="connsiteX62" fmla="*/ 8594 w 10000"/>
                <a:gd name="connsiteY62" fmla="*/ 5305 h 9968"/>
                <a:gd name="connsiteX63" fmla="*/ 8795 w 10000"/>
                <a:gd name="connsiteY63" fmla="*/ 4759 h 9968"/>
                <a:gd name="connsiteX64" fmla="*/ 8795 w 10000"/>
                <a:gd name="connsiteY64" fmla="*/ 4630 h 9968"/>
                <a:gd name="connsiteX65" fmla="*/ 8755 w 10000"/>
                <a:gd name="connsiteY65" fmla="*/ 4309 h 9968"/>
                <a:gd name="connsiteX66" fmla="*/ 9157 w 10000"/>
                <a:gd name="connsiteY66" fmla="*/ 3151 h 9968"/>
                <a:gd name="connsiteX67" fmla="*/ 9277 w 10000"/>
                <a:gd name="connsiteY67" fmla="*/ 3151 h 9968"/>
                <a:gd name="connsiteX68" fmla="*/ 9438 w 10000"/>
                <a:gd name="connsiteY68" fmla="*/ 3055 h 9968"/>
                <a:gd name="connsiteX69" fmla="*/ 9920 w 10000"/>
                <a:gd name="connsiteY69" fmla="*/ 2894 h 9968"/>
                <a:gd name="connsiteX70" fmla="*/ 10000 w 10000"/>
                <a:gd name="connsiteY70" fmla="*/ 2637 h 9968"/>
                <a:gd name="connsiteX71" fmla="*/ 9960 w 10000"/>
                <a:gd name="connsiteY71" fmla="*/ 2572 h 9968"/>
                <a:gd name="connsiteX72" fmla="*/ 9799 w 10000"/>
                <a:gd name="connsiteY72" fmla="*/ 2572 h 9968"/>
                <a:gd name="connsiteX73" fmla="*/ 9679 w 10000"/>
                <a:gd name="connsiteY73" fmla="*/ 2412 h 9968"/>
                <a:gd name="connsiteX74" fmla="*/ 9438 w 10000"/>
                <a:gd name="connsiteY74" fmla="*/ 2347 h 9968"/>
                <a:gd name="connsiteX75" fmla="*/ 9317 w 10000"/>
                <a:gd name="connsiteY75" fmla="*/ 2219 h 9968"/>
                <a:gd name="connsiteX76" fmla="*/ 9237 w 10000"/>
                <a:gd name="connsiteY76" fmla="*/ 1736 h 9968"/>
                <a:gd name="connsiteX77" fmla="*/ 9237 w 10000"/>
                <a:gd name="connsiteY77" fmla="*/ 1061 h 9968"/>
                <a:gd name="connsiteX78" fmla="*/ 9036 w 10000"/>
                <a:gd name="connsiteY78" fmla="*/ 836 h 9968"/>
                <a:gd name="connsiteX79" fmla="*/ 8996 w 10000"/>
                <a:gd name="connsiteY79" fmla="*/ 611 h 9968"/>
                <a:gd name="connsiteX80" fmla="*/ 8675 w 10000"/>
                <a:gd name="connsiteY80" fmla="*/ 289 h 9968"/>
                <a:gd name="connsiteX81" fmla="*/ 8394 w 10000"/>
                <a:gd name="connsiteY81" fmla="*/ 161 h 9968"/>
                <a:gd name="connsiteX82" fmla="*/ 8233 w 10000"/>
                <a:gd name="connsiteY82" fmla="*/ 0 h 9968"/>
                <a:gd name="connsiteX83" fmla="*/ 7992 w 10000"/>
                <a:gd name="connsiteY83" fmla="*/ 161 h 9968"/>
                <a:gd name="connsiteX84" fmla="*/ 7831 w 10000"/>
                <a:gd name="connsiteY84" fmla="*/ 129 h 9968"/>
                <a:gd name="connsiteX85" fmla="*/ 7711 w 10000"/>
                <a:gd name="connsiteY85" fmla="*/ 418 h 9968"/>
                <a:gd name="connsiteX86" fmla="*/ 7390 w 10000"/>
                <a:gd name="connsiteY86" fmla="*/ 482 h 9968"/>
                <a:gd name="connsiteX87" fmla="*/ 7309 w 10000"/>
                <a:gd name="connsiteY87" fmla="*/ 707 h 9968"/>
                <a:gd name="connsiteX88" fmla="*/ 7028 w 10000"/>
                <a:gd name="connsiteY88" fmla="*/ 707 h 9968"/>
                <a:gd name="connsiteX89" fmla="*/ 6787 w 10000"/>
                <a:gd name="connsiteY89" fmla="*/ 611 h 9968"/>
                <a:gd name="connsiteX90" fmla="*/ 6265 w 10000"/>
                <a:gd name="connsiteY90" fmla="*/ 611 h 9968"/>
                <a:gd name="connsiteX91" fmla="*/ 5743 w 10000"/>
                <a:gd name="connsiteY91" fmla="*/ 611 h 9968"/>
                <a:gd name="connsiteX92" fmla="*/ 5783 w 10000"/>
                <a:gd name="connsiteY92" fmla="*/ 482 h 9968"/>
                <a:gd name="connsiteX93" fmla="*/ 5703 w 10000"/>
                <a:gd name="connsiteY93" fmla="*/ 482 h 9968"/>
                <a:gd name="connsiteX94" fmla="*/ 5663 w 10000"/>
                <a:gd name="connsiteY94" fmla="*/ 611 h 9968"/>
                <a:gd name="connsiteX95" fmla="*/ 5181 w 10000"/>
                <a:gd name="connsiteY95" fmla="*/ 611 h 9968"/>
                <a:gd name="connsiteX96" fmla="*/ 4699 w 10000"/>
                <a:gd name="connsiteY96" fmla="*/ 611 h 9968"/>
                <a:gd name="connsiteX97" fmla="*/ 4217 w 10000"/>
                <a:gd name="connsiteY97" fmla="*/ 611 h 9968"/>
                <a:gd name="connsiteX98" fmla="*/ 3735 w 10000"/>
                <a:gd name="connsiteY98" fmla="*/ 611 h 9968"/>
                <a:gd name="connsiteX99" fmla="*/ 3293 w 10000"/>
                <a:gd name="connsiteY99" fmla="*/ 611 h 9968"/>
                <a:gd name="connsiteX100" fmla="*/ 2811 w 10000"/>
                <a:gd name="connsiteY100" fmla="*/ 611 h 9968"/>
                <a:gd name="connsiteX101" fmla="*/ 2369 w 10000"/>
                <a:gd name="connsiteY101" fmla="*/ 611 h 9968"/>
                <a:gd name="connsiteX102" fmla="*/ 1888 w 10000"/>
                <a:gd name="connsiteY102" fmla="*/ 611 h 9968"/>
                <a:gd name="connsiteX103" fmla="*/ 1888 w 10000"/>
                <a:gd name="connsiteY103" fmla="*/ 1061 h 9968"/>
                <a:gd name="connsiteX104" fmla="*/ 1888 w 10000"/>
                <a:gd name="connsiteY104" fmla="*/ 1640 h 9968"/>
                <a:gd name="connsiteX105" fmla="*/ 1285 w 10000"/>
                <a:gd name="connsiteY105" fmla="*/ 1640 h 9968"/>
                <a:gd name="connsiteX106" fmla="*/ 1285 w 10000"/>
                <a:gd name="connsiteY106" fmla="*/ 1897 h 9968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140 w 10000"/>
                <a:gd name="connsiteY39" fmla="*/ 695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92 w 10000"/>
                <a:gd name="connsiteY39" fmla="*/ 6837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877 w 10000"/>
                <a:gd name="connsiteY39" fmla="*/ 7830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4976 w 10000"/>
                <a:gd name="connsiteY39" fmla="*/ 6916 h 10000"/>
                <a:gd name="connsiteX40" fmla="*/ 5337 w 10000"/>
                <a:gd name="connsiteY40" fmla="*/ 6985 h 10000"/>
                <a:gd name="connsiteX41" fmla="*/ 5564 w 10000"/>
                <a:gd name="connsiteY41" fmla="*/ 7108 h 10000"/>
                <a:gd name="connsiteX42" fmla="*/ 5768 w 10000"/>
                <a:gd name="connsiteY42" fmla="*/ 7028 h 10000"/>
                <a:gd name="connsiteX43" fmla="*/ 5933 w 10000"/>
                <a:gd name="connsiteY43" fmla="*/ 6953 h 10000"/>
                <a:gd name="connsiteX44" fmla="*/ 6089 w 10000"/>
                <a:gd name="connsiteY44" fmla="*/ 6788 h 10000"/>
                <a:gd name="connsiteX45" fmla="*/ 6274 w 10000"/>
                <a:gd name="connsiteY45" fmla="*/ 6562 h 10000"/>
                <a:gd name="connsiteX46" fmla="*/ 6389 w 10000"/>
                <a:gd name="connsiteY46" fmla="*/ 6459 h 10000"/>
                <a:gd name="connsiteX47" fmla="*/ 6524 w 10000"/>
                <a:gd name="connsiteY47" fmla="*/ 6417 h 10000"/>
                <a:gd name="connsiteX48" fmla="*/ 6531 w 10000"/>
                <a:gd name="connsiteY48" fmla="*/ 6285 h 10000"/>
                <a:gd name="connsiteX49" fmla="*/ 6424 w 10000"/>
                <a:gd name="connsiteY49" fmla="*/ 5985 h 10000"/>
                <a:gd name="connsiteX50" fmla="*/ 6602 w 10000"/>
                <a:gd name="connsiteY50" fmla="*/ 5992 h 10000"/>
                <a:gd name="connsiteX51" fmla="*/ 6707 w 10000"/>
                <a:gd name="connsiteY51" fmla="*/ 5879 h 10000"/>
                <a:gd name="connsiteX52" fmla="*/ 6876 w 10000"/>
                <a:gd name="connsiteY52" fmla="*/ 5880 h 10000"/>
                <a:gd name="connsiteX53" fmla="*/ 6827 w 10000"/>
                <a:gd name="connsiteY53" fmla="*/ 6579 h 10000"/>
                <a:gd name="connsiteX54" fmla="*/ 6991 w 10000"/>
                <a:gd name="connsiteY54" fmla="*/ 6658 h 10000"/>
                <a:gd name="connsiteX55" fmla="*/ 7275 w 10000"/>
                <a:gd name="connsiteY55" fmla="*/ 6861 h 10000"/>
                <a:gd name="connsiteX56" fmla="*/ 7430 w 10000"/>
                <a:gd name="connsiteY56" fmla="*/ 6548 h 10000"/>
                <a:gd name="connsiteX57" fmla="*/ 7470 w 10000"/>
                <a:gd name="connsiteY57" fmla="*/ 6580 h 10000"/>
                <a:gd name="connsiteX58" fmla="*/ 7590 w 10000"/>
                <a:gd name="connsiteY58" fmla="*/ 6387 h 10000"/>
                <a:gd name="connsiteX59" fmla="*/ 7831 w 10000"/>
                <a:gd name="connsiteY59" fmla="*/ 6290 h 10000"/>
                <a:gd name="connsiteX60" fmla="*/ 7952 w 10000"/>
                <a:gd name="connsiteY60" fmla="*/ 5935 h 10000"/>
                <a:gd name="connsiteX61" fmla="*/ 8313 w 10000"/>
                <a:gd name="connsiteY61" fmla="*/ 5516 h 10000"/>
                <a:gd name="connsiteX62" fmla="*/ 8594 w 10000"/>
                <a:gd name="connsiteY62" fmla="*/ 5322 h 10000"/>
                <a:gd name="connsiteX63" fmla="*/ 8795 w 10000"/>
                <a:gd name="connsiteY63" fmla="*/ 4774 h 10000"/>
                <a:gd name="connsiteX64" fmla="*/ 8795 w 10000"/>
                <a:gd name="connsiteY64" fmla="*/ 4645 h 10000"/>
                <a:gd name="connsiteX65" fmla="*/ 8755 w 10000"/>
                <a:gd name="connsiteY65" fmla="*/ 4323 h 10000"/>
                <a:gd name="connsiteX66" fmla="*/ 9157 w 10000"/>
                <a:gd name="connsiteY66" fmla="*/ 3161 h 10000"/>
                <a:gd name="connsiteX67" fmla="*/ 9277 w 10000"/>
                <a:gd name="connsiteY67" fmla="*/ 3161 h 10000"/>
                <a:gd name="connsiteX68" fmla="*/ 9438 w 10000"/>
                <a:gd name="connsiteY68" fmla="*/ 3065 h 10000"/>
                <a:gd name="connsiteX69" fmla="*/ 9920 w 10000"/>
                <a:gd name="connsiteY69" fmla="*/ 2903 h 10000"/>
                <a:gd name="connsiteX70" fmla="*/ 10000 w 10000"/>
                <a:gd name="connsiteY70" fmla="*/ 2645 h 10000"/>
                <a:gd name="connsiteX71" fmla="*/ 9960 w 10000"/>
                <a:gd name="connsiteY71" fmla="*/ 2580 h 10000"/>
                <a:gd name="connsiteX72" fmla="*/ 9799 w 10000"/>
                <a:gd name="connsiteY72" fmla="*/ 2580 h 10000"/>
                <a:gd name="connsiteX73" fmla="*/ 9679 w 10000"/>
                <a:gd name="connsiteY73" fmla="*/ 2420 h 10000"/>
                <a:gd name="connsiteX74" fmla="*/ 9438 w 10000"/>
                <a:gd name="connsiteY74" fmla="*/ 2355 h 10000"/>
                <a:gd name="connsiteX75" fmla="*/ 9317 w 10000"/>
                <a:gd name="connsiteY75" fmla="*/ 2226 h 10000"/>
                <a:gd name="connsiteX76" fmla="*/ 9237 w 10000"/>
                <a:gd name="connsiteY76" fmla="*/ 1742 h 10000"/>
                <a:gd name="connsiteX77" fmla="*/ 9237 w 10000"/>
                <a:gd name="connsiteY77" fmla="*/ 1064 h 10000"/>
                <a:gd name="connsiteX78" fmla="*/ 9036 w 10000"/>
                <a:gd name="connsiteY78" fmla="*/ 839 h 10000"/>
                <a:gd name="connsiteX79" fmla="*/ 8996 w 10000"/>
                <a:gd name="connsiteY79" fmla="*/ 613 h 10000"/>
                <a:gd name="connsiteX80" fmla="*/ 8675 w 10000"/>
                <a:gd name="connsiteY80" fmla="*/ 290 h 10000"/>
                <a:gd name="connsiteX81" fmla="*/ 8394 w 10000"/>
                <a:gd name="connsiteY81" fmla="*/ 162 h 10000"/>
                <a:gd name="connsiteX82" fmla="*/ 8233 w 10000"/>
                <a:gd name="connsiteY82" fmla="*/ 0 h 10000"/>
                <a:gd name="connsiteX83" fmla="*/ 7992 w 10000"/>
                <a:gd name="connsiteY83" fmla="*/ 162 h 10000"/>
                <a:gd name="connsiteX84" fmla="*/ 7831 w 10000"/>
                <a:gd name="connsiteY84" fmla="*/ 129 h 10000"/>
                <a:gd name="connsiteX85" fmla="*/ 7711 w 10000"/>
                <a:gd name="connsiteY85" fmla="*/ 419 h 10000"/>
                <a:gd name="connsiteX86" fmla="*/ 7390 w 10000"/>
                <a:gd name="connsiteY86" fmla="*/ 484 h 10000"/>
                <a:gd name="connsiteX87" fmla="*/ 7309 w 10000"/>
                <a:gd name="connsiteY87" fmla="*/ 709 h 10000"/>
                <a:gd name="connsiteX88" fmla="*/ 7028 w 10000"/>
                <a:gd name="connsiteY88" fmla="*/ 709 h 10000"/>
                <a:gd name="connsiteX89" fmla="*/ 6787 w 10000"/>
                <a:gd name="connsiteY89" fmla="*/ 613 h 10000"/>
                <a:gd name="connsiteX90" fmla="*/ 6265 w 10000"/>
                <a:gd name="connsiteY90" fmla="*/ 613 h 10000"/>
                <a:gd name="connsiteX91" fmla="*/ 5743 w 10000"/>
                <a:gd name="connsiteY91" fmla="*/ 613 h 10000"/>
                <a:gd name="connsiteX92" fmla="*/ 5783 w 10000"/>
                <a:gd name="connsiteY92" fmla="*/ 484 h 10000"/>
                <a:gd name="connsiteX93" fmla="*/ 5703 w 10000"/>
                <a:gd name="connsiteY93" fmla="*/ 484 h 10000"/>
                <a:gd name="connsiteX94" fmla="*/ 5663 w 10000"/>
                <a:gd name="connsiteY94" fmla="*/ 613 h 10000"/>
                <a:gd name="connsiteX95" fmla="*/ 5181 w 10000"/>
                <a:gd name="connsiteY95" fmla="*/ 613 h 10000"/>
                <a:gd name="connsiteX96" fmla="*/ 4699 w 10000"/>
                <a:gd name="connsiteY96" fmla="*/ 613 h 10000"/>
                <a:gd name="connsiteX97" fmla="*/ 4217 w 10000"/>
                <a:gd name="connsiteY97" fmla="*/ 613 h 10000"/>
                <a:gd name="connsiteX98" fmla="*/ 3735 w 10000"/>
                <a:gd name="connsiteY98" fmla="*/ 613 h 10000"/>
                <a:gd name="connsiteX99" fmla="*/ 3293 w 10000"/>
                <a:gd name="connsiteY99" fmla="*/ 613 h 10000"/>
                <a:gd name="connsiteX100" fmla="*/ 2811 w 10000"/>
                <a:gd name="connsiteY100" fmla="*/ 613 h 10000"/>
                <a:gd name="connsiteX101" fmla="*/ 2369 w 10000"/>
                <a:gd name="connsiteY101" fmla="*/ 613 h 10000"/>
                <a:gd name="connsiteX102" fmla="*/ 1888 w 10000"/>
                <a:gd name="connsiteY102" fmla="*/ 613 h 10000"/>
                <a:gd name="connsiteX103" fmla="*/ 1888 w 10000"/>
                <a:gd name="connsiteY103" fmla="*/ 1064 h 10000"/>
                <a:gd name="connsiteX104" fmla="*/ 1888 w 10000"/>
                <a:gd name="connsiteY104" fmla="*/ 1645 h 10000"/>
                <a:gd name="connsiteX105" fmla="*/ 1285 w 10000"/>
                <a:gd name="connsiteY105" fmla="*/ 1645 h 10000"/>
                <a:gd name="connsiteX106" fmla="*/ 1285 w 10000"/>
                <a:gd name="connsiteY106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542 w 10000"/>
                <a:gd name="connsiteY38" fmla="*/ 9936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5462 w 10000"/>
                <a:gd name="connsiteY37" fmla="*/ 10000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10000"/>
                <a:gd name="connsiteX1" fmla="*/ 1285 w 10000"/>
                <a:gd name="connsiteY1" fmla="*/ 2420 h 10000"/>
                <a:gd name="connsiteX2" fmla="*/ 1285 w 10000"/>
                <a:gd name="connsiteY2" fmla="*/ 2903 h 10000"/>
                <a:gd name="connsiteX3" fmla="*/ 1285 w 10000"/>
                <a:gd name="connsiteY3" fmla="*/ 3387 h 10000"/>
                <a:gd name="connsiteX4" fmla="*/ 1285 w 10000"/>
                <a:gd name="connsiteY4" fmla="*/ 3838 h 10000"/>
                <a:gd name="connsiteX5" fmla="*/ 643 w 10000"/>
                <a:gd name="connsiteY5" fmla="*/ 3936 h 10000"/>
                <a:gd name="connsiteX6" fmla="*/ 522 w 10000"/>
                <a:gd name="connsiteY6" fmla="*/ 4193 h 10000"/>
                <a:gd name="connsiteX7" fmla="*/ 241 w 10000"/>
                <a:gd name="connsiteY7" fmla="*/ 4516 h 10000"/>
                <a:gd name="connsiteX8" fmla="*/ 241 w 10000"/>
                <a:gd name="connsiteY8" fmla="*/ 4774 h 10000"/>
                <a:gd name="connsiteX9" fmla="*/ 120 w 10000"/>
                <a:gd name="connsiteY9" fmla="*/ 4838 h 10000"/>
                <a:gd name="connsiteX10" fmla="*/ 120 w 10000"/>
                <a:gd name="connsiteY10" fmla="*/ 5064 h 10000"/>
                <a:gd name="connsiteX11" fmla="*/ 0 w 10000"/>
                <a:gd name="connsiteY11" fmla="*/ 5258 h 10000"/>
                <a:gd name="connsiteX12" fmla="*/ 0 w 10000"/>
                <a:gd name="connsiteY12" fmla="*/ 5419 h 10000"/>
                <a:gd name="connsiteX13" fmla="*/ 241 w 10000"/>
                <a:gd name="connsiteY13" fmla="*/ 5387 h 10000"/>
                <a:gd name="connsiteX14" fmla="*/ 281 w 10000"/>
                <a:gd name="connsiteY14" fmla="*/ 5677 h 10000"/>
                <a:gd name="connsiteX15" fmla="*/ 602 w 10000"/>
                <a:gd name="connsiteY15" fmla="*/ 6194 h 10000"/>
                <a:gd name="connsiteX16" fmla="*/ 602 w 10000"/>
                <a:gd name="connsiteY16" fmla="*/ 6226 h 10000"/>
                <a:gd name="connsiteX17" fmla="*/ 482 w 10000"/>
                <a:gd name="connsiteY17" fmla="*/ 6258 h 10000"/>
                <a:gd name="connsiteX18" fmla="*/ 964 w 10000"/>
                <a:gd name="connsiteY18" fmla="*/ 6774 h 10000"/>
                <a:gd name="connsiteX19" fmla="*/ 1004 w 10000"/>
                <a:gd name="connsiteY19" fmla="*/ 6935 h 10000"/>
                <a:gd name="connsiteX20" fmla="*/ 964 w 10000"/>
                <a:gd name="connsiteY20" fmla="*/ 7387 h 10000"/>
                <a:gd name="connsiteX21" fmla="*/ 1044 w 10000"/>
                <a:gd name="connsiteY21" fmla="*/ 7452 h 10000"/>
                <a:gd name="connsiteX22" fmla="*/ 1365 w 10000"/>
                <a:gd name="connsiteY22" fmla="*/ 7484 h 10000"/>
                <a:gd name="connsiteX23" fmla="*/ 1406 w 10000"/>
                <a:gd name="connsiteY23" fmla="*/ 7612 h 10000"/>
                <a:gd name="connsiteX24" fmla="*/ 1767 w 10000"/>
                <a:gd name="connsiteY24" fmla="*/ 7645 h 10000"/>
                <a:gd name="connsiteX25" fmla="*/ 1968 w 10000"/>
                <a:gd name="connsiteY25" fmla="*/ 7774 h 10000"/>
                <a:gd name="connsiteX26" fmla="*/ 2008 w 10000"/>
                <a:gd name="connsiteY26" fmla="*/ 8000 h 10000"/>
                <a:gd name="connsiteX27" fmla="*/ 2651 w 10000"/>
                <a:gd name="connsiteY27" fmla="*/ 8387 h 10000"/>
                <a:gd name="connsiteX28" fmla="*/ 2811 w 10000"/>
                <a:gd name="connsiteY28" fmla="*/ 8774 h 10000"/>
                <a:gd name="connsiteX29" fmla="*/ 3253 w 10000"/>
                <a:gd name="connsiteY29" fmla="*/ 8968 h 10000"/>
                <a:gd name="connsiteX30" fmla="*/ 3414 w 10000"/>
                <a:gd name="connsiteY30" fmla="*/ 9226 h 10000"/>
                <a:gd name="connsiteX31" fmla="*/ 3735 w 10000"/>
                <a:gd name="connsiteY31" fmla="*/ 9549 h 10000"/>
                <a:gd name="connsiteX32" fmla="*/ 3976 w 10000"/>
                <a:gd name="connsiteY32" fmla="*/ 9645 h 10000"/>
                <a:gd name="connsiteX33" fmla="*/ 4137 w 10000"/>
                <a:gd name="connsiteY33" fmla="*/ 9549 h 10000"/>
                <a:gd name="connsiteX34" fmla="*/ 4538 w 10000"/>
                <a:gd name="connsiteY34" fmla="*/ 9581 h 10000"/>
                <a:gd name="connsiteX35" fmla="*/ 4699 w 10000"/>
                <a:gd name="connsiteY35" fmla="*/ 9516 h 10000"/>
                <a:gd name="connsiteX36" fmla="*/ 5422 w 10000"/>
                <a:gd name="connsiteY36" fmla="*/ 10000 h 10000"/>
                <a:gd name="connsiteX37" fmla="*/ 4901 w 10000"/>
                <a:gd name="connsiteY37" fmla="*/ 6794 h 10000"/>
                <a:gd name="connsiteX38" fmla="*/ 5080 w 10000"/>
                <a:gd name="connsiteY38" fmla="*/ 6889 h 10000"/>
                <a:gd name="connsiteX39" fmla="*/ 5337 w 10000"/>
                <a:gd name="connsiteY39" fmla="*/ 6985 h 10000"/>
                <a:gd name="connsiteX40" fmla="*/ 5564 w 10000"/>
                <a:gd name="connsiteY40" fmla="*/ 7108 h 10000"/>
                <a:gd name="connsiteX41" fmla="*/ 5768 w 10000"/>
                <a:gd name="connsiteY41" fmla="*/ 7028 h 10000"/>
                <a:gd name="connsiteX42" fmla="*/ 5933 w 10000"/>
                <a:gd name="connsiteY42" fmla="*/ 6953 h 10000"/>
                <a:gd name="connsiteX43" fmla="*/ 6089 w 10000"/>
                <a:gd name="connsiteY43" fmla="*/ 6788 h 10000"/>
                <a:gd name="connsiteX44" fmla="*/ 6274 w 10000"/>
                <a:gd name="connsiteY44" fmla="*/ 6562 h 10000"/>
                <a:gd name="connsiteX45" fmla="*/ 6389 w 10000"/>
                <a:gd name="connsiteY45" fmla="*/ 6459 h 10000"/>
                <a:gd name="connsiteX46" fmla="*/ 6524 w 10000"/>
                <a:gd name="connsiteY46" fmla="*/ 6417 h 10000"/>
                <a:gd name="connsiteX47" fmla="*/ 6531 w 10000"/>
                <a:gd name="connsiteY47" fmla="*/ 6285 h 10000"/>
                <a:gd name="connsiteX48" fmla="*/ 6424 w 10000"/>
                <a:gd name="connsiteY48" fmla="*/ 5985 h 10000"/>
                <a:gd name="connsiteX49" fmla="*/ 6602 w 10000"/>
                <a:gd name="connsiteY49" fmla="*/ 5992 h 10000"/>
                <a:gd name="connsiteX50" fmla="*/ 6707 w 10000"/>
                <a:gd name="connsiteY50" fmla="*/ 5879 h 10000"/>
                <a:gd name="connsiteX51" fmla="*/ 6876 w 10000"/>
                <a:gd name="connsiteY51" fmla="*/ 5880 h 10000"/>
                <a:gd name="connsiteX52" fmla="*/ 6827 w 10000"/>
                <a:gd name="connsiteY52" fmla="*/ 6579 h 10000"/>
                <a:gd name="connsiteX53" fmla="*/ 6991 w 10000"/>
                <a:gd name="connsiteY53" fmla="*/ 6658 h 10000"/>
                <a:gd name="connsiteX54" fmla="*/ 7275 w 10000"/>
                <a:gd name="connsiteY54" fmla="*/ 6861 h 10000"/>
                <a:gd name="connsiteX55" fmla="*/ 7430 w 10000"/>
                <a:gd name="connsiteY55" fmla="*/ 6548 h 10000"/>
                <a:gd name="connsiteX56" fmla="*/ 7470 w 10000"/>
                <a:gd name="connsiteY56" fmla="*/ 6580 h 10000"/>
                <a:gd name="connsiteX57" fmla="*/ 7590 w 10000"/>
                <a:gd name="connsiteY57" fmla="*/ 6387 h 10000"/>
                <a:gd name="connsiteX58" fmla="*/ 7831 w 10000"/>
                <a:gd name="connsiteY58" fmla="*/ 6290 h 10000"/>
                <a:gd name="connsiteX59" fmla="*/ 7952 w 10000"/>
                <a:gd name="connsiteY59" fmla="*/ 5935 h 10000"/>
                <a:gd name="connsiteX60" fmla="*/ 8313 w 10000"/>
                <a:gd name="connsiteY60" fmla="*/ 5516 h 10000"/>
                <a:gd name="connsiteX61" fmla="*/ 8594 w 10000"/>
                <a:gd name="connsiteY61" fmla="*/ 5322 h 10000"/>
                <a:gd name="connsiteX62" fmla="*/ 8795 w 10000"/>
                <a:gd name="connsiteY62" fmla="*/ 4774 h 10000"/>
                <a:gd name="connsiteX63" fmla="*/ 8795 w 10000"/>
                <a:gd name="connsiteY63" fmla="*/ 4645 h 10000"/>
                <a:gd name="connsiteX64" fmla="*/ 8755 w 10000"/>
                <a:gd name="connsiteY64" fmla="*/ 4323 h 10000"/>
                <a:gd name="connsiteX65" fmla="*/ 9157 w 10000"/>
                <a:gd name="connsiteY65" fmla="*/ 3161 h 10000"/>
                <a:gd name="connsiteX66" fmla="*/ 9277 w 10000"/>
                <a:gd name="connsiteY66" fmla="*/ 3161 h 10000"/>
                <a:gd name="connsiteX67" fmla="*/ 9438 w 10000"/>
                <a:gd name="connsiteY67" fmla="*/ 3065 h 10000"/>
                <a:gd name="connsiteX68" fmla="*/ 9920 w 10000"/>
                <a:gd name="connsiteY68" fmla="*/ 2903 h 10000"/>
                <a:gd name="connsiteX69" fmla="*/ 10000 w 10000"/>
                <a:gd name="connsiteY69" fmla="*/ 2645 h 10000"/>
                <a:gd name="connsiteX70" fmla="*/ 9960 w 10000"/>
                <a:gd name="connsiteY70" fmla="*/ 2580 h 10000"/>
                <a:gd name="connsiteX71" fmla="*/ 9799 w 10000"/>
                <a:gd name="connsiteY71" fmla="*/ 2580 h 10000"/>
                <a:gd name="connsiteX72" fmla="*/ 9679 w 10000"/>
                <a:gd name="connsiteY72" fmla="*/ 2420 h 10000"/>
                <a:gd name="connsiteX73" fmla="*/ 9438 w 10000"/>
                <a:gd name="connsiteY73" fmla="*/ 2355 h 10000"/>
                <a:gd name="connsiteX74" fmla="*/ 9317 w 10000"/>
                <a:gd name="connsiteY74" fmla="*/ 2226 h 10000"/>
                <a:gd name="connsiteX75" fmla="*/ 9237 w 10000"/>
                <a:gd name="connsiteY75" fmla="*/ 1742 h 10000"/>
                <a:gd name="connsiteX76" fmla="*/ 9237 w 10000"/>
                <a:gd name="connsiteY76" fmla="*/ 1064 h 10000"/>
                <a:gd name="connsiteX77" fmla="*/ 9036 w 10000"/>
                <a:gd name="connsiteY77" fmla="*/ 839 h 10000"/>
                <a:gd name="connsiteX78" fmla="*/ 8996 w 10000"/>
                <a:gd name="connsiteY78" fmla="*/ 613 h 10000"/>
                <a:gd name="connsiteX79" fmla="*/ 8675 w 10000"/>
                <a:gd name="connsiteY79" fmla="*/ 290 h 10000"/>
                <a:gd name="connsiteX80" fmla="*/ 8394 w 10000"/>
                <a:gd name="connsiteY80" fmla="*/ 162 h 10000"/>
                <a:gd name="connsiteX81" fmla="*/ 8233 w 10000"/>
                <a:gd name="connsiteY81" fmla="*/ 0 h 10000"/>
                <a:gd name="connsiteX82" fmla="*/ 7992 w 10000"/>
                <a:gd name="connsiteY82" fmla="*/ 162 h 10000"/>
                <a:gd name="connsiteX83" fmla="*/ 7831 w 10000"/>
                <a:gd name="connsiteY83" fmla="*/ 129 h 10000"/>
                <a:gd name="connsiteX84" fmla="*/ 7711 w 10000"/>
                <a:gd name="connsiteY84" fmla="*/ 419 h 10000"/>
                <a:gd name="connsiteX85" fmla="*/ 7390 w 10000"/>
                <a:gd name="connsiteY85" fmla="*/ 484 h 10000"/>
                <a:gd name="connsiteX86" fmla="*/ 7309 w 10000"/>
                <a:gd name="connsiteY86" fmla="*/ 709 h 10000"/>
                <a:gd name="connsiteX87" fmla="*/ 7028 w 10000"/>
                <a:gd name="connsiteY87" fmla="*/ 709 h 10000"/>
                <a:gd name="connsiteX88" fmla="*/ 6787 w 10000"/>
                <a:gd name="connsiteY88" fmla="*/ 613 h 10000"/>
                <a:gd name="connsiteX89" fmla="*/ 6265 w 10000"/>
                <a:gd name="connsiteY89" fmla="*/ 613 h 10000"/>
                <a:gd name="connsiteX90" fmla="*/ 5743 w 10000"/>
                <a:gd name="connsiteY90" fmla="*/ 613 h 10000"/>
                <a:gd name="connsiteX91" fmla="*/ 5783 w 10000"/>
                <a:gd name="connsiteY91" fmla="*/ 484 h 10000"/>
                <a:gd name="connsiteX92" fmla="*/ 5703 w 10000"/>
                <a:gd name="connsiteY92" fmla="*/ 484 h 10000"/>
                <a:gd name="connsiteX93" fmla="*/ 5663 w 10000"/>
                <a:gd name="connsiteY93" fmla="*/ 613 h 10000"/>
                <a:gd name="connsiteX94" fmla="*/ 5181 w 10000"/>
                <a:gd name="connsiteY94" fmla="*/ 613 h 10000"/>
                <a:gd name="connsiteX95" fmla="*/ 4699 w 10000"/>
                <a:gd name="connsiteY95" fmla="*/ 613 h 10000"/>
                <a:gd name="connsiteX96" fmla="*/ 4217 w 10000"/>
                <a:gd name="connsiteY96" fmla="*/ 613 h 10000"/>
                <a:gd name="connsiteX97" fmla="*/ 3735 w 10000"/>
                <a:gd name="connsiteY97" fmla="*/ 613 h 10000"/>
                <a:gd name="connsiteX98" fmla="*/ 3293 w 10000"/>
                <a:gd name="connsiteY98" fmla="*/ 613 h 10000"/>
                <a:gd name="connsiteX99" fmla="*/ 2811 w 10000"/>
                <a:gd name="connsiteY99" fmla="*/ 613 h 10000"/>
                <a:gd name="connsiteX100" fmla="*/ 2369 w 10000"/>
                <a:gd name="connsiteY100" fmla="*/ 613 h 10000"/>
                <a:gd name="connsiteX101" fmla="*/ 1888 w 10000"/>
                <a:gd name="connsiteY101" fmla="*/ 613 h 10000"/>
                <a:gd name="connsiteX102" fmla="*/ 1888 w 10000"/>
                <a:gd name="connsiteY102" fmla="*/ 1064 h 10000"/>
                <a:gd name="connsiteX103" fmla="*/ 1888 w 10000"/>
                <a:gd name="connsiteY103" fmla="*/ 1645 h 10000"/>
                <a:gd name="connsiteX104" fmla="*/ 1285 w 10000"/>
                <a:gd name="connsiteY104" fmla="*/ 1645 h 10000"/>
                <a:gd name="connsiteX105" fmla="*/ 1285 w 10000"/>
                <a:gd name="connsiteY105" fmla="*/ 1903 h 10000"/>
                <a:gd name="connsiteX0" fmla="*/ 1285 w 10000"/>
                <a:gd name="connsiteY0" fmla="*/ 1903 h 9645"/>
                <a:gd name="connsiteX1" fmla="*/ 1285 w 10000"/>
                <a:gd name="connsiteY1" fmla="*/ 2420 h 9645"/>
                <a:gd name="connsiteX2" fmla="*/ 1285 w 10000"/>
                <a:gd name="connsiteY2" fmla="*/ 2903 h 9645"/>
                <a:gd name="connsiteX3" fmla="*/ 1285 w 10000"/>
                <a:gd name="connsiteY3" fmla="*/ 3387 h 9645"/>
                <a:gd name="connsiteX4" fmla="*/ 1285 w 10000"/>
                <a:gd name="connsiteY4" fmla="*/ 3838 h 9645"/>
                <a:gd name="connsiteX5" fmla="*/ 643 w 10000"/>
                <a:gd name="connsiteY5" fmla="*/ 3936 h 9645"/>
                <a:gd name="connsiteX6" fmla="*/ 522 w 10000"/>
                <a:gd name="connsiteY6" fmla="*/ 4193 h 9645"/>
                <a:gd name="connsiteX7" fmla="*/ 241 w 10000"/>
                <a:gd name="connsiteY7" fmla="*/ 4516 h 9645"/>
                <a:gd name="connsiteX8" fmla="*/ 241 w 10000"/>
                <a:gd name="connsiteY8" fmla="*/ 4774 h 9645"/>
                <a:gd name="connsiteX9" fmla="*/ 120 w 10000"/>
                <a:gd name="connsiteY9" fmla="*/ 4838 h 9645"/>
                <a:gd name="connsiteX10" fmla="*/ 120 w 10000"/>
                <a:gd name="connsiteY10" fmla="*/ 5064 h 9645"/>
                <a:gd name="connsiteX11" fmla="*/ 0 w 10000"/>
                <a:gd name="connsiteY11" fmla="*/ 5258 h 9645"/>
                <a:gd name="connsiteX12" fmla="*/ 0 w 10000"/>
                <a:gd name="connsiteY12" fmla="*/ 5419 h 9645"/>
                <a:gd name="connsiteX13" fmla="*/ 241 w 10000"/>
                <a:gd name="connsiteY13" fmla="*/ 5387 h 9645"/>
                <a:gd name="connsiteX14" fmla="*/ 281 w 10000"/>
                <a:gd name="connsiteY14" fmla="*/ 5677 h 9645"/>
                <a:gd name="connsiteX15" fmla="*/ 602 w 10000"/>
                <a:gd name="connsiteY15" fmla="*/ 6194 h 9645"/>
                <a:gd name="connsiteX16" fmla="*/ 602 w 10000"/>
                <a:gd name="connsiteY16" fmla="*/ 6226 h 9645"/>
                <a:gd name="connsiteX17" fmla="*/ 482 w 10000"/>
                <a:gd name="connsiteY17" fmla="*/ 6258 h 9645"/>
                <a:gd name="connsiteX18" fmla="*/ 964 w 10000"/>
                <a:gd name="connsiteY18" fmla="*/ 6774 h 9645"/>
                <a:gd name="connsiteX19" fmla="*/ 1004 w 10000"/>
                <a:gd name="connsiteY19" fmla="*/ 6935 h 9645"/>
                <a:gd name="connsiteX20" fmla="*/ 964 w 10000"/>
                <a:gd name="connsiteY20" fmla="*/ 7387 h 9645"/>
                <a:gd name="connsiteX21" fmla="*/ 1044 w 10000"/>
                <a:gd name="connsiteY21" fmla="*/ 7452 h 9645"/>
                <a:gd name="connsiteX22" fmla="*/ 1365 w 10000"/>
                <a:gd name="connsiteY22" fmla="*/ 7484 h 9645"/>
                <a:gd name="connsiteX23" fmla="*/ 1406 w 10000"/>
                <a:gd name="connsiteY23" fmla="*/ 7612 h 9645"/>
                <a:gd name="connsiteX24" fmla="*/ 1767 w 10000"/>
                <a:gd name="connsiteY24" fmla="*/ 7645 h 9645"/>
                <a:gd name="connsiteX25" fmla="*/ 1968 w 10000"/>
                <a:gd name="connsiteY25" fmla="*/ 7774 h 9645"/>
                <a:gd name="connsiteX26" fmla="*/ 2008 w 10000"/>
                <a:gd name="connsiteY26" fmla="*/ 8000 h 9645"/>
                <a:gd name="connsiteX27" fmla="*/ 2651 w 10000"/>
                <a:gd name="connsiteY27" fmla="*/ 8387 h 9645"/>
                <a:gd name="connsiteX28" fmla="*/ 2811 w 10000"/>
                <a:gd name="connsiteY28" fmla="*/ 8774 h 9645"/>
                <a:gd name="connsiteX29" fmla="*/ 3253 w 10000"/>
                <a:gd name="connsiteY29" fmla="*/ 8968 h 9645"/>
                <a:gd name="connsiteX30" fmla="*/ 3414 w 10000"/>
                <a:gd name="connsiteY30" fmla="*/ 9226 h 9645"/>
                <a:gd name="connsiteX31" fmla="*/ 3735 w 10000"/>
                <a:gd name="connsiteY31" fmla="*/ 9549 h 9645"/>
                <a:gd name="connsiteX32" fmla="*/ 3976 w 10000"/>
                <a:gd name="connsiteY32" fmla="*/ 9645 h 9645"/>
                <a:gd name="connsiteX33" fmla="*/ 4137 w 10000"/>
                <a:gd name="connsiteY33" fmla="*/ 9549 h 9645"/>
                <a:gd name="connsiteX34" fmla="*/ 4538 w 10000"/>
                <a:gd name="connsiteY34" fmla="*/ 9581 h 9645"/>
                <a:gd name="connsiteX35" fmla="*/ 4699 w 10000"/>
                <a:gd name="connsiteY35" fmla="*/ 9516 h 9645"/>
                <a:gd name="connsiteX36" fmla="*/ 4762 w 10000"/>
                <a:gd name="connsiteY36" fmla="*/ 6927 h 9645"/>
                <a:gd name="connsiteX37" fmla="*/ 4901 w 10000"/>
                <a:gd name="connsiteY37" fmla="*/ 6794 h 9645"/>
                <a:gd name="connsiteX38" fmla="*/ 5080 w 10000"/>
                <a:gd name="connsiteY38" fmla="*/ 6889 h 9645"/>
                <a:gd name="connsiteX39" fmla="*/ 5337 w 10000"/>
                <a:gd name="connsiteY39" fmla="*/ 6985 h 9645"/>
                <a:gd name="connsiteX40" fmla="*/ 5564 w 10000"/>
                <a:gd name="connsiteY40" fmla="*/ 7108 h 9645"/>
                <a:gd name="connsiteX41" fmla="*/ 5768 w 10000"/>
                <a:gd name="connsiteY41" fmla="*/ 7028 h 9645"/>
                <a:gd name="connsiteX42" fmla="*/ 5933 w 10000"/>
                <a:gd name="connsiteY42" fmla="*/ 6953 h 9645"/>
                <a:gd name="connsiteX43" fmla="*/ 6089 w 10000"/>
                <a:gd name="connsiteY43" fmla="*/ 6788 h 9645"/>
                <a:gd name="connsiteX44" fmla="*/ 6274 w 10000"/>
                <a:gd name="connsiteY44" fmla="*/ 6562 h 9645"/>
                <a:gd name="connsiteX45" fmla="*/ 6389 w 10000"/>
                <a:gd name="connsiteY45" fmla="*/ 6459 h 9645"/>
                <a:gd name="connsiteX46" fmla="*/ 6524 w 10000"/>
                <a:gd name="connsiteY46" fmla="*/ 6417 h 9645"/>
                <a:gd name="connsiteX47" fmla="*/ 6531 w 10000"/>
                <a:gd name="connsiteY47" fmla="*/ 6285 h 9645"/>
                <a:gd name="connsiteX48" fmla="*/ 6424 w 10000"/>
                <a:gd name="connsiteY48" fmla="*/ 5985 h 9645"/>
                <a:gd name="connsiteX49" fmla="*/ 6602 w 10000"/>
                <a:gd name="connsiteY49" fmla="*/ 5992 h 9645"/>
                <a:gd name="connsiteX50" fmla="*/ 6707 w 10000"/>
                <a:gd name="connsiteY50" fmla="*/ 5879 h 9645"/>
                <a:gd name="connsiteX51" fmla="*/ 6876 w 10000"/>
                <a:gd name="connsiteY51" fmla="*/ 5880 h 9645"/>
                <a:gd name="connsiteX52" fmla="*/ 6827 w 10000"/>
                <a:gd name="connsiteY52" fmla="*/ 6579 h 9645"/>
                <a:gd name="connsiteX53" fmla="*/ 6991 w 10000"/>
                <a:gd name="connsiteY53" fmla="*/ 6658 h 9645"/>
                <a:gd name="connsiteX54" fmla="*/ 7275 w 10000"/>
                <a:gd name="connsiteY54" fmla="*/ 6861 h 9645"/>
                <a:gd name="connsiteX55" fmla="*/ 7430 w 10000"/>
                <a:gd name="connsiteY55" fmla="*/ 6548 h 9645"/>
                <a:gd name="connsiteX56" fmla="*/ 7470 w 10000"/>
                <a:gd name="connsiteY56" fmla="*/ 6580 h 9645"/>
                <a:gd name="connsiteX57" fmla="*/ 7590 w 10000"/>
                <a:gd name="connsiteY57" fmla="*/ 6387 h 9645"/>
                <a:gd name="connsiteX58" fmla="*/ 7831 w 10000"/>
                <a:gd name="connsiteY58" fmla="*/ 6290 h 9645"/>
                <a:gd name="connsiteX59" fmla="*/ 7952 w 10000"/>
                <a:gd name="connsiteY59" fmla="*/ 5935 h 9645"/>
                <a:gd name="connsiteX60" fmla="*/ 8313 w 10000"/>
                <a:gd name="connsiteY60" fmla="*/ 5516 h 9645"/>
                <a:gd name="connsiteX61" fmla="*/ 8594 w 10000"/>
                <a:gd name="connsiteY61" fmla="*/ 5322 h 9645"/>
                <a:gd name="connsiteX62" fmla="*/ 8795 w 10000"/>
                <a:gd name="connsiteY62" fmla="*/ 4774 h 9645"/>
                <a:gd name="connsiteX63" fmla="*/ 8795 w 10000"/>
                <a:gd name="connsiteY63" fmla="*/ 4645 h 9645"/>
                <a:gd name="connsiteX64" fmla="*/ 8755 w 10000"/>
                <a:gd name="connsiteY64" fmla="*/ 4323 h 9645"/>
                <a:gd name="connsiteX65" fmla="*/ 9157 w 10000"/>
                <a:gd name="connsiteY65" fmla="*/ 3161 h 9645"/>
                <a:gd name="connsiteX66" fmla="*/ 9277 w 10000"/>
                <a:gd name="connsiteY66" fmla="*/ 3161 h 9645"/>
                <a:gd name="connsiteX67" fmla="*/ 9438 w 10000"/>
                <a:gd name="connsiteY67" fmla="*/ 3065 h 9645"/>
                <a:gd name="connsiteX68" fmla="*/ 9920 w 10000"/>
                <a:gd name="connsiteY68" fmla="*/ 2903 h 9645"/>
                <a:gd name="connsiteX69" fmla="*/ 10000 w 10000"/>
                <a:gd name="connsiteY69" fmla="*/ 2645 h 9645"/>
                <a:gd name="connsiteX70" fmla="*/ 9960 w 10000"/>
                <a:gd name="connsiteY70" fmla="*/ 2580 h 9645"/>
                <a:gd name="connsiteX71" fmla="*/ 9799 w 10000"/>
                <a:gd name="connsiteY71" fmla="*/ 2580 h 9645"/>
                <a:gd name="connsiteX72" fmla="*/ 9679 w 10000"/>
                <a:gd name="connsiteY72" fmla="*/ 2420 h 9645"/>
                <a:gd name="connsiteX73" fmla="*/ 9438 w 10000"/>
                <a:gd name="connsiteY73" fmla="*/ 2355 h 9645"/>
                <a:gd name="connsiteX74" fmla="*/ 9317 w 10000"/>
                <a:gd name="connsiteY74" fmla="*/ 2226 h 9645"/>
                <a:gd name="connsiteX75" fmla="*/ 9237 w 10000"/>
                <a:gd name="connsiteY75" fmla="*/ 1742 h 9645"/>
                <a:gd name="connsiteX76" fmla="*/ 9237 w 10000"/>
                <a:gd name="connsiteY76" fmla="*/ 1064 h 9645"/>
                <a:gd name="connsiteX77" fmla="*/ 9036 w 10000"/>
                <a:gd name="connsiteY77" fmla="*/ 839 h 9645"/>
                <a:gd name="connsiteX78" fmla="*/ 8996 w 10000"/>
                <a:gd name="connsiteY78" fmla="*/ 613 h 9645"/>
                <a:gd name="connsiteX79" fmla="*/ 8675 w 10000"/>
                <a:gd name="connsiteY79" fmla="*/ 290 h 9645"/>
                <a:gd name="connsiteX80" fmla="*/ 8394 w 10000"/>
                <a:gd name="connsiteY80" fmla="*/ 162 h 9645"/>
                <a:gd name="connsiteX81" fmla="*/ 8233 w 10000"/>
                <a:gd name="connsiteY81" fmla="*/ 0 h 9645"/>
                <a:gd name="connsiteX82" fmla="*/ 7992 w 10000"/>
                <a:gd name="connsiteY82" fmla="*/ 162 h 9645"/>
                <a:gd name="connsiteX83" fmla="*/ 7831 w 10000"/>
                <a:gd name="connsiteY83" fmla="*/ 129 h 9645"/>
                <a:gd name="connsiteX84" fmla="*/ 7711 w 10000"/>
                <a:gd name="connsiteY84" fmla="*/ 419 h 9645"/>
                <a:gd name="connsiteX85" fmla="*/ 7390 w 10000"/>
                <a:gd name="connsiteY85" fmla="*/ 484 h 9645"/>
                <a:gd name="connsiteX86" fmla="*/ 7309 w 10000"/>
                <a:gd name="connsiteY86" fmla="*/ 709 h 9645"/>
                <a:gd name="connsiteX87" fmla="*/ 7028 w 10000"/>
                <a:gd name="connsiteY87" fmla="*/ 709 h 9645"/>
                <a:gd name="connsiteX88" fmla="*/ 6787 w 10000"/>
                <a:gd name="connsiteY88" fmla="*/ 613 h 9645"/>
                <a:gd name="connsiteX89" fmla="*/ 6265 w 10000"/>
                <a:gd name="connsiteY89" fmla="*/ 613 h 9645"/>
                <a:gd name="connsiteX90" fmla="*/ 5743 w 10000"/>
                <a:gd name="connsiteY90" fmla="*/ 613 h 9645"/>
                <a:gd name="connsiteX91" fmla="*/ 5783 w 10000"/>
                <a:gd name="connsiteY91" fmla="*/ 484 h 9645"/>
                <a:gd name="connsiteX92" fmla="*/ 5703 w 10000"/>
                <a:gd name="connsiteY92" fmla="*/ 484 h 9645"/>
                <a:gd name="connsiteX93" fmla="*/ 5663 w 10000"/>
                <a:gd name="connsiteY93" fmla="*/ 613 h 9645"/>
                <a:gd name="connsiteX94" fmla="*/ 5181 w 10000"/>
                <a:gd name="connsiteY94" fmla="*/ 613 h 9645"/>
                <a:gd name="connsiteX95" fmla="*/ 4699 w 10000"/>
                <a:gd name="connsiteY95" fmla="*/ 613 h 9645"/>
                <a:gd name="connsiteX96" fmla="*/ 4217 w 10000"/>
                <a:gd name="connsiteY96" fmla="*/ 613 h 9645"/>
                <a:gd name="connsiteX97" fmla="*/ 3735 w 10000"/>
                <a:gd name="connsiteY97" fmla="*/ 613 h 9645"/>
                <a:gd name="connsiteX98" fmla="*/ 3293 w 10000"/>
                <a:gd name="connsiteY98" fmla="*/ 613 h 9645"/>
                <a:gd name="connsiteX99" fmla="*/ 2811 w 10000"/>
                <a:gd name="connsiteY99" fmla="*/ 613 h 9645"/>
                <a:gd name="connsiteX100" fmla="*/ 2369 w 10000"/>
                <a:gd name="connsiteY100" fmla="*/ 613 h 9645"/>
                <a:gd name="connsiteX101" fmla="*/ 1888 w 10000"/>
                <a:gd name="connsiteY101" fmla="*/ 613 h 9645"/>
                <a:gd name="connsiteX102" fmla="*/ 1888 w 10000"/>
                <a:gd name="connsiteY102" fmla="*/ 1064 h 9645"/>
                <a:gd name="connsiteX103" fmla="*/ 1888 w 10000"/>
                <a:gd name="connsiteY103" fmla="*/ 1645 h 9645"/>
                <a:gd name="connsiteX104" fmla="*/ 1285 w 10000"/>
                <a:gd name="connsiteY104" fmla="*/ 1645 h 9645"/>
                <a:gd name="connsiteX105" fmla="*/ 1285 w 10000"/>
                <a:gd name="connsiteY105" fmla="*/ 1903 h 9645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538 w 10000"/>
                <a:gd name="connsiteY34" fmla="*/ 9934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37 w 10000"/>
                <a:gd name="connsiteY33" fmla="*/ 9900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10000"/>
                <a:gd name="connsiteX1" fmla="*/ 1285 w 10000"/>
                <a:gd name="connsiteY1" fmla="*/ 2509 h 10000"/>
                <a:gd name="connsiteX2" fmla="*/ 1285 w 10000"/>
                <a:gd name="connsiteY2" fmla="*/ 3010 h 10000"/>
                <a:gd name="connsiteX3" fmla="*/ 1285 w 10000"/>
                <a:gd name="connsiteY3" fmla="*/ 3512 h 10000"/>
                <a:gd name="connsiteX4" fmla="*/ 1285 w 10000"/>
                <a:gd name="connsiteY4" fmla="*/ 3979 h 10000"/>
                <a:gd name="connsiteX5" fmla="*/ 643 w 10000"/>
                <a:gd name="connsiteY5" fmla="*/ 4081 h 10000"/>
                <a:gd name="connsiteX6" fmla="*/ 522 w 10000"/>
                <a:gd name="connsiteY6" fmla="*/ 4347 h 10000"/>
                <a:gd name="connsiteX7" fmla="*/ 241 w 10000"/>
                <a:gd name="connsiteY7" fmla="*/ 4682 h 10000"/>
                <a:gd name="connsiteX8" fmla="*/ 241 w 10000"/>
                <a:gd name="connsiteY8" fmla="*/ 4950 h 10000"/>
                <a:gd name="connsiteX9" fmla="*/ 120 w 10000"/>
                <a:gd name="connsiteY9" fmla="*/ 5016 h 10000"/>
                <a:gd name="connsiteX10" fmla="*/ 120 w 10000"/>
                <a:gd name="connsiteY10" fmla="*/ 5250 h 10000"/>
                <a:gd name="connsiteX11" fmla="*/ 0 w 10000"/>
                <a:gd name="connsiteY11" fmla="*/ 5452 h 10000"/>
                <a:gd name="connsiteX12" fmla="*/ 0 w 10000"/>
                <a:gd name="connsiteY12" fmla="*/ 5618 h 10000"/>
                <a:gd name="connsiteX13" fmla="*/ 241 w 10000"/>
                <a:gd name="connsiteY13" fmla="*/ 5585 h 10000"/>
                <a:gd name="connsiteX14" fmla="*/ 281 w 10000"/>
                <a:gd name="connsiteY14" fmla="*/ 5886 h 10000"/>
                <a:gd name="connsiteX15" fmla="*/ 602 w 10000"/>
                <a:gd name="connsiteY15" fmla="*/ 6422 h 10000"/>
                <a:gd name="connsiteX16" fmla="*/ 602 w 10000"/>
                <a:gd name="connsiteY16" fmla="*/ 6455 h 10000"/>
                <a:gd name="connsiteX17" fmla="*/ 482 w 10000"/>
                <a:gd name="connsiteY17" fmla="*/ 6488 h 10000"/>
                <a:gd name="connsiteX18" fmla="*/ 964 w 10000"/>
                <a:gd name="connsiteY18" fmla="*/ 7023 h 10000"/>
                <a:gd name="connsiteX19" fmla="*/ 1004 w 10000"/>
                <a:gd name="connsiteY19" fmla="*/ 7190 h 10000"/>
                <a:gd name="connsiteX20" fmla="*/ 964 w 10000"/>
                <a:gd name="connsiteY20" fmla="*/ 7659 h 10000"/>
                <a:gd name="connsiteX21" fmla="*/ 1044 w 10000"/>
                <a:gd name="connsiteY21" fmla="*/ 7726 h 10000"/>
                <a:gd name="connsiteX22" fmla="*/ 1365 w 10000"/>
                <a:gd name="connsiteY22" fmla="*/ 7759 h 10000"/>
                <a:gd name="connsiteX23" fmla="*/ 1406 w 10000"/>
                <a:gd name="connsiteY23" fmla="*/ 7892 h 10000"/>
                <a:gd name="connsiteX24" fmla="*/ 1767 w 10000"/>
                <a:gd name="connsiteY24" fmla="*/ 7926 h 10000"/>
                <a:gd name="connsiteX25" fmla="*/ 1968 w 10000"/>
                <a:gd name="connsiteY25" fmla="*/ 8060 h 10000"/>
                <a:gd name="connsiteX26" fmla="*/ 2008 w 10000"/>
                <a:gd name="connsiteY26" fmla="*/ 8294 h 10000"/>
                <a:gd name="connsiteX27" fmla="*/ 2651 w 10000"/>
                <a:gd name="connsiteY27" fmla="*/ 8696 h 10000"/>
                <a:gd name="connsiteX28" fmla="*/ 2811 w 10000"/>
                <a:gd name="connsiteY28" fmla="*/ 9097 h 10000"/>
                <a:gd name="connsiteX29" fmla="*/ 3253 w 10000"/>
                <a:gd name="connsiteY29" fmla="*/ 9298 h 10000"/>
                <a:gd name="connsiteX30" fmla="*/ 3414 w 10000"/>
                <a:gd name="connsiteY30" fmla="*/ 9566 h 10000"/>
                <a:gd name="connsiteX31" fmla="*/ 3735 w 10000"/>
                <a:gd name="connsiteY31" fmla="*/ 9900 h 10000"/>
                <a:gd name="connsiteX32" fmla="*/ 3976 w 10000"/>
                <a:gd name="connsiteY32" fmla="*/ 10000 h 10000"/>
                <a:gd name="connsiteX33" fmla="*/ 4153 w 10000"/>
                <a:gd name="connsiteY33" fmla="*/ 7579 h 10000"/>
                <a:gd name="connsiteX34" fmla="*/ 4406 w 10000"/>
                <a:gd name="connsiteY34" fmla="*/ 7531 h 10000"/>
                <a:gd name="connsiteX35" fmla="*/ 4600 w 10000"/>
                <a:gd name="connsiteY35" fmla="*/ 7408 h 10000"/>
                <a:gd name="connsiteX36" fmla="*/ 4762 w 10000"/>
                <a:gd name="connsiteY36" fmla="*/ 7182 h 10000"/>
                <a:gd name="connsiteX37" fmla="*/ 4901 w 10000"/>
                <a:gd name="connsiteY37" fmla="*/ 7044 h 10000"/>
                <a:gd name="connsiteX38" fmla="*/ 5080 w 10000"/>
                <a:gd name="connsiteY38" fmla="*/ 7143 h 10000"/>
                <a:gd name="connsiteX39" fmla="*/ 5337 w 10000"/>
                <a:gd name="connsiteY39" fmla="*/ 7242 h 10000"/>
                <a:gd name="connsiteX40" fmla="*/ 5564 w 10000"/>
                <a:gd name="connsiteY40" fmla="*/ 7370 h 10000"/>
                <a:gd name="connsiteX41" fmla="*/ 5768 w 10000"/>
                <a:gd name="connsiteY41" fmla="*/ 7287 h 10000"/>
                <a:gd name="connsiteX42" fmla="*/ 5933 w 10000"/>
                <a:gd name="connsiteY42" fmla="*/ 7209 h 10000"/>
                <a:gd name="connsiteX43" fmla="*/ 6089 w 10000"/>
                <a:gd name="connsiteY43" fmla="*/ 7038 h 10000"/>
                <a:gd name="connsiteX44" fmla="*/ 6274 w 10000"/>
                <a:gd name="connsiteY44" fmla="*/ 6804 h 10000"/>
                <a:gd name="connsiteX45" fmla="*/ 6389 w 10000"/>
                <a:gd name="connsiteY45" fmla="*/ 6697 h 10000"/>
                <a:gd name="connsiteX46" fmla="*/ 6524 w 10000"/>
                <a:gd name="connsiteY46" fmla="*/ 6653 h 10000"/>
                <a:gd name="connsiteX47" fmla="*/ 6531 w 10000"/>
                <a:gd name="connsiteY47" fmla="*/ 6516 h 10000"/>
                <a:gd name="connsiteX48" fmla="*/ 6424 w 10000"/>
                <a:gd name="connsiteY48" fmla="*/ 6205 h 10000"/>
                <a:gd name="connsiteX49" fmla="*/ 6602 w 10000"/>
                <a:gd name="connsiteY49" fmla="*/ 6213 h 10000"/>
                <a:gd name="connsiteX50" fmla="*/ 6707 w 10000"/>
                <a:gd name="connsiteY50" fmla="*/ 6095 h 10000"/>
                <a:gd name="connsiteX51" fmla="*/ 6876 w 10000"/>
                <a:gd name="connsiteY51" fmla="*/ 6096 h 10000"/>
                <a:gd name="connsiteX52" fmla="*/ 6827 w 10000"/>
                <a:gd name="connsiteY52" fmla="*/ 6821 h 10000"/>
                <a:gd name="connsiteX53" fmla="*/ 6991 w 10000"/>
                <a:gd name="connsiteY53" fmla="*/ 6903 h 10000"/>
                <a:gd name="connsiteX54" fmla="*/ 7275 w 10000"/>
                <a:gd name="connsiteY54" fmla="*/ 7114 h 10000"/>
                <a:gd name="connsiteX55" fmla="*/ 7430 w 10000"/>
                <a:gd name="connsiteY55" fmla="*/ 6789 h 10000"/>
                <a:gd name="connsiteX56" fmla="*/ 7470 w 10000"/>
                <a:gd name="connsiteY56" fmla="*/ 6822 h 10000"/>
                <a:gd name="connsiteX57" fmla="*/ 7590 w 10000"/>
                <a:gd name="connsiteY57" fmla="*/ 6622 h 10000"/>
                <a:gd name="connsiteX58" fmla="*/ 7831 w 10000"/>
                <a:gd name="connsiteY58" fmla="*/ 6522 h 10000"/>
                <a:gd name="connsiteX59" fmla="*/ 7952 w 10000"/>
                <a:gd name="connsiteY59" fmla="*/ 6153 h 10000"/>
                <a:gd name="connsiteX60" fmla="*/ 8313 w 10000"/>
                <a:gd name="connsiteY60" fmla="*/ 5719 h 10000"/>
                <a:gd name="connsiteX61" fmla="*/ 8594 w 10000"/>
                <a:gd name="connsiteY61" fmla="*/ 5518 h 10000"/>
                <a:gd name="connsiteX62" fmla="*/ 8795 w 10000"/>
                <a:gd name="connsiteY62" fmla="*/ 4950 h 10000"/>
                <a:gd name="connsiteX63" fmla="*/ 8795 w 10000"/>
                <a:gd name="connsiteY63" fmla="*/ 4816 h 10000"/>
                <a:gd name="connsiteX64" fmla="*/ 8755 w 10000"/>
                <a:gd name="connsiteY64" fmla="*/ 4482 h 10000"/>
                <a:gd name="connsiteX65" fmla="*/ 9157 w 10000"/>
                <a:gd name="connsiteY65" fmla="*/ 3277 h 10000"/>
                <a:gd name="connsiteX66" fmla="*/ 9277 w 10000"/>
                <a:gd name="connsiteY66" fmla="*/ 3277 h 10000"/>
                <a:gd name="connsiteX67" fmla="*/ 9438 w 10000"/>
                <a:gd name="connsiteY67" fmla="*/ 3178 h 10000"/>
                <a:gd name="connsiteX68" fmla="*/ 9920 w 10000"/>
                <a:gd name="connsiteY68" fmla="*/ 3010 h 10000"/>
                <a:gd name="connsiteX69" fmla="*/ 10000 w 10000"/>
                <a:gd name="connsiteY69" fmla="*/ 2742 h 10000"/>
                <a:gd name="connsiteX70" fmla="*/ 9960 w 10000"/>
                <a:gd name="connsiteY70" fmla="*/ 2675 h 10000"/>
                <a:gd name="connsiteX71" fmla="*/ 9799 w 10000"/>
                <a:gd name="connsiteY71" fmla="*/ 2675 h 10000"/>
                <a:gd name="connsiteX72" fmla="*/ 9679 w 10000"/>
                <a:gd name="connsiteY72" fmla="*/ 2509 h 10000"/>
                <a:gd name="connsiteX73" fmla="*/ 9438 w 10000"/>
                <a:gd name="connsiteY73" fmla="*/ 2442 h 10000"/>
                <a:gd name="connsiteX74" fmla="*/ 9317 w 10000"/>
                <a:gd name="connsiteY74" fmla="*/ 2308 h 10000"/>
                <a:gd name="connsiteX75" fmla="*/ 9237 w 10000"/>
                <a:gd name="connsiteY75" fmla="*/ 1806 h 10000"/>
                <a:gd name="connsiteX76" fmla="*/ 9237 w 10000"/>
                <a:gd name="connsiteY76" fmla="*/ 1103 h 10000"/>
                <a:gd name="connsiteX77" fmla="*/ 9036 w 10000"/>
                <a:gd name="connsiteY77" fmla="*/ 870 h 10000"/>
                <a:gd name="connsiteX78" fmla="*/ 8996 w 10000"/>
                <a:gd name="connsiteY78" fmla="*/ 636 h 10000"/>
                <a:gd name="connsiteX79" fmla="*/ 8675 w 10000"/>
                <a:gd name="connsiteY79" fmla="*/ 301 h 10000"/>
                <a:gd name="connsiteX80" fmla="*/ 8394 w 10000"/>
                <a:gd name="connsiteY80" fmla="*/ 168 h 10000"/>
                <a:gd name="connsiteX81" fmla="*/ 8233 w 10000"/>
                <a:gd name="connsiteY81" fmla="*/ 0 h 10000"/>
                <a:gd name="connsiteX82" fmla="*/ 7992 w 10000"/>
                <a:gd name="connsiteY82" fmla="*/ 168 h 10000"/>
                <a:gd name="connsiteX83" fmla="*/ 7831 w 10000"/>
                <a:gd name="connsiteY83" fmla="*/ 134 h 10000"/>
                <a:gd name="connsiteX84" fmla="*/ 7711 w 10000"/>
                <a:gd name="connsiteY84" fmla="*/ 434 h 10000"/>
                <a:gd name="connsiteX85" fmla="*/ 7390 w 10000"/>
                <a:gd name="connsiteY85" fmla="*/ 502 h 10000"/>
                <a:gd name="connsiteX86" fmla="*/ 7309 w 10000"/>
                <a:gd name="connsiteY86" fmla="*/ 735 h 10000"/>
                <a:gd name="connsiteX87" fmla="*/ 7028 w 10000"/>
                <a:gd name="connsiteY87" fmla="*/ 735 h 10000"/>
                <a:gd name="connsiteX88" fmla="*/ 6787 w 10000"/>
                <a:gd name="connsiteY88" fmla="*/ 636 h 10000"/>
                <a:gd name="connsiteX89" fmla="*/ 6265 w 10000"/>
                <a:gd name="connsiteY89" fmla="*/ 636 h 10000"/>
                <a:gd name="connsiteX90" fmla="*/ 5743 w 10000"/>
                <a:gd name="connsiteY90" fmla="*/ 636 h 10000"/>
                <a:gd name="connsiteX91" fmla="*/ 5783 w 10000"/>
                <a:gd name="connsiteY91" fmla="*/ 502 h 10000"/>
                <a:gd name="connsiteX92" fmla="*/ 5703 w 10000"/>
                <a:gd name="connsiteY92" fmla="*/ 502 h 10000"/>
                <a:gd name="connsiteX93" fmla="*/ 5663 w 10000"/>
                <a:gd name="connsiteY93" fmla="*/ 636 h 10000"/>
                <a:gd name="connsiteX94" fmla="*/ 5181 w 10000"/>
                <a:gd name="connsiteY94" fmla="*/ 636 h 10000"/>
                <a:gd name="connsiteX95" fmla="*/ 4699 w 10000"/>
                <a:gd name="connsiteY95" fmla="*/ 636 h 10000"/>
                <a:gd name="connsiteX96" fmla="*/ 4217 w 10000"/>
                <a:gd name="connsiteY96" fmla="*/ 636 h 10000"/>
                <a:gd name="connsiteX97" fmla="*/ 3735 w 10000"/>
                <a:gd name="connsiteY97" fmla="*/ 636 h 10000"/>
                <a:gd name="connsiteX98" fmla="*/ 3293 w 10000"/>
                <a:gd name="connsiteY98" fmla="*/ 636 h 10000"/>
                <a:gd name="connsiteX99" fmla="*/ 2811 w 10000"/>
                <a:gd name="connsiteY99" fmla="*/ 636 h 10000"/>
                <a:gd name="connsiteX100" fmla="*/ 2369 w 10000"/>
                <a:gd name="connsiteY100" fmla="*/ 636 h 10000"/>
                <a:gd name="connsiteX101" fmla="*/ 1888 w 10000"/>
                <a:gd name="connsiteY101" fmla="*/ 636 h 10000"/>
                <a:gd name="connsiteX102" fmla="*/ 1888 w 10000"/>
                <a:gd name="connsiteY102" fmla="*/ 1103 h 10000"/>
                <a:gd name="connsiteX103" fmla="*/ 1888 w 10000"/>
                <a:gd name="connsiteY103" fmla="*/ 1706 h 10000"/>
                <a:gd name="connsiteX104" fmla="*/ 1285 w 10000"/>
                <a:gd name="connsiteY104" fmla="*/ 1706 h 10000"/>
                <a:gd name="connsiteX105" fmla="*/ 1285 w 10000"/>
                <a:gd name="connsiteY105" fmla="*/ 1973 h 10000"/>
                <a:gd name="connsiteX0" fmla="*/ 1285 w 10000"/>
                <a:gd name="connsiteY0" fmla="*/ 1973 h 9900"/>
                <a:gd name="connsiteX1" fmla="*/ 1285 w 10000"/>
                <a:gd name="connsiteY1" fmla="*/ 2509 h 9900"/>
                <a:gd name="connsiteX2" fmla="*/ 1285 w 10000"/>
                <a:gd name="connsiteY2" fmla="*/ 3010 h 9900"/>
                <a:gd name="connsiteX3" fmla="*/ 1285 w 10000"/>
                <a:gd name="connsiteY3" fmla="*/ 3512 h 9900"/>
                <a:gd name="connsiteX4" fmla="*/ 1285 w 10000"/>
                <a:gd name="connsiteY4" fmla="*/ 3979 h 9900"/>
                <a:gd name="connsiteX5" fmla="*/ 643 w 10000"/>
                <a:gd name="connsiteY5" fmla="*/ 4081 h 9900"/>
                <a:gd name="connsiteX6" fmla="*/ 522 w 10000"/>
                <a:gd name="connsiteY6" fmla="*/ 4347 h 9900"/>
                <a:gd name="connsiteX7" fmla="*/ 241 w 10000"/>
                <a:gd name="connsiteY7" fmla="*/ 4682 h 9900"/>
                <a:gd name="connsiteX8" fmla="*/ 241 w 10000"/>
                <a:gd name="connsiteY8" fmla="*/ 4950 h 9900"/>
                <a:gd name="connsiteX9" fmla="*/ 120 w 10000"/>
                <a:gd name="connsiteY9" fmla="*/ 5016 h 9900"/>
                <a:gd name="connsiteX10" fmla="*/ 120 w 10000"/>
                <a:gd name="connsiteY10" fmla="*/ 5250 h 9900"/>
                <a:gd name="connsiteX11" fmla="*/ 0 w 10000"/>
                <a:gd name="connsiteY11" fmla="*/ 5452 h 9900"/>
                <a:gd name="connsiteX12" fmla="*/ 0 w 10000"/>
                <a:gd name="connsiteY12" fmla="*/ 5618 h 9900"/>
                <a:gd name="connsiteX13" fmla="*/ 241 w 10000"/>
                <a:gd name="connsiteY13" fmla="*/ 5585 h 9900"/>
                <a:gd name="connsiteX14" fmla="*/ 281 w 10000"/>
                <a:gd name="connsiteY14" fmla="*/ 5886 h 9900"/>
                <a:gd name="connsiteX15" fmla="*/ 602 w 10000"/>
                <a:gd name="connsiteY15" fmla="*/ 6422 h 9900"/>
                <a:gd name="connsiteX16" fmla="*/ 602 w 10000"/>
                <a:gd name="connsiteY16" fmla="*/ 6455 h 9900"/>
                <a:gd name="connsiteX17" fmla="*/ 482 w 10000"/>
                <a:gd name="connsiteY17" fmla="*/ 6488 h 9900"/>
                <a:gd name="connsiteX18" fmla="*/ 964 w 10000"/>
                <a:gd name="connsiteY18" fmla="*/ 7023 h 9900"/>
                <a:gd name="connsiteX19" fmla="*/ 1004 w 10000"/>
                <a:gd name="connsiteY19" fmla="*/ 7190 h 9900"/>
                <a:gd name="connsiteX20" fmla="*/ 964 w 10000"/>
                <a:gd name="connsiteY20" fmla="*/ 7659 h 9900"/>
                <a:gd name="connsiteX21" fmla="*/ 1044 w 10000"/>
                <a:gd name="connsiteY21" fmla="*/ 7726 h 9900"/>
                <a:gd name="connsiteX22" fmla="*/ 1365 w 10000"/>
                <a:gd name="connsiteY22" fmla="*/ 7759 h 9900"/>
                <a:gd name="connsiteX23" fmla="*/ 1406 w 10000"/>
                <a:gd name="connsiteY23" fmla="*/ 7892 h 9900"/>
                <a:gd name="connsiteX24" fmla="*/ 1767 w 10000"/>
                <a:gd name="connsiteY24" fmla="*/ 7926 h 9900"/>
                <a:gd name="connsiteX25" fmla="*/ 1968 w 10000"/>
                <a:gd name="connsiteY25" fmla="*/ 8060 h 9900"/>
                <a:gd name="connsiteX26" fmla="*/ 2008 w 10000"/>
                <a:gd name="connsiteY26" fmla="*/ 8294 h 9900"/>
                <a:gd name="connsiteX27" fmla="*/ 2651 w 10000"/>
                <a:gd name="connsiteY27" fmla="*/ 8696 h 9900"/>
                <a:gd name="connsiteX28" fmla="*/ 2811 w 10000"/>
                <a:gd name="connsiteY28" fmla="*/ 9097 h 9900"/>
                <a:gd name="connsiteX29" fmla="*/ 3253 w 10000"/>
                <a:gd name="connsiteY29" fmla="*/ 9298 h 9900"/>
                <a:gd name="connsiteX30" fmla="*/ 3414 w 10000"/>
                <a:gd name="connsiteY30" fmla="*/ 9566 h 9900"/>
                <a:gd name="connsiteX31" fmla="*/ 3735 w 10000"/>
                <a:gd name="connsiteY31" fmla="*/ 9900 h 9900"/>
                <a:gd name="connsiteX32" fmla="*/ 3795 w 10000"/>
                <a:gd name="connsiteY32" fmla="*/ 7514 h 9900"/>
                <a:gd name="connsiteX33" fmla="*/ 4153 w 10000"/>
                <a:gd name="connsiteY33" fmla="*/ 7579 h 9900"/>
                <a:gd name="connsiteX34" fmla="*/ 4406 w 10000"/>
                <a:gd name="connsiteY34" fmla="*/ 7531 h 9900"/>
                <a:gd name="connsiteX35" fmla="*/ 4600 w 10000"/>
                <a:gd name="connsiteY35" fmla="*/ 7408 h 9900"/>
                <a:gd name="connsiteX36" fmla="*/ 4762 w 10000"/>
                <a:gd name="connsiteY36" fmla="*/ 7182 h 9900"/>
                <a:gd name="connsiteX37" fmla="*/ 4901 w 10000"/>
                <a:gd name="connsiteY37" fmla="*/ 7044 h 9900"/>
                <a:gd name="connsiteX38" fmla="*/ 5080 w 10000"/>
                <a:gd name="connsiteY38" fmla="*/ 7143 h 9900"/>
                <a:gd name="connsiteX39" fmla="*/ 5337 w 10000"/>
                <a:gd name="connsiteY39" fmla="*/ 7242 h 9900"/>
                <a:gd name="connsiteX40" fmla="*/ 5564 w 10000"/>
                <a:gd name="connsiteY40" fmla="*/ 7370 h 9900"/>
                <a:gd name="connsiteX41" fmla="*/ 5768 w 10000"/>
                <a:gd name="connsiteY41" fmla="*/ 7287 h 9900"/>
                <a:gd name="connsiteX42" fmla="*/ 5933 w 10000"/>
                <a:gd name="connsiteY42" fmla="*/ 7209 h 9900"/>
                <a:gd name="connsiteX43" fmla="*/ 6089 w 10000"/>
                <a:gd name="connsiteY43" fmla="*/ 7038 h 9900"/>
                <a:gd name="connsiteX44" fmla="*/ 6274 w 10000"/>
                <a:gd name="connsiteY44" fmla="*/ 6804 h 9900"/>
                <a:gd name="connsiteX45" fmla="*/ 6389 w 10000"/>
                <a:gd name="connsiteY45" fmla="*/ 6697 h 9900"/>
                <a:gd name="connsiteX46" fmla="*/ 6524 w 10000"/>
                <a:gd name="connsiteY46" fmla="*/ 6653 h 9900"/>
                <a:gd name="connsiteX47" fmla="*/ 6531 w 10000"/>
                <a:gd name="connsiteY47" fmla="*/ 6516 h 9900"/>
                <a:gd name="connsiteX48" fmla="*/ 6424 w 10000"/>
                <a:gd name="connsiteY48" fmla="*/ 6205 h 9900"/>
                <a:gd name="connsiteX49" fmla="*/ 6602 w 10000"/>
                <a:gd name="connsiteY49" fmla="*/ 6213 h 9900"/>
                <a:gd name="connsiteX50" fmla="*/ 6707 w 10000"/>
                <a:gd name="connsiteY50" fmla="*/ 6095 h 9900"/>
                <a:gd name="connsiteX51" fmla="*/ 6876 w 10000"/>
                <a:gd name="connsiteY51" fmla="*/ 6096 h 9900"/>
                <a:gd name="connsiteX52" fmla="*/ 6827 w 10000"/>
                <a:gd name="connsiteY52" fmla="*/ 6821 h 9900"/>
                <a:gd name="connsiteX53" fmla="*/ 6991 w 10000"/>
                <a:gd name="connsiteY53" fmla="*/ 6903 h 9900"/>
                <a:gd name="connsiteX54" fmla="*/ 7275 w 10000"/>
                <a:gd name="connsiteY54" fmla="*/ 7114 h 9900"/>
                <a:gd name="connsiteX55" fmla="*/ 7430 w 10000"/>
                <a:gd name="connsiteY55" fmla="*/ 6789 h 9900"/>
                <a:gd name="connsiteX56" fmla="*/ 7470 w 10000"/>
                <a:gd name="connsiteY56" fmla="*/ 6822 h 9900"/>
                <a:gd name="connsiteX57" fmla="*/ 7590 w 10000"/>
                <a:gd name="connsiteY57" fmla="*/ 6622 h 9900"/>
                <a:gd name="connsiteX58" fmla="*/ 7831 w 10000"/>
                <a:gd name="connsiteY58" fmla="*/ 6522 h 9900"/>
                <a:gd name="connsiteX59" fmla="*/ 7952 w 10000"/>
                <a:gd name="connsiteY59" fmla="*/ 6153 h 9900"/>
                <a:gd name="connsiteX60" fmla="*/ 8313 w 10000"/>
                <a:gd name="connsiteY60" fmla="*/ 5719 h 9900"/>
                <a:gd name="connsiteX61" fmla="*/ 8594 w 10000"/>
                <a:gd name="connsiteY61" fmla="*/ 5518 h 9900"/>
                <a:gd name="connsiteX62" fmla="*/ 8795 w 10000"/>
                <a:gd name="connsiteY62" fmla="*/ 4950 h 9900"/>
                <a:gd name="connsiteX63" fmla="*/ 8795 w 10000"/>
                <a:gd name="connsiteY63" fmla="*/ 4816 h 9900"/>
                <a:gd name="connsiteX64" fmla="*/ 8755 w 10000"/>
                <a:gd name="connsiteY64" fmla="*/ 4482 h 9900"/>
                <a:gd name="connsiteX65" fmla="*/ 9157 w 10000"/>
                <a:gd name="connsiteY65" fmla="*/ 3277 h 9900"/>
                <a:gd name="connsiteX66" fmla="*/ 9277 w 10000"/>
                <a:gd name="connsiteY66" fmla="*/ 3277 h 9900"/>
                <a:gd name="connsiteX67" fmla="*/ 9438 w 10000"/>
                <a:gd name="connsiteY67" fmla="*/ 3178 h 9900"/>
                <a:gd name="connsiteX68" fmla="*/ 9920 w 10000"/>
                <a:gd name="connsiteY68" fmla="*/ 3010 h 9900"/>
                <a:gd name="connsiteX69" fmla="*/ 10000 w 10000"/>
                <a:gd name="connsiteY69" fmla="*/ 2742 h 9900"/>
                <a:gd name="connsiteX70" fmla="*/ 9960 w 10000"/>
                <a:gd name="connsiteY70" fmla="*/ 2675 h 9900"/>
                <a:gd name="connsiteX71" fmla="*/ 9799 w 10000"/>
                <a:gd name="connsiteY71" fmla="*/ 2675 h 9900"/>
                <a:gd name="connsiteX72" fmla="*/ 9679 w 10000"/>
                <a:gd name="connsiteY72" fmla="*/ 2509 h 9900"/>
                <a:gd name="connsiteX73" fmla="*/ 9438 w 10000"/>
                <a:gd name="connsiteY73" fmla="*/ 2442 h 9900"/>
                <a:gd name="connsiteX74" fmla="*/ 9317 w 10000"/>
                <a:gd name="connsiteY74" fmla="*/ 2308 h 9900"/>
                <a:gd name="connsiteX75" fmla="*/ 9237 w 10000"/>
                <a:gd name="connsiteY75" fmla="*/ 1806 h 9900"/>
                <a:gd name="connsiteX76" fmla="*/ 9237 w 10000"/>
                <a:gd name="connsiteY76" fmla="*/ 1103 h 9900"/>
                <a:gd name="connsiteX77" fmla="*/ 9036 w 10000"/>
                <a:gd name="connsiteY77" fmla="*/ 870 h 9900"/>
                <a:gd name="connsiteX78" fmla="*/ 8996 w 10000"/>
                <a:gd name="connsiteY78" fmla="*/ 636 h 9900"/>
                <a:gd name="connsiteX79" fmla="*/ 8675 w 10000"/>
                <a:gd name="connsiteY79" fmla="*/ 301 h 9900"/>
                <a:gd name="connsiteX80" fmla="*/ 8394 w 10000"/>
                <a:gd name="connsiteY80" fmla="*/ 168 h 9900"/>
                <a:gd name="connsiteX81" fmla="*/ 8233 w 10000"/>
                <a:gd name="connsiteY81" fmla="*/ 0 h 9900"/>
                <a:gd name="connsiteX82" fmla="*/ 7992 w 10000"/>
                <a:gd name="connsiteY82" fmla="*/ 168 h 9900"/>
                <a:gd name="connsiteX83" fmla="*/ 7831 w 10000"/>
                <a:gd name="connsiteY83" fmla="*/ 134 h 9900"/>
                <a:gd name="connsiteX84" fmla="*/ 7711 w 10000"/>
                <a:gd name="connsiteY84" fmla="*/ 434 h 9900"/>
                <a:gd name="connsiteX85" fmla="*/ 7390 w 10000"/>
                <a:gd name="connsiteY85" fmla="*/ 502 h 9900"/>
                <a:gd name="connsiteX86" fmla="*/ 7309 w 10000"/>
                <a:gd name="connsiteY86" fmla="*/ 735 h 9900"/>
                <a:gd name="connsiteX87" fmla="*/ 7028 w 10000"/>
                <a:gd name="connsiteY87" fmla="*/ 735 h 9900"/>
                <a:gd name="connsiteX88" fmla="*/ 6787 w 10000"/>
                <a:gd name="connsiteY88" fmla="*/ 636 h 9900"/>
                <a:gd name="connsiteX89" fmla="*/ 6265 w 10000"/>
                <a:gd name="connsiteY89" fmla="*/ 636 h 9900"/>
                <a:gd name="connsiteX90" fmla="*/ 5743 w 10000"/>
                <a:gd name="connsiteY90" fmla="*/ 636 h 9900"/>
                <a:gd name="connsiteX91" fmla="*/ 5783 w 10000"/>
                <a:gd name="connsiteY91" fmla="*/ 502 h 9900"/>
                <a:gd name="connsiteX92" fmla="*/ 5703 w 10000"/>
                <a:gd name="connsiteY92" fmla="*/ 502 h 9900"/>
                <a:gd name="connsiteX93" fmla="*/ 5663 w 10000"/>
                <a:gd name="connsiteY93" fmla="*/ 636 h 9900"/>
                <a:gd name="connsiteX94" fmla="*/ 5181 w 10000"/>
                <a:gd name="connsiteY94" fmla="*/ 636 h 9900"/>
                <a:gd name="connsiteX95" fmla="*/ 4699 w 10000"/>
                <a:gd name="connsiteY95" fmla="*/ 636 h 9900"/>
                <a:gd name="connsiteX96" fmla="*/ 4217 w 10000"/>
                <a:gd name="connsiteY96" fmla="*/ 636 h 9900"/>
                <a:gd name="connsiteX97" fmla="*/ 3735 w 10000"/>
                <a:gd name="connsiteY97" fmla="*/ 636 h 9900"/>
                <a:gd name="connsiteX98" fmla="*/ 3293 w 10000"/>
                <a:gd name="connsiteY98" fmla="*/ 636 h 9900"/>
                <a:gd name="connsiteX99" fmla="*/ 2811 w 10000"/>
                <a:gd name="connsiteY99" fmla="*/ 636 h 9900"/>
                <a:gd name="connsiteX100" fmla="*/ 2369 w 10000"/>
                <a:gd name="connsiteY100" fmla="*/ 636 h 9900"/>
                <a:gd name="connsiteX101" fmla="*/ 1888 w 10000"/>
                <a:gd name="connsiteY101" fmla="*/ 636 h 9900"/>
                <a:gd name="connsiteX102" fmla="*/ 1888 w 10000"/>
                <a:gd name="connsiteY102" fmla="*/ 1103 h 9900"/>
                <a:gd name="connsiteX103" fmla="*/ 1888 w 10000"/>
                <a:gd name="connsiteY103" fmla="*/ 1706 h 9900"/>
                <a:gd name="connsiteX104" fmla="*/ 1285 w 10000"/>
                <a:gd name="connsiteY104" fmla="*/ 1706 h 9900"/>
                <a:gd name="connsiteX105" fmla="*/ 1285 w 10000"/>
                <a:gd name="connsiteY105" fmla="*/ 1973 h 9900"/>
                <a:gd name="connsiteX0" fmla="*/ 1285 w 10000"/>
                <a:gd name="connsiteY0" fmla="*/ 1993 h 9663"/>
                <a:gd name="connsiteX1" fmla="*/ 1285 w 10000"/>
                <a:gd name="connsiteY1" fmla="*/ 2534 h 9663"/>
                <a:gd name="connsiteX2" fmla="*/ 1285 w 10000"/>
                <a:gd name="connsiteY2" fmla="*/ 3040 h 9663"/>
                <a:gd name="connsiteX3" fmla="*/ 1285 w 10000"/>
                <a:gd name="connsiteY3" fmla="*/ 3547 h 9663"/>
                <a:gd name="connsiteX4" fmla="*/ 1285 w 10000"/>
                <a:gd name="connsiteY4" fmla="*/ 4019 h 9663"/>
                <a:gd name="connsiteX5" fmla="*/ 643 w 10000"/>
                <a:gd name="connsiteY5" fmla="*/ 4122 h 9663"/>
                <a:gd name="connsiteX6" fmla="*/ 522 w 10000"/>
                <a:gd name="connsiteY6" fmla="*/ 4391 h 9663"/>
                <a:gd name="connsiteX7" fmla="*/ 241 w 10000"/>
                <a:gd name="connsiteY7" fmla="*/ 4729 h 9663"/>
                <a:gd name="connsiteX8" fmla="*/ 241 w 10000"/>
                <a:gd name="connsiteY8" fmla="*/ 5000 h 9663"/>
                <a:gd name="connsiteX9" fmla="*/ 120 w 10000"/>
                <a:gd name="connsiteY9" fmla="*/ 5067 h 9663"/>
                <a:gd name="connsiteX10" fmla="*/ 120 w 10000"/>
                <a:gd name="connsiteY10" fmla="*/ 5303 h 9663"/>
                <a:gd name="connsiteX11" fmla="*/ 0 w 10000"/>
                <a:gd name="connsiteY11" fmla="*/ 5507 h 9663"/>
                <a:gd name="connsiteX12" fmla="*/ 0 w 10000"/>
                <a:gd name="connsiteY12" fmla="*/ 5675 h 9663"/>
                <a:gd name="connsiteX13" fmla="*/ 241 w 10000"/>
                <a:gd name="connsiteY13" fmla="*/ 5641 h 9663"/>
                <a:gd name="connsiteX14" fmla="*/ 281 w 10000"/>
                <a:gd name="connsiteY14" fmla="*/ 5945 h 9663"/>
                <a:gd name="connsiteX15" fmla="*/ 602 w 10000"/>
                <a:gd name="connsiteY15" fmla="*/ 6487 h 9663"/>
                <a:gd name="connsiteX16" fmla="*/ 602 w 10000"/>
                <a:gd name="connsiteY16" fmla="*/ 6520 h 9663"/>
                <a:gd name="connsiteX17" fmla="*/ 482 w 10000"/>
                <a:gd name="connsiteY17" fmla="*/ 6554 h 9663"/>
                <a:gd name="connsiteX18" fmla="*/ 964 w 10000"/>
                <a:gd name="connsiteY18" fmla="*/ 7094 h 9663"/>
                <a:gd name="connsiteX19" fmla="*/ 1004 w 10000"/>
                <a:gd name="connsiteY19" fmla="*/ 7263 h 9663"/>
                <a:gd name="connsiteX20" fmla="*/ 964 w 10000"/>
                <a:gd name="connsiteY20" fmla="*/ 7736 h 9663"/>
                <a:gd name="connsiteX21" fmla="*/ 1044 w 10000"/>
                <a:gd name="connsiteY21" fmla="*/ 7804 h 9663"/>
                <a:gd name="connsiteX22" fmla="*/ 1365 w 10000"/>
                <a:gd name="connsiteY22" fmla="*/ 7837 h 9663"/>
                <a:gd name="connsiteX23" fmla="*/ 1406 w 10000"/>
                <a:gd name="connsiteY23" fmla="*/ 7972 h 9663"/>
                <a:gd name="connsiteX24" fmla="*/ 1767 w 10000"/>
                <a:gd name="connsiteY24" fmla="*/ 8006 h 9663"/>
                <a:gd name="connsiteX25" fmla="*/ 1968 w 10000"/>
                <a:gd name="connsiteY25" fmla="*/ 8141 h 9663"/>
                <a:gd name="connsiteX26" fmla="*/ 2008 w 10000"/>
                <a:gd name="connsiteY26" fmla="*/ 8378 h 9663"/>
                <a:gd name="connsiteX27" fmla="*/ 2651 w 10000"/>
                <a:gd name="connsiteY27" fmla="*/ 8784 h 9663"/>
                <a:gd name="connsiteX28" fmla="*/ 2811 w 10000"/>
                <a:gd name="connsiteY28" fmla="*/ 9189 h 9663"/>
                <a:gd name="connsiteX29" fmla="*/ 3253 w 10000"/>
                <a:gd name="connsiteY29" fmla="*/ 9392 h 9663"/>
                <a:gd name="connsiteX30" fmla="*/ 3414 w 10000"/>
                <a:gd name="connsiteY30" fmla="*/ 9663 h 9663"/>
                <a:gd name="connsiteX31" fmla="*/ 3537 w 10000"/>
                <a:gd name="connsiteY31" fmla="*/ 7420 h 9663"/>
                <a:gd name="connsiteX32" fmla="*/ 3795 w 10000"/>
                <a:gd name="connsiteY32" fmla="*/ 7590 h 9663"/>
                <a:gd name="connsiteX33" fmla="*/ 4153 w 10000"/>
                <a:gd name="connsiteY33" fmla="*/ 7656 h 9663"/>
                <a:gd name="connsiteX34" fmla="*/ 4406 w 10000"/>
                <a:gd name="connsiteY34" fmla="*/ 7607 h 9663"/>
                <a:gd name="connsiteX35" fmla="*/ 4600 w 10000"/>
                <a:gd name="connsiteY35" fmla="*/ 7483 h 9663"/>
                <a:gd name="connsiteX36" fmla="*/ 4762 w 10000"/>
                <a:gd name="connsiteY36" fmla="*/ 7255 h 9663"/>
                <a:gd name="connsiteX37" fmla="*/ 4901 w 10000"/>
                <a:gd name="connsiteY37" fmla="*/ 7115 h 9663"/>
                <a:gd name="connsiteX38" fmla="*/ 5080 w 10000"/>
                <a:gd name="connsiteY38" fmla="*/ 7215 h 9663"/>
                <a:gd name="connsiteX39" fmla="*/ 5337 w 10000"/>
                <a:gd name="connsiteY39" fmla="*/ 7315 h 9663"/>
                <a:gd name="connsiteX40" fmla="*/ 5564 w 10000"/>
                <a:gd name="connsiteY40" fmla="*/ 7444 h 9663"/>
                <a:gd name="connsiteX41" fmla="*/ 5768 w 10000"/>
                <a:gd name="connsiteY41" fmla="*/ 7361 h 9663"/>
                <a:gd name="connsiteX42" fmla="*/ 5933 w 10000"/>
                <a:gd name="connsiteY42" fmla="*/ 7282 h 9663"/>
                <a:gd name="connsiteX43" fmla="*/ 6089 w 10000"/>
                <a:gd name="connsiteY43" fmla="*/ 7109 h 9663"/>
                <a:gd name="connsiteX44" fmla="*/ 6274 w 10000"/>
                <a:gd name="connsiteY44" fmla="*/ 6873 h 9663"/>
                <a:gd name="connsiteX45" fmla="*/ 6389 w 10000"/>
                <a:gd name="connsiteY45" fmla="*/ 6765 h 9663"/>
                <a:gd name="connsiteX46" fmla="*/ 6524 w 10000"/>
                <a:gd name="connsiteY46" fmla="*/ 6720 h 9663"/>
                <a:gd name="connsiteX47" fmla="*/ 6531 w 10000"/>
                <a:gd name="connsiteY47" fmla="*/ 6582 h 9663"/>
                <a:gd name="connsiteX48" fmla="*/ 6424 w 10000"/>
                <a:gd name="connsiteY48" fmla="*/ 6268 h 9663"/>
                <a:gd name="connsiteX49" fmla="*/ 6602 w 10000"/>
                <a:gd name="connsiteY49" fmla="*/ 6276 h 9663"/>
                <a:gd name="connsiteX50" fmla="*/ 6707 w 10000"/>
                <a:gd name="connsiteY50" fmla="*/ 6157 h 9663"/>
                <a:gd name="connsiteX51" fmla="*/ 6876 w 10000"/>
                <a:gd name="connsiteY51" fmla="*/ 6158 h 9663"/>
                <a:gd name="connsiteX52" fmla="*/ 6827 w 10000"/>
                <a:gd name="connsiteY52" fmla="*/ 6890 h 9663"/>
                <a:gd name="connsiteX53" fmla="*/ 6991 w 10000"/>
                <a:gd name="connsiteY53" fmla="*/ 6973 h 9663"/>
                <a:gd name="connsiteX54" fmla="*/ 7275 w 10000"/>
                <a:gd name="connsiteY54" fmla="*/ 7186 h 9663"/>
                <a:gd name="connsiteX55" fmla="*/ 7430 w 10000"/>
                <a:gd name="connsiteY55" fmla="*/ 6858 h 9663"/>
                <a:gd name="connsiteX56" fmla="*/ 7470 w 10000"/>
                <a:gd name="connsiteY56" fmla="*/ 6891 h 9663"/>
                <a:gd name="connsiteX57" fmla="*/ 7590 w 10000"/>
                <a:gd name="connsiteY57" fmla="*/ 6689 h 9663"/>
                <a:gd name="connsiteX58" fmla="*/ 7831 w 10000"/>
                <a:gd name="connsiteY58" fmla="*/ 6588 h 9663"/>
                <a:gd name="connsiteX59" fmla="*/ 7952 w 10000"/>
                <a:gd name="connsiteY59" fmla="*/ 6215 h 9663"/>
                <a:gd name="connsiteX60" fmla="*/ 8313 w 10000"/>
                <a:gd name="connsiteY60" fmla="*/ 5777 h 9663"/>
                <a:gd name="connsiteX61" fmla="*/ 8594 w 10000"/>
                <a:gd name="connsiteY61" fmla="*/ 5574 h 9663"/>
                <a:gd name="connsiteX62" fmla="*/ 8795 w 10000"/>
                <a:gd name="connsiteY62" fmla="*/ 5000 h 9663"/>
                <a:gd name="connsiteX63" fmla="*/ 8795 w 10000"/>
                <a:gd name="connsiteY63" fmla="*/ 4865 h 9663"/>
                <a:gd name="connsiteX64" fmla="*/ 8755 w 10000"/>
                <a:gd name="connsiteY64" fmla="*/ 4527 h 9663"/>
                <a:gd name="connsiteX65" fmla="*/ 9157 w 10000"/>
                <a:gd name="connsiteY65" fmla="*/ 3310 h 9663"/>
                <a:gd name="connsiteX66" fmla="*/ 9277 w 10000"/>
                <a:gd name="connsiteY66" fmla="*/ 3310 h 9663"/>
                <a:gd name="connsiteX67" fmla="*/ 9438 w 10000"/>
                <a:gd name="connsiteY67" fmla="*/ 3210 h 9663"/>
                <a:gd name="connsiteX68" fmla="*/ 9920 w 10000"/>
                <a:gd name="connsiteY68" fmla="*/ 3040 h 9663"/>
                <a:gd name="connsiteX69" fmla="*/ 10000 w 10000"/>
                <a:gd name="connsiteY69" fmla="*/ 2770 h 9663"/>
                <a:gd name="connsiteX70" fmla="*/ 9960 w 10000"/>
                <a:gd name="connsiteY70" fmla="*/ 2702 h 9663"/>
                <a:gd name="connsiteX71" fmla="*/ 9799 w 10000"/>
                <a:gd name="connsiteY71" fmla="*/ 2702 h 9663"/>
                <a:gd name="connsiteX72" fmla="*/ 9679 w 10000"/>
                <a:gd name="connsiteY72" fmla="*/ 2534 h 9663"/>
                <a:gd name="connsiteX73" fmla="*/ 9438 w 10000"/>
                <a:gd name="connsiteY73" fmla="*/ 2467 h 9663"/>
                <a:gd name="connsiteX74" fmla="*/ 9317 w 10000"/>
                <a:gd name="connsiteY74" fmla="*/ 2331 h 9663"/>
                <a:gd name="connsiteX75" fmla="*/ 9237 w 10000"/>
                <a:gd name="connsiteY75" fmla="*/ 1824 h 9663"/>
                <a:gd name="connsiteX76" fmla="*/ 9237 w 10000"/>
                <a:gd name="connsiteY76" fmla="*/ 1114 h 9663"/>
                <a:gd name="connsiteX77" fmla="*/ 9036 w 10000"/>
                <a:gd name="connsiteY77" fmla="*/ 879 h 9663"/>
                <a:gd name="connsiteX78" fmla="*/ 8996 w 10000"/>
                <a:gd name="connsiteY78" fmla="*/ 642 h 9663"/>
                <a:gd name="connsiteX79" fmla="*/ 8675 w 10000"/>
                <a:gd name="connsiteY79" fmla="*/ 304 h 9663"/>
                <a:gd name="connsiteX80" fmla="*/ 8394 w 10000"/>
                <a:gd name="connsiteY80" fmla="*/ 170 h 9663"/>
                <a:gd name="connsiteX81" fmla="*/ 8233 w 10000"/>
                <a:gd name="connsiteY81" fmla="*/ 0 h 9663"/>
                <a:gd name="connsiteX82" fmla="*/ 7992 w 10000"/>
                <a:gd name="connsiteY82" fmla="*/ 170 h 9663"/>
                <a:gd name="connsiteX83" fmla="*/ 7831 w 10000"/>
                <a:gd name="connsiteY83" fmla="*/ 135 h 9663"/>
                <a:gd name="connsiteX84" fmla="*/ 7711 w 10000"/>
                <a:gd name="connsiteY84" fmla="*/ 438 h 9663"/>
                <a:gd name="connsiteX85" fmla="*/ 7390 w 10000"/>
                <a:gd name="connsiteY85" fmla="*/ 507 h 9663"/>
                <a:gd name="connsiteX86" fmla="*/ 7309 w 10000"/>
                <a:gd name="connsiteY86" fmla="*/ 742 h 9663"/>
                <a:gd name="connsiteX87" fmla="*/ 7028 w 10000"/>
                <a:gd name="connsiteY87" fmla="*/ 742 h 9663"/>
                <a:gd name="connsiteX88" fmla="*/ 6787 w 10000"/>
                <a:gd name="connsiteY88" fmla="*/ 642 h 9663"/>
                <a:gd name="connsiteX89" fmla="*/ 6265 w 10000"/>
                <a:gd name="connsiteY89" fmla="*/ 642 h 9663"/>
                <a:gd name="connsiteX90" fmla="*/ 5743 w 10000"/>
                <a:gd name="connsiteY90" fmla="*/ 642 h 9663"/>
                <a:gd name="connsiteX91" fmla="*/ 5783 w 10000"/>
                <a:gd name="connsiteY91" fmla="*/ 507 h 9663"/>
                <a:gd name="connsiteX92" fmla="*/ 5703 w 10000"/>
                <a:gd name="connsiteY92" fmla="*/ 507 h 9663"/>
                <a:gd name="connsiteX93" fmla="*/ 5663 w 10000"/>
                <a:gd name="connsiteY93" fmla="*/ 642 h 9663"/>
                <a:gd name="connsiteX94" fmla="*/ 5181 w 10000"/>
                <a:gd name="connsiteY94" fmla="*/ 642 h 9663"/>
                <a:gd name="connsiteX95" fmla="*/ 4699 w 10000"/>
                <a:gd name="connsiteY95" fmla="*/ 642 h 9663"/>
                <a:gd name="connsiteX96" fmla="*/ 4217 w 10000"/>
                <a:gd name="connsiteY96" fmla="*/ 642 h 9663"/>
                <a:gd name="connsiteX97" fmla="*/ 3735 w 10000"/>
                <a:gd name="connsiteY97" fmla="*/ 642 h 9663"/>
                <a:gd name="connsiteX98" fmla="*/ 3293 w 10000"/>
                <a:gd name="connsiteY98" fmla="*/ 642 h 9663"/>
                <a:gd name="connsiteX99" fmla="*/ 2811 w 10000"/>
                <a:gd name="connsiteY99" fmla="*/ 642 h 9663"/>
                <a:gd name="connsiteX100" fmla="*/ 2369 w 10000"/>
                <a:gd name="connsiteY100" fmla="*/ 642 h 9663"/>
                <a:gd name="connsiteX101" fmla="*/ 1888 w 10000"/>
                <a:gd name="connsiteY101" fmla="*/ 642 h 9663"/>
                <a:gd name="connsiteX102" fmla="*/ 1888 w 10000"/>
                <a:gd name="connsiteY102" fmla="*/ 1114 h 9663"/>
                <a:gd name="connsiteX103" fmla="*/ 1888 w 10000"/>
                <a:gd name="connsiteY103" fmla="*/ 1723 h 9663"/>
                <a:gd name="connsiteX104" fmla="*/ 1285 w 10000"/>
                <a:gd name="connsiteY104" fmla="*/ 1723 h 9663"/>
                <a:gd name="connsiteX105" fmla="*/ 1285 w 10000"/>
                <a:gd name="connsiteY105" fmla="*/ 1993 h 9663"/>
                <a:gd name="connsiteX0" fmla="*/ 1285 w 10000"/>
                <a:gd name="connsiteY0" fmla="*/ 2063 h 9813"/>
                <a:gd name="connsiteX1" fmla="*/ 1285 w 10000"/>
                <a:gd name="connsiteY1" fmla="*/ 2622 h 9813"/>
                <a:gd name="connsiteX2" fmla="*/ 1285 w 10000"/>
                <a:gd name="connsiteY2" fmla="*/ 3146 h 9813"/>
                <a:gd name="connsiteX3" fmla="*/ 1285 w 10000"/>
                <a:gd name="connsiteY3" fmla="*/ 3671 h 9813"/>
                <a:gd name="connsiteX4" fmla="*/ 1285 w 10000"/>
                <a:gd name="connsiteY4" fmla="*/ 4159 h 9813"/>
                <a:gd name="connsiteX5" fmla="*/ 643 w 10000"/>
                <a:gd name="connsiteY5" fmla="*/ 4266 h 9813"/>
                <a:gd name="connsiteX6" fmla="*/ 522 w 10000"/>
                <a:gd name="connsiteY6" fmla="*/ 4544 h 9813"/>
                <a:gd name="connsiteX7" fmla="*/ 241 w 10000"/>
                <a:gd name="connsiteY7" fmla="*/ 4894 h 9813"/>
                <a:gd name="connsiteX8" fmla="*/ 241 w 10000"/>
                <a:gd name="connsiteY8" fmla="*/ 5174 h 9813"/>
                <a:gd name="connsiteX9" fmla="*/ 120 w 10000"/>
                <a:gd name="connsiteY9" fmla="*/ 5244 h 9813"/>
                <a:gd name="connsiteX10" fmla="*/ 120 w 10000"/>
                <a:gd name="connsiteY10" fmla="*/ 5488 h 9813"/>
                <a:gd name="connsiteX11" fmla="*/ 0 w 10000"/>
                <a:gd name="connsiteY11" fmla="*/ 5699 h 9813"/>
                <a:gd name="connsiteX12" fmla="*/ 0 w 10000"/>
                <a:gd name="connsiteY12" fmla="*/ 5873 h 9813"/>
                <a:gd name="connsiteX13" fmla="*/ 241 w 10000"/>
                <a:gd name="connsiteY13" fmla="*/ 5838 h 9813"/>
                <a:gd name="connsiteX14" fmla="*/ 281 w 10000"/>
                <a:gd name="connsiteY14" fmla="*/ 6152 h 9813"/>
                <a:gd name="connsiteX15" fmla="*/ 602 w 10000"/>
                <a:gd name="connsiteY15" fmla="*/ 6713 h 9813"/>
                <a:gd name="connsiteX16" fmla="*/ 602 w 10000"/>
                <a:gd name="connsiteY16" fmla="*/ 6747 h 9813"/>
                <a:gd name="connsiteX17" fmla="*/ 482 w 10000"/>
                <a:gd name="connsiteY17" fmla="*/ 6783 h 9813"/>
                <a:gd name="connsiteX18" fmla="*/ 964 w 10000"/>
                <a:gd name="connsiteY18" fmla="*/ 7341 h 9813"/>
                <a:gd name="connsiteX19" fmla="*/ 1004 w 10000"/>
                <a:gd name="connsiteY19" fmla="*/ 7516 h 9813"/>
                <a:gd name="connsiteX20" fmla="*/ 964 w 10000"/>
                <a:gd name="connsiteY20" fmla="*/ 8006 h 9813"/>
                <a:gd name="connsiteX21" fmla="*/ 1044 w 10000"/>
                <a:gd name="connsiteY21" fmla="*/ 8076 h 9813"/>
                <a:gd name="connsiteX22" fmla="*/ 1365 w 10000"/>
                <a:gd name="connsiteY22" fmla="*/ 8110 h 9813"/>
                <a:gd name="connsiteX23" fmla="*/ 1406 w 10000"/>
                <a:gd name="connsiteY23" fmla="*/ 8250 h 9813"/>
                <a:gd name="connsiteX24" fmla="*/ 1767 w 10000"/>
                <a:gd name="connsiteY24" fmla="*/ 8285 h 9813"/>
                <a:gd name="connsiteX25" fmla="*/ 1968 w 10000"/>
                <a:gd name="connsiteY25" fmla="*/ 8425 h 9813"/>
                <a:gd name="connsiteX26" fmla="*/ 2008 w 10000"/>
                <a:gd name="connsiteY26" fmla="*/ 8670 h 9813"/>
                <a:gd name="connsiteX27" fmla="*/ 2651 w 10000"/>
                <a:gd name="connsiteY27" fmla="*/ 9090 h 9813"/>
                <a:gd name="connsiteX28" fmla="*/ 2811 w 10000"/>
                <a:gd name="connsiteY28" fmla="*/ 9509 h 9813"/>
                <a:gd name="connsiteX29" fmla="*/ 3253 w 10000"/>
                <a:gd name="connsiteY29" fmla="*/ 9720 h 9813"/>
                <a:gd name="connsiteX30" fmla="*/ 3167 w 10000"/>
                <a:gd name="connsiteY30" fmla="*/ 7732 h 9813"/>
                <a:gd name="connsiteX31" fmla="*/ 3537 w 10000"/>
                <a:gd name="connsiteY31" fmla="*/ 7679 h 9813"/>
                <a:gd name="connsiteX32" fmla="*/ 3795 w 10000"/>
                <a:gd name="connsiteY32" fmla="*/ 7855 h 9813"/>
                <a:gd name="connsiteX33" fmla="*/ 4153 w 10000"/>
                <a:gd name="connsiteY33" fmla="*/ 7923 h 9813"/>
                <a:gd name="connsiteX34" fmla="*/ 4406 w 10000"/>
                <a:gd name="connsiteY34" fmla="*/ 7872 h 9813"/>
                <a:gd name="connsiteX35" fmla="*/ 4600 w 10000"/>
                <a:gd name="connsiteY35" fmla="*/ 7744 h 9813"/>
                <a:gd name="connsiteX36" fmla="*/ 4762 w 10000"/>
                <a:gd name="connsiteY36" fmla="*/ 7508 h 9813"/>
                <a:gd name="connsiteX37" fmla="*/ 4901 w 10000"/>
                <a:gd name="connsiteY37" fmla="*/ 7363 h 9813"/>
                <a:gd name="connsiteX38" fmla="*/ 5080 w 10000"/>
                <a:gd name="connsiteY38" fmla="*/ 7467 h 9813"/>
                <a:gd name="connsiteX39" fmla="*/ 5337 w 10000"/>
                <a:gd name="connsiteY39" fmla="*/ 7570 h 9813"/>
                <a:gd name="connsiteX40" fmla="*/ 5564 w 10000"/>
                <a:gd name="connsiteY40" fmla="*/ 7704 h 9813"/>
                <a:gd name="connsiteX41" fmla="*/ 5768 w 10000"/>
                <a:gd name="connsiteY41" fmla="*/ 7618 h 9813"/>
                <a:gd name="connsiteX42" fmla="*/ 5933 w 10000"/>
                <a:gd name="connsiteY42" fmla="*/ 7536 h 9813"/>
                <a:gd name="connsiteX43" fmla="*/ 6089 w 10000"/>
                <a:gd name="connsiteY43" fmla="*/ 7357 h 9813"/>
                <a:gd name="connsiteX44" fmla="*/ 6274 w 10000"/>
                <a:gd name="connsiteY44" fmla="*/ 7113 h 9813"/>
                <a:gd name="connsiteX45" fmla="*/ 6389 w 10000"/>
                <a:gd name="connsiteY45" fmla="*/ 7001 h 9813"/>
                <a:gd name="connsiteX46" fmla="*/ 6524 w 10000"/>
                <a:gd name="connsiteY46" fmla="*/ 6954 h 9813"/>
                <a:gd name="connsiteX47" fmla="*/ 6531 w 10000"/>
                <a:gd name="connsiteY47" fmla="*/ 6812 h 9813"/>
                <a:gd name="connsiteX48" fmla="*/ 6424 w 10000"/>
                <a:gd name="connsiteY48" fmla="*/ 6487 h 9813"/>
                <a:gd name="connsiteX49" fmla="*/ 6602 w 10000"/>
                <a:gd name="connsiteY49" fmla="*/ 6495 h 9813"/>
                <a:gd name="connsiteX50" fmla="*/ 6707 w 10000"/>
                <a:gd name="connsiteY50" fmla="*/ 6372 h 9813"/>
                <a:gd name="connsiteX51" fmla="*/ 6876 w 10000"/>
                <a:gd name="connsiteY51" fmla="*/ 6373 h 9813"/>
                <a:gd name="connsiteX52" fmla="*/ 6827 w 10000"/>
                <a:gd name="connsiteY52" fmla="*/ 7130 h 9813"/>
                <a:gd name="connsiteX53" fmla="*/ 6991 w 10000"/>
                <a:gd name="connsiteY53" fmla="*/ 7216 h 9813"/>
                <a:gd name="connsiteX54" fmla="*/ 7275 w 10000"/>
                <a:gd name="connsiteY54" fmla="*/ 7437 h 9813"/>
                <a:gd name="connsiteX55" fmla="*/ 7430 w 10000"/>
                <a:gd name="connsiteY55" fmla="*/ 7097 h 9813"/>
                <a:gd name="connsiteX56" fmla="*/ 7470 w 10000"/>
                <a:gd name="connsiteY56" fmla="*/ 7131 h 9813"/>
                <a:gd name="connsiteX57" fmla="*/ 7590 w 10000"/>
                <a:gd name="connsiteY57" fmla="*/ 6922 h 9813"/>
                <a:gd name="connsiteX58" fmla="*/ 7831 w 10000"/>
                <a:gd name="connsiteY58" fmla="*/ 6818 h 9813"/>
                <a:gd name="connsiteX59" fmla="*/ 7952 w 10000"/>
                <a:gd name="connsiteY59" fmla="*/ 6432 h 9813"/>
                <a:gd name="connsiteX60" fmla="*/ 8313 w 10000"/>
                <a:gd name="connsiteY60" fmla="*/ 5978 h 9813"/>
                <a:gd name="connsiteX61" fmla="*/ 8594 w 10000"/>
                <a:gd name="connsiteY61" fmla="*/ 5768 h 9813"/>
                <a:gd name="connsiteX62" fmla="*/ 8795 w 10000"/>
                <a:gd name="connsiteY62" fmla="*/ 5174 h 9813"/>
                <a:gd name="connsiteX63" fmla="*/ 8795 w 10000"/>
                <a:gd name="connsiteY63" fmla="*/ 5035 h 9813"/>
                <a:gd name="connsiteX64" fmla="*/ 8755 w 10000"/>
                <a:gd name="connsiteY64" fmla="*/ 4685 h 9813"/>
                <a:gd name="connsiteX65" fmla="*/ 9157 w 10000"/>
                <a:gd name="connsiteY65" fmla="*/ 3425 h 9813"/>
                <a:gd name="connsiteX66" fmla="*/ 9277 w 10000"/>
                <a:gd name="connsiteY66" fmla="*/ 3425 h 9813"/>
                <a:gd name="connsiteX67" fmla="*/ 9438 w 10000"/>
                <a:gd name="connsiteY67" fmla="*/ 3322 h 9813"/>
                <a:gd name="connsiteX68" fmla="*/ 9920 w 10000"/>
                <a:gd name="connsiteY68" fmla="*/ 3146 h 9813"/>
                <a:gd name="connsiteX69" fmla="*/ 10000 w 10000"/>
                <a:gd name="connsiteY69" fmla="*/ 2867 h 9813"/>
                <a:gd name="connsiteX70" fmla="*/ 9960 w 10000"/>
                <a:gd name="connsiteY70" fmla="*/ 2796 h 9813"/>
                <a:gd name="connsiteX71" fmla="*/ 9799 w 10000"/>
                <a:gd name="connsiteY71" fmla="*/ 2796 h 9813"/>
                <a:gd name="connsiteX72" fmla="*/ 9679 w 10000"/>
                <a:gd name="connsiteY72" fmla="*/ 2622 h 9813"/>
                <a:gd name="connsiteX73" fmla="*/ 9438 w 10000"/>
                <a:gd name="connsiteY73" fmla="*/ 2553 h 9813"/>
                <a:gd name="connsiteX74" fmla="*/ 9317 w 10000"/>
                <a:gd name="connsiteY74" fmla="*/ 2412 h 9813"/>
                <a:gd name="connsiteX75" fmla="*/ 9237 w 10000"/>
                <a:gd name="connsiteY75" fmla="*/ 1888 h 9813"/>
                <a:gd name="connsiteX76" fmla="*/ 9237 w 10000"/>
                <a:gd name="connsiteY76" fmla="*/ 1153 h 9813"/>
                <a:gd name="connsiteX77" fmla="*/ 9036 w 10000"/>
                <a:gd name="connsiteY77" fmla="*/ 910 h 9813"/>
                <a:gd name="connsiteX78" fmla="*/ 8996 w 10000"/>
                <a:gd name="connsiteY78" fmla="*/ 664 h 9813"/>
                <a:gd name="connsiteX79" fmla="*/ 8675 w 10000"/>
                <a:gd name="connsiteY79" fmla="*/ 315 h 9813"/>
                <a:gd name="connsiteX80" fmla="*/ 8394 w 10000"/>
                <a:gd name="connsiteY80" fmla="*/ 176 h 9813"/>
                <a:gd name="connsiteX81" fmla="*/ 8233 w 10000"/>
                <a:gd name="connsiteY81" fmla="*/ 0 h 9813"/>
                <a:gd name="connsiteX82" fmla="*/ 7992 w 10000"/>
                <a:gd name="connsiteY82" fmla="*/ 176 h 9813"/>
                <a:gd name="connsiteX83" fmla="*/ 7831 w 10000"/>
                <a:gd name="connsiteY83" fmla="*/ 140 h 9813"/>
                <a:gd name="connsiteX84" fmla="*/ 7711 w 10000"/>
                <a:gd name="connsiteY84" fmla="*/ 453 h 9813"/>
                <a:gd name="connsiteX85" fmla="*/ 7390 w 10000"/>
                <a:gd name="connsiteY85" fmla="*/ 525 h 9813"/>
                <a:gd name="connsiteX86" fmla="*/ 7309 w 10000"/>
                <a:gd name="connsiteY86" fmla="*/ 768 h 9813"/>
                <a:gd name="connsiteX87" fmla="*/ 7028 w 10000"/>
                <a:gd name="connsiteY87" fmla="*/ 768 h 9813"/>
                <a:gd name="connsiteX88" fmla="*/ 6787 w 10000"/>
                <a:gd name="connsiteY88" fmla="*/ 664 h 9813"/>
                <a:gd name="connsiteX89" fmla="*/ 6265 w 10000"/>
                <a:gd name="connsiteY89" fmla="*/ 664 h 9813"/>
                <a:gd name="connsiteX90" fmla="*/ 5743 w 10000"/>
                <a:gd name="connsiteY90" fmla="*/ 664 h 9813"/>
                <a:gd name="connsiteX91" fmla="*/ 5783 w 10000"/>
                <a:gd name="connsiteY91" fmla="*/ 525 h 9813"/>
                <a:gd name="connsiteX92" fmla="*/ 5703 w 10000"/>
                <a:gd name="connsiteY92" fmla="*/ 525 h 9813"/>
                <a:gd name="connsiteX93" fmla="*/ 5663 w 10000"/>
                <a:gd name="connsiteY93" fmla="*/ 664 h 9813"/>
                <a:gd name="connsiteX94" fmla="*/ 5181 w 10000"/>
                <a:gd name="connsiteY94" fmla="*/ 664 h 9813"/>
                <a:gd name="connsiteX95" fmla="*/ 4699 w 10000"/>
                <a:gd name="connsiteY95" fmla="*/ 664 h 9813"/>
                <a:gd name="connsiteX96" fmla="*/ 4217 w 10000"/>
                <a:gd name="connsiteY96" fmla="*/ 664 h 9813"/>
                <a:gd name="connsiteX97" fmla="*/ 3735 w 10000"/>
                <a:gd name="connsiteY97" fmla="*/ 664 h 9813"/>
                <a:gd name="connsiteX98" fmla="*/ 3293 w 10000"/>
                <a:gd name="connsiteY98" fmla="*/ 664 h 9813"/>
                <a:gd name="connsiteX99" fmla="*/ 2811 w 10000"/>
                <a:gd name="connsiteY99" fmla="*/ 664 h 9813"/>
                <a:gd name="connsiteX100" fmla="*/ 2369 w 10000"/>
                <a:gd name="connsiteY100" fmla="*/ 664 h 9813"/>
                <a:gd name="connsiteX101" fmla="*/ 1888 w 10000"/>
                <a:gd name="connsiteY101" fmla="*/ 664 h 9813"/>
                <a:gd name="connsiteX102" fmla="*/ 1888 w 10000"/>
                <a:gd name="connsiteY102" fmla="*/ 1153 h 9813"/>
                <a:gd name="connsiteX103" fmla="*/ 1888 w 10000"/>
                <a:gd name="connsiteY103" fmla="*/ 1783 h 9813"/>
                <a:gd name="connsiteX104" fmla="*/ 1285 w 10000"/>
                <a:gd name="connsiteY104" fmla="*/ 1783 h 9813"/>
                <a:gd name="connsiteX105" fmla="*/ 1285 w 10000"/>
                <a:gd name="connsiteY105" fmla="*/ 2063 h 9813"/>
                <a:gd name="connsiteX0" fmla="*/ 1285 w 10000"/>
                <a:gd name="connsiteY0" fmla="*/ 2102 h 9690"/>
                <a:gd name="connsiteX1" fmla="*/ 1285 w 10000"/>
                <a:gd name="connsiteY1" fmla="*/ 2672 h 9690"/>
                <a:gd name="connsiteX2" fmla="*/ 1285 w 10000"/>
                <a:gd name="connsiteY2" fmla="*/ 3206 h 9690"/>
                <a:gd name="connsiteX3" fmla="*/ 1285 w 10000"/>
                <a:gd name="connsiteY3" fmla="*/ 3741 h 9690"/>
                <a:gd name="connsiteX4" fmla="*/ 1285 w 10000"/>
                <a:gd name="connsiteY4" fmla="*/ 4238 h 9690"/>
                <a:gd name="connsiteX5" fmla="*/ 643 w 10000"/>
                <a:gd name="connsiteY5" fmla="*/ 4347 h 9690"/>
                <a:gd name="connsiteX6" fmla="*/ 522 w 10000"/>
                <a:gd name="connsiteY6" fmla="*/ 4631 h 9690"/>
                <a:gd name="connsiteX7" fmla="*/ 241 w 10000"/>
                <a:gd name="connsiteY7" fmla="*/ 4987 h 9690"/>
                <a:gd name="connsiteX8" fmla="*/ 241 w 10000"/>
                <a:gd name="connsiteY8" fmla="*/ 5273 h 9690"/>
                <a:gd name="connsiteX9" fmla="*/ 120 w 10000"/>
                <a:gd name="connsiteY9" fmla="*/ 5344 h 9690"/>
                <a:gd name="connsiteX10" fmla="*/ 120 w 10000"/>
                <a:gd name="connsiteY10" fmla="*/ 5593 h 9690"/>
                <a:gd name="connsiteX11" fmla="*/ 0 w 10000"/>
                <a:gd name="connsiteY11" fmla="*/ 5808 h 9690"/>
                <a:gd name="connsiteX12" fmla="*/ 0 w 10000"/>
                <a:gd name="connsiteY12" fmla="*/ 5985 h 9690"/>
                <a:gd name="connsiteX13" fmla="*/ 241 w 10000"/>
                <a:gd name="connsiteY13" fmla="*/ 5949 h 9690"/>
                <a:gd name="connsiteX14" fmla="*/ 281 w 10000"/>
                <a:gd name="connsiteY14" fmla="*/ 6269 h 9690"/>
                <a:gd name="connsiteX15" fmla="*/ 602 w 10000"/>
                <a:gd name="connsiteY15" fmla="*/ 6841 h 9690"/>
                <a:gd name="connsiteX16" fmla="*/ 602 w 10000"/>
                <a:gd name="connsiteY16" fmla="*/ 6876 h 9690"/>
                <a:gd name="connsiteX17" fmla="*/ 482 w 10000"/>
                <a:gd name="connsiteY17" fmla="*/ 6912 h 9690"/>
                <a:gd name="connsiteX18" fmla="*/ 964 w 10000"/>
                <a:gd name="connsiteY18" fmla="*/ 7481 h 9690"/>
                <a:gd name="connsiteX19" fmla="*/ 1004 w 10000"/>
                <a:gd name="connsiteY19" fmla="*/ 7659 h 9690"/>
                <a:gd name="connsiteX20" fmla="*/ 964 w 10000"/>
                <a:gd name="connsiteY20" fmla="*/ 8159 h 9690"/>
                <a:gd name="connsiteX21" fmla="*/ 1044 w 10000"/>
                <a:gd name="connsiteY21" fmla="*/ 8230 h 9690"/>
                <a:gd name="connsiteX22" fmla="*/ 1365 w 10000"/>
                <a:gd name="connsiteY22" fmla="*/ 8265 h 9690"/>
                <a:gd name="connsiteX23" fmla="*/ 1406 w 10000"/>
                <a:gd name="connsiteY23" fmla="*/ 8407 h 9690"/>
                <a:gd name="connsiteX24" fmla="*/ 1767 w 10000"/>
                <a:gd name="connsiteY24" fmla="*/ 8443 h 9690"/>
                <a:gd name="connsiteX25" fmla="*/ 1968 w 10000"/>
                <a:gd name="connsiteY25" fmla="*/ 8586 h 9690"/>
                <a:gd name="connsiteX26" fmla="*/ 2008 w 10000"/>
                <a:gd name="connsiteY26" fmla="*/ 8835 h 9690"/>
                <a:gd name="connsiteX27" fmla="*/ 2651 w 10000"/>
                <a:gd name="connsiteY27" fmla="*/ 9263 h 9690"/>
                <a:gd name="connsiteX28" fmla="*/ 2811 w 10000"/>
                <a:gd name="connsiteY28" fmla="*/ 9690 h 9690"/>
                <a:gd name="connsiteX29" fmla="*/ 2890 w 10000"/>
                <a:gd name="connsiteY29" fmla="*/ 7871 h 9690"/>
                <a:gd name="connsiteX30" fmla="*/ 3167 w 10000"/>
                <a:gd name="connsiteY30" fmla="*/ 7879 h 9690"/>
                <a:gd name="connsiteX31" fmla="*/ 3537 w 10000"/>
                <a:gd name="connsiteY31" fmla="*/ 7825 h 9690"/>
                <a:gd name="connsiteX32" fmla="*/ 3795 w 10000"/>
                <a:gd name="connsiteY32" fmla="*/ 8005 h 9690"/>
                <a:gd name="connsiteX33" fmla="*/ 4153 w 10000"/>
                <a:gd name="connsiteY33" fmla="*/ 8074 h 9690"/>
                <a:gd name="connsiteX34" fmla="*/ 4406 w 10000"/>
                <a:gd name="connsiteY34" fmla="*/ 8022 h 9690"/>
                <a:gd name="connsiteX35" fmla="*/ 4600 w 10000"/>
                <a:gd name="connsiteY35" fmla="*/ 7892 h 9690"/>
                <a:gd name="connsiteX36" fmla="*/ 4762 w 10000"/>
                <a:gd name="connsiteY36" fmla="*/ 7651 h 9690"/>
                <a:gd name="connsiteX37" fmla="*/ 4901 w 10000"/>
                <a:gd name="connsiteY37" fmla="*/ 7503 h 9690"/>
                <a:gd name="connsiteX38" fmla="*/ 5080 w 10000"/>
                <a:gd name="connsiteY38" fmla="*/ 7609 h 9690"/>
                <a:gd name="connsiteX39" fmla="*/ 5337 w 10000"/>
                <a:gd name="connsiteY39" fmla="*/ 7714 h 9690"/>
                <a:gd name="connsiteX40" fmla="*/ 5564 w 10000"/>
                <a:gd name="connsiteY40" fmla="*/ 7851 h 9690"/>
                <a:gd name="connsiteX41" fmla="*/ 5768 w 10000"/>
                <a:gd name="connsiteY41" fmla="*/ 7763 h 9690"/>
                <a:gd name="connsiteX42" fmla="*/ 5933 w 10000"/>
                <a:gd name="connsiteY42" fmla="*/ 7680 h 9690"/>
                <a:gd name="connsiteX43" fmla="*/ 6089 w 10000"/>
                <a:gd name="connsiteY43" fmla="*/ 7497 h 9690"/>
                <a:gd name="connsiteX44" fmla="*/ 6274 w 10000"/>
                <a:gd name="connsiteY44" fmla="*/ 7249 h 9690"/>
                <a:gd name="connsiteX45" fmla="*/ 6389 w 10000"/>
                <a:gd name="connsiteY45" fmla="*/ 7134 h 9690"/>
                <a:gd name="connsiteX46" fmla="*/ 6524 w 10000"/>
                <a:gd name="connsiteY46" fmla="*/ 7087 h 9690"/>
                <a:gd name="connsiteX47" fmla="*/ 6531 w 10000"/>
                <a:gd name="connsiteY47" fmla="*/ 6942 h 9690"/>
                <a:gd name="connsiteX48" fmla="*/ 6424 w 10000"/>
                <a:gd name="connsiteY48" fmla="*/ 6611 h 9690"/>
                <a:gd name="connsiteX49" fmla="*/ 6602 w 10000"/>
                <a:gd name="connsiteY49" fmla="*/ 6619 h 9690"/>
                <a:gd name="connsiteX50" fmla="*/ 6707 w 10000"/>
                <a:gd name="connsiteY50" fmla="*/ 6493 h 9690"/>
                <a:gd name="connsiteX51" fmla="*/ 6876 w 10000"/>
                <a:gd name="connsiteY51" fmla="*/ 6494 h 9690"/>
                <a:gd name="connsiteX52" fmla="*/ 6827 w 10000"/>
                <a:gd name="connsiteY52" fmla="*/ 7266 h 9690"/>
                <a:gd name="connsiteX53" fmla="*/ 6991 w 10000"/>
                <a:gd name="connsiteY53" fmla="*/ 7354 h 9690"/>
                <a:gd name="connsiteX54" fmla="*/ 7275 w 10000"/>
                <a:gd name="connsiteY54" fmla="*/ 7579 h 9690"/>
                <a:gd name="connsiteX55" fmla="*/ 7430 w 10000"/>
                <a:gd name="connsiteY55" fmla="*/ 7232 h 9690"/>
                <a:gd name="connsiteX56" fmla="*/ 7470 w 10000"/>
                <a:gd name="connsiteY56" fmla="*/ 7267 h 9690"/>
                <a:gd name="connsiteX57" fmla="*/ 7590 w 10000"/>
                <a:gd name="connsiteY57" fmla="*/ 7054 h 9690"/>
                <a:gd name="connsiteX58" fmla="*/ 7831 w 10000"/>
                <a:gd name="connsiteY58" fmla="*/ 6948 h 9690"/>
                <a:gd name="connsiteX59" fmla="*/ 7952 w 10000"/>
                <a:gd name="connsiteY59" fmla="*/ 6555 h 9690"/>
                <a:gd name="connsiteX60" fmla="*/ 8313 w 10000"/>
                <a:gd name="connsiteY60" fmla="*/ 6092 h 9690"/>
                <a:gd name="connsiteX61" fmla="*/ 8594 w 10000"/>
                <a:gd name="connsiteY61" fmla="*/ 5878 h 9690"/>
                <a:gd name="connsiteX62" fmla="*/ 8795 w 10000"/>
                <a:gd name="connsiteY62" fmla="*/ 5273 h 9690"/>
                <a:gd name="connsiteX63" fmla="*/ 8795 w 10000"/>
                <a:gd name="connsiteY63" fmla="*/ 5131 h 9690"/>
                <a:gd name="connsiteX64" fmla="*/ 8755 w 10000"/>
                <a:gd name="connsiteY64" fmla="*/ 4774 h 9690"/>
                <a:gd name="connsiteX65" fmla="*/ 9157 w 10000"/>
                <a:gd name="connsiteY65" fmla="*/ 3490 h 9690"/>
                <a:gd name="connsiteX66" fmla="*/ 9277 w 10000"/>
                <a:gd name="connsiteY66" fmla="*/ 3490 h 9690"/>
                <a:gd name="connsiteX67" fmla="*/ 9438 w 10000"/>
                <a:gd name="connsiteY67" fmla="*/ 3385 h 9690"/>
                <a:gd name="connsiteX68" fmla="*/ 9920 w 10000"/>
                <a:gd name="connsiteY68" fmla="*/ 3206 h 9690"/>
                <a:gd name="connsiteX69" fmla="*/ 10000 w 10000"/>
                <a:gd name="connsiteY69" fmla="*/ 2922 h 9690"/>
                <a:gd name="connsiteX70" fmla="*/ 9960 w 10000"/>
                <a:gd name="connsiteY70" fmla="*/ 2849 h 9690"/>
                <a:gd name="connsiteX71" fmla="*/ 9799 w 10000"/>
                <a:gd name="connsiteY71" fmla="*/ 2849 h 9690"/>
                <a:gd name="connsiteX72" fmla="*/ 9679 w 10000"/>
                <a:gd name="connsiteY72" fmla="*/ 2672 h 9690"/>
                <a:gd name="connsiteX73" fmla="*/ 9438 w 10000"/>
                <a:gd name="connsiteY73" fmla="*/ 2602 h 9690"/>
                <a:gd name="connsiteX74" fmla="*/ 9317 w 10000"/>
                <a:gd name="connsiteY74" fmla="*/ 2458 h 9690"/>
                <a:gd name="connsiteX75" fmla="*/ 9237 w 10000"/>
                <a:gd name="connsiteY75" fmla="*/ 1924 h 9690"/>
                <a:gd name="connsiteX76" fmla="*/ 9237 w 10000"/>
                <a:gd name="connsiteY76" fmla="*/ 1175 h 9690"/>
                <a:gd name="connsiteX77" fmla="*/ 9036 w 10000"/>
                <a:gd name="connsiteY77" fmla="*/ 927 h 9690"/>
                <a:gd name="connsiteX78" fmla="*/ 8996 w 10000"/>
                <a:gd name="connsiteY78" fmla="*/ 677 h 9690"/>
                <a:gd name="connsiteX79" fmla="*/ 8675 w 10000"/>
                <a:gd name="connsiteY79" fmla="*/ 321 h 9690"/>
                <a:gd name="connsiteX80" fmla="*/ 8394 w 10000"/>
                <a:gd name="connsiteY80" fmla="*/ 179 h 9690"/>
                <a:gd name="connsiteX81" fmla="*/ 8233 w 10000"/>
                <a:gd name="connsiteY81" fmla="*/ 0 h 9690"/>
                <a:gd name="connsiteX82" fmla="*/ 7992 w 10000"/>
                <a:gd name="connsiteY82" fmla="*/ 179 h 9690"/>
                <a:gd name="connsiteX83" fmla="*/ 7831 w 10000"/>
                <a:gd name="connsiteY83" fmla="*/ 143 h 9690"/>
                <a:gd name="connsiteX84" fmla="*/ 7711 w 10000"/>
                <a:gd name="connsiteY84" fmla="*/ 462 h 9690"/>
                <a:gd name="connsiteX85" fmla="*/ 7390 w 10000"/>
                <a:gd name="connsiteY85" fmla="*/ 535 h 9690"/>
                <a:gd name="connsiteX86" fmla="*/ 7309 w 10000"/>
                <a:gd name="connsiteY86" fmla="*/ 783 h 9690"/>
                <a:gd name="connsiteX87" fmla="*/ 7028 w 10000"/>
                <a:gd name="connsiteY87" fmla="*/ 783 h 9690"/>
                <a:gd name="connsiteX88" fmla="*/ 6787 w 10000"/>
                <a:gd name="connsiteY88" fmla="*/ 677 h 9690"/>
                <a:gd name="connsiteX89" fmla="*/ 6265 w 10000"/>
                <a:gd name="connsiteY89" fmla="*/ 677 h 9690"/>
                <a:gd name="connsiteX90" fmla="*/ 5743 w 10000"/>
                <a:gd name="connsiteY90" fmla="*/ 677 h 9690"/>
                <a:gd name="connsiteX91" fmla="*/ 5783 w 10000"/>
                <a:gd name="connsiteY91" fmla="*/ 535 h 9690"/>
                <a:gd name="connsiteX92" fmla="*/ 5703 w 10000"/>
                <a:gd name="connsiteY92" fmla="*/ 535 h 9690"/>
                <a:gd name="connsiteX93" fmla="*/ 5663 w 10000"/>
                <a:gd name="connsiteY93" fmla="*/ 677 h 9690"/>
                <a:gd name="connsiteX94" fmla="*/ 5181 w 10000"/>
                <a:gd name="connsiteY94" fmla="*/ 677 h 9690"/>
                <a:gd name="connsiteX95" fmla="*/ 4699 w 10000"/>
                <a:gd name="connsiteY95" fmla="*/ 677 h 9690"/>
                <a:gd name="connsiteX96" fmla="*/ 4217 w 10000"/>
                <a:gd name="connsiteY96" fmla="*/ 677 h 9690"/>
                <a:gd name="connsiteX97" fmla="*/ 3735 w 10000"/>
                <a:gd name="connsiteY97" fmla="*/ 677 h 9690"/>
                <a:gd name="connsiteX98" fmla="*/ 3293 w 10000"/>
                <a:gd name="connsiteY98" fmla="*/ 677 h 9690"/>
                <a:gd name="connsiteX99" fmla="*/ 2811 w 10000"/>
                <a:gd name="connsiteY99" fmla="*/ 677 h 9690"/>
                <a:gd name="connsiteX100" fmla="*/ 2369 w 10000"/>
                <a:gd name="connsiteY100" fmla="*/ 677 h 9690"/>
                <a:gd name="connsiteX101" fmla="*/ 1888 w 10000"/>
                <a:gd name="connsiteY101" fmla="*/ 677 h 9690"/>
                <a:gd name="connsiteX102" fmla="*/ 1888 w 10000"/>
                <a:gd name="connsiteY102" fmla="*/ 1175 h 9690"/>
                <a:gd name="connsiteX103" fmla="*/ 1888 w 10000"/>
                <a:gd name="connsiteY103" fmla="*/ 1817 h 9690"/>
                <a:gd name="connsiteX104" fmla="*/ 1285 w 10000"/>
                <a:gd name="connsiteY104" fmla="*/ 1817 h 9690"/>
                <a:gd name="connsiteX105" fmla="*/ 1285 w 10000"/>
                <a:gd name="connsiteY105" fmla="*/ 2102 h 9690"/>
                <a:gd name="connsiteX0" fmla="*/ 1285 w 10000"/>
                <a:gd name="connsiteY0" fmla="*/ 2169 h 9707"/>
                <a:gd name="connsiteX1" fmla="*/ 1285 w 10000"/>
                <a:gd name="connsiteY1" fmla="*/ 2757 h 9707"/>
                <a:gd name="connsiteX2" fmla="*/ 1285 w 10000"/>
                <a:gd name="connsiteY2" fmla="*/ 3309 h 9707"/>
                <a:gd name="connsiteX3" fmla="*/ 1285 w 10000"/>
                <a:gd name="connsiteY3" fmla="*/ 3861 h 9707"/>
                <a:gd name="connsiteX4" fmla="*/ 1285 w 10000"/>
                <a:gd name="connsiteY4" fmla="*/ 4374 h 9707"/>
                <a:gd name="connsiteX5" fmla="*/ 643 w 10000"/>
                <a:gd name="connsiteY5" fmla="*/ 4486 h 9707"/>
                <a:gd name="connsiteX6" fmla="*/ 522 w 10000"/>
                <a:gd name="connsiteY6" fmla="*/ 4779 h 9707"/>
                <a:gd name="connsiteX7" fmla="*/ 241 w 10000"/>
                <a:gd name="connsiteY7" fmla="*/ 5147 h 9707"/>
                <a:gd name="connsiteX8" fmla="*/ 241 w 10000"/>
                <a:gd name="connsiteY8" fmla="*/ 5442 h 9707"/>
                <a:gd name="connsiteX9" fmla="*/ 120 w 10000"/>
                <a:gd name="connsiteY9" fmla="*/ 5515 h 9707"/>
                <a:gd name="connsiteX10" fmla="*/ 120 w 10000"/>
                <a:gd name="connsiteY10" fmla="*/ 5772 h 9707"/>
                <a:gd name="connsiteX11" fmla="*/ 0 w 10000"/>
                <a:gd name="connsiteY11" fmla="*/ 5994 h 9707"/>
                <a:gd name="connsiteX12" fmla="*/ 0 w 10000"/>
                <a:gd name="connsiteY12" fmla="*/ 6176 h 9707"/>
                <a:gd name="connsiteX13" fmla="*/ 241 w 10000"/>
                <a:gd name="connsiteY13" fmla="*/ 6139 h 9707"/>
                <a:gd name="connsiteX14" fmla="*/ 281 w 10000"/>
                <a:gd name="connsiteY14" fmla="*/ 6470 h 9707"/>
                <a:gd name="connsiteX15" fmla="*/ 602 w 10000"/>
                <a:gd name="connsiteY15" fmla="*/ 7060 h 9707"/>
                <a:gd name="connsiteX16" fmla="*/ 602 w 10000"/>
                <a:gd name="connsiteY16" fmla="*/ 7096 h 9707"/>
                <a:gd name="connsiteX17" fmla="*/ 482 w 10000"/>
                <a:gd name="connsiteY17" fmla="*/ 7133 h 9707"/>
                <a:gd name="connsiteX18" fmla="*/ 964 w 10000"/>
                <a:gd name="connsiteY18" fmla="*/ 7720 h 9707"/>
                <a:gd name="connsiteX19" fmla="*/ 1004 w 10000"/>
                <a:gd name="connsiteY19" fmla="*/ 7904 h 9707"/>
                <a:gd name="connsiteX20" fmla="*/ 964 w 10000"/>
                <a:gd name="connsiteY20" fmla="*/ 8420 h 9707"/>
                <a:gd name="connsiteX21" fmla="*/ 1044 w 10000"/>
                <a:gd name="connsiteY21" fmla="*/ 8493 h 9707"/>
                <a:gd name="connsiteX22" fmla="*/ 1365 w 10000"/>
                <a:gd name="connsiteY22" fmla="*/ 8529 h 9707"/>
                <a:gd name="connsiteX23" fmla="*/ 1406 w 10000"/>
                <a:gd name="connsiteY23" fmla="*/ 8676 h 9707"/>
                <a:gd name="connsiteX24" fmla="*/ 1767 w 10000"/>
                <a:gd name="connsiteY24" fmla="*/ 8713 h 9707"/>
                <a:gd name="connsiteX25" fmla="*/ 1968 w 10000"/>
                <a:gd name="connsiteY25" fmla="*/ 8861 h 9707"/>
                <a:gd name="connsiteX26" fmla="*/ 2008 w 10000"/>
                <a:gd name="connsiteY26" fmla="*/ 9118 h 9707"/>
                <a:gd name="connsiteX27" fmla="*/ 2651 w 10000"/>
                <a:gd name="connsiteY27" fmla="*/ 9559 h 9707"/>
                <a:gd name="connsiteX28" fmla="*/ 2679 w 10000"/>
                <a:gd name="connsiteY28" fmla="*/ 8143 h 9707"/>
                <a:gd name="connsiteX29" fmla="*/ 2890 w 10000"/>
                <a:gd name="connsiteY29" fmla="*/ 8123 h 9707"/>
                <a:gd name="connsiteX30" fmla="*/ 3167 w 10000"/>
                <a:gd name="connsiteY30" fmla="*/ 8131 h 9707"/>
                <a:gd name="connsiteX31" fmla="*/ 3537 w 10000"/>
                <a:gd name="connsiteY31" fmla="*/ 8075 h 9707"/>
                <a:gd name="connsiteX32" fmla="*/ 3795 w 10000"/>
                <a:gd name="connsiteY32" fmla="*/ 8261 h 9707"/>
                <a:gd name="connsiteX33" fmla="*/ 4153 w 10000"/>
                <a:gd name="connsiteY33" fmla="*/ 8332 h 9707"/>
                <a:gd name="connsiteX34" fmla="*/ 4406 w 10000"/>
                <a:gd name="connsiteY34" fmla="*/ 8279 h 9707"/>
                <a:gd name="connsiteX35" fmla="*/ 4600 w 10000"/>
                <a:gd name="connsiteY35" fmla="*/ 8144 h 9707"/>
                <a:gd name="connsiteX36" fmla="*/ 4762 w 10000"/>
                <a:gd name="connsiteY36" fmla="*/ 7896 h 9707"/>
                <a:gd name="connsiteX37" fmla="*/ 4901 w 10000"/>
                <a:gd name="connsiteY37" fmla="*/ 7743 h 9707"/>
                <a:gd name="connsiteX38" fmla="*/ 5080 w 10000"/>
                <a:gd name="connsiteY38" fmla="*/ 7852 h 9707"/>
                <a:gd name="connsiteX39" fmla="*/ 5337 w 10000"/>
                <a:gd name="connsiteY39" fmla="*/ 7961 h 9707"/>
                <a:gd name="connsiteX40" fmla="*/ 5564 w 10000"/>
                <a:gd name="connsiteY40" fmla="*/ 8102 h 9707"/>
                <a:gd name="connsiteX41" fmla="*/ 5768 w 10000"/>
                <a:gd name="connsiteY41" fmla="*/ 8011 h 9707"/>
                <a:gd name="connsiteX42" fmla="*/ 5933 w 10000"/>
                <a:gd name="connsiteY42" fmla="*/ 7926 h 9707"/>
                <a:gd name="connsiteX43" fmla="*/ 6089 w 10000"/>
                <a:gd name="connsiteY43" fmla="*/ 7737 h 9707"/>
                <a:gd name="connsiteX44" fmla="*/ 6274 w 10000"/>
                <a:gd name="connsiteY44" fmla="*/ 7481 h 9707"/>
                <a:gd name="connsiteX45" fmla="*/ 6389 w 10000"/>
                <a:gd name="connsiteY45" fmla="*/ 7362 h 9707"/>
                <a:gd name="connsiteX46" fmla="*/ 6524 w 10000"/>
                <a:gd name="connsiteY46" fmla="*/ 7314 h 9707"/>
                <a:gd name="connsiteX47" fmla="*/ 6531 w 10000"/>
                <a:gd name="connsiteY47" fmla="*/ 7164 h 9707"/>
                <a:gd name="connsiteX48" fmla="*/ 6424 w 10000"/>
                <a:gd name="connsiteY48" fmla="*/ 6822 h 9707"/>
                <a:gd name="connsiteX49" fmla="*/ 6602 w 10000"/>
                <a:gd name="connsiteY49" fmla="*/ 6831 h 9707"/>
                <a:gd name="connsiteX50" fmla="*/ 6707 w 10000"/>
                <a:gd name="connsiteY50" fmla="*/ 6701 h 9707"/>
                <a:gd name="connsiteX51" fmla="*/ 6876 w 10000"/>
                <a:gd name="connsiteY51" fmla="*/ 6702 h 9707"/>
                <a:gd name="connsiteX52" fmla="*/ 6827 w 10000"/>
                <a:gd name="connsiteY52" fmla="*/ 7498 h 9707"/>
                <a:gd name="connsiteX53" fmla="*/ 6991 w 10000"/>
                <a:gd name="connsiteY53" fmla="*/ 7589 h 9707"/>
                <a:gd name="connsiteX54" fmla="*/ 7275 w 10000"/>
                <a:gd name="connsiteY54" fmla="*/ 7821 h 9707"/>
                <a:gd name="connsiteX55" fmla="*/ 7430 w 10000"/>
                <a:gd name="connsiteY55" fmla="*/ 7463 h 9707"/>
                <a:gd name="connsiteX56" fmla="*/ 7470 w 10000"/>
                <a:gd name="connsiteY56" fmla="*/ 7499 h 9707"/>
                <a:gd name="connsiteX57" fmla="*/ 7590 w 10000"/>
                <a:gd name="connsiteY57" fmla="*/ 7280 h 9707"/>
                <a:gd name="connsiteX58" fmla="*/ 7831 w 10000"/>
                <a:gd name="connsiteY58" fmla="*/ 7170 h 9707"/>
                <a:gd name="connsiteX59" fmla="*/ 7952 w 10000"/>
                <a:gd name="connsiteY59" fmla="*/ 6765 h 9707"/>
                <a:gd name="connsiteX60" fmla="*/ 8313 w 10000"/>
                <a:gd name="connsiteY60" fmla="*/ 6287 h 9707"/>
                <a:gd name="connsiteX61" fmla="*/ 8594 w 10000"/>
                <a:gd name="connsiteY61" fmla="*/ 6066 h 9707"/>
                <a:gd name="connsiteX62" fmla="*/ 8795 w 10000"/>
                <a:gd name="connsiteY62" fmla="*/ 5442 h 9707"/>
                <a:gd name="connsiteX63" fmla="*/ 8795 w 10000"/>
                <a:gd name="connsiteY63" fmla="*/ 5295 h 9707"/>
                <a:gd name="connsiteX64" fmla="*/ 8755 w 10000"/>
                <a:gd name="connsiteY64" fmla="*/ 4927 h 9707"/>
                <a:gd name="connsiteX65" fmla="*/ 9157 w 10000"/>
                <a:gd name="connsiteY65" fmla="*/ 3602 h 9707"/>
                <a:gd name="connsiteX66" fmla="*/ 9277 w 10000"/>
                <a:gd name="connsiteY66" fmla="*/ 3602 h 9707"/>
                <a:gd name="connsiteX67" fmla="*/ 9438 w 10000"/>
                <a:gd name="connsiteY67" fmla="*/ 3493 h 9707"/>
                <a:gd name="connsiteX68" fmla="*/ 9920 w 10000"/>
                <a:gd name="connsiteY68" fmla="*/ 3309 h 9707"/>
                <a:gd name="connsiteX69" fmla="*/ 10000 w 10000"/>
                <a:gd name="connsiteY69" fmla="*/ 3015 h 9707"/>
                <a:gd name="connsiteX70" fmla="*/ 9960 w 10000"/>
                <a:gd name="connsiteY70" fmla="*/ 2940 h 9707"/>
                <a:gd name="connsiteX71" fmla="*/ 9799 w 10000"/>
                <a:gd name="connsiteY71" fmla="*/ 2940 h 9707"/>
                <a:gd name="connsiteX72" fmla="*/ 9679 w 10000"/>
                <a:gd name="connsiteY72" fmla="*/ 2757 h 9707"/>
                <a:gd name="connsiteX73" fmla="*/ 9438 w 10000"/>
                <a:gd name="connsiteY73" fmla="*/ 2685 h 9707"/>
                <a:gd name="connsiteX74" fmla="*/ 9317 w 10000"/>
                <a:gd name="connsiteY74" fmla="*/ 2537 h 9707"/>
                <a:gd name="connsiteX75" fmla="*/ 9237 w 10000"/>
                <a:gd name="connsiteY75" fmla="*/ 1986 h 9707"/>
                <a:gd name="connsiteX76" fmla="*/ 9237 w 10000"/>
                <a:gd name="connsiteY76" fmla="*/ 1213 h 9707"/>
                <a:gd name="connsiteX77" fmla="*/ 9036 w 10000"/>
                <a:gd name="connsiteY77" fmla="*/ 957 h 9707"/>
                <a:gd name="connsiteX78" fmla="*/ 8996 w 10000"/>
                <a:gd name="connsiteY78" fmla="*/ 699 h 9707"/>
                <a:gd name="connsiteX79" fmla="*/ 8675 w 10000"/>
                <a:gd name="connsiteY79" fmla="*/ 331 h 9707"/>
                <a:gd name="connsiteX80" fmla="*/ 8394 w 10000"/>
                <a:gd name="connsiteY80" fmla="*/ 185 h 9707"/>
                <a:gd name="connsiteX81" fmla="*/ 8233 w 10000"/>
                <a:gd name="connsiteY81" fmla="*/ 0 h 9707"/>
                <a:gd name="connsiteX82" fmla="*/ 7992 w 10000"/>
                <a:gd name="connsiteY82" fmla="*/ 185 h 9707"/>
                <a:gd name="connsiteX83" fmla="*/ 7831 w 10000"/>
                <a:gd name="connsiteY83" fmla="*/ 148 h 9707"/>
                <a:gd name="connsiteX84" fmla="*/ 7711 w 10000"/>
                <a:gd name="connsiteY84" fmla="*/ 477 h 9707"/>
                <a:gd name="connsiteX85" fmla="*/ 7390 w 10000"/>
                <a:gd name="connsiteY85" fmla="*/ 552 h 9707"/>
                <a:gd name="connsiteX86" fmla="*/ 7309 w 10000"/>
                <a:gd name="connsiteY86" fmla="*/ 808 h 9707"/>
                <a:gd name="connsiteX87" fmla="*/ 7028 w 10000"/>
                <a:gd name="connsiteY87" fmla="*/ 808 h 9707"/>
                <a:gd name="connsiteX88" fmla="*/ 6787 w 10000"/>
                <a:gd name="connsiteY88" fmla="*/ 699 h 9707"/>
                <a:gd name="connsiteX89" fmla="*/ 6265 w 10000"/>
                <a:gd name="connsiteY89" fmla="*/ 699 h 9707"/>
                <a:gd name="connsiteX90" fmla="*/ 5743 w 10000"/>
                <a:gd name="connsiteY90" fmla="*/ 699 h 9707"/>
                <a:gd name="connsiteX91" fmla="*/ 5783 w 10000"/>
                <a:gd name="connsiteY91" fmla="*/ 552 h 9707"/>
                <a:gd name="connsiteX92" fmla="*/ 5703 w 10000"/>
                <a:gd name="connsiteY92" fmla="*/ 552 h 9707"/>
                <a:gd name="connsiteX93" fmla="*/ 5663 w 10000"/>
                <a:gd name="connsiteY93" fmla="*/ 699 h 9707"/>
                <a:gd name="connsiteX94" fmla="*/ 5181 w 10000"/>
                <a:gd name="connsiteY94" fmla="*/ 699 h 9707"/>
                <a:gd name="connsiteX95" fmla="*/ 4699 w 10000"/>
                <a:gd name="connsiteY95" fmla="*/ 699 h 9707"/>
                <a:gd name="connsiteX96" fmla="*/ 4217 w 10000"/>
                <a:gd name="connsiteY96" fmla="*/ 699 h 9707"/>
                <a:gd name="connsiteX97" fmla="*/ 3735 w 10000"/>
                <a:gd name="connsiteY97" fmla="*/ 699 h 9707"/>
                <a:gd name="connsiteX98" fmla="*/ 3293 w 10000"/>
                <a:gd name="connsiteY98" fmla="*/ 699 h 9707"/>
                <a:gd name="connsiteX99" fmla="*/ 2811 w 10000"/>
                <a:gd name="connsiteY99" fmla="*/ 699 h 9707"/>
                <a:gd name="connsiteX100" fmla="*/ 2369 w 10000"/>
                <a:gd name="connsiteY100" fmla="*/ 699 h 9707"/>
                <a:gd name="connsiteX101" fmla="*/ 1888 w 10000"/>
                <a:gd name="connsiteY101" fmla="*/ 699 h 9707"/>
                <a:gd name="connsiteX102" fmla="*/ 1888 w 10000"/>
                <a:gd name="connsiteY102" fmla="*/ 1213 h 9707"/>
                <a:gd name="connsiteX103" fmla="*/ 1888 w 10000"/>
                <a:gd name="connsiteY103" fmla="*/ 1875 h 9707"/>
                <a:gd name="connsiteX104" fmla="*/ 1285 w 10000"/>
                <a:gd name="connsiteY104" fmla="*/ 1875 h 9707"/>
                <a:gd name="connsiteX105" fmla="*/ 1285 w 10000"/>
                <a:gd name="connsiteY105" fmla="*/ 2169 h 9707"/>
                <a:gd name="connsiteX0" fmla="*/ 1285 w 10000"/>
                <a:gd name="connsiteY0" fmla="*/ 2234 h 9424"/>
                <a:gd name="connsiteX1" fmla="*/ 1285 w 10000"/>
                <a:gd name="connsiteY1" fmla="*/ 2840 h 9424"/>
                <a:gd name="connsiteX2" fmla="*/ 1285 w 10000"/>
                <a:gd name="connsiteY2" fmla="*/ 3409 h 9424"/>
                <a:gd name="connsiteX3" fmla="*/ 1285 w 10000"/>
                <a:gd name="connsiteY3" fmla="*/ 3978 h 9424"/>
                <a:gd name="connsiteX4" fmla="*/ 1285 w 10000"/>
                <a:gd name="connsiteY4" fmla="*/ 4506 h 9424"/>
                <a:gd name="connsiteX5" fmla="*/ 643 w 10000"/>
                <a:gd name="connsiteY5" fmla="*/ 4621 h 9424"/>
                <a:gd name="connsiteX6" fmla="*/ 522 w 10000"/>
                <a:gd name="connsiteY6" fmla="*/ 4923 h 9424"/>
                <a:gd name="connsiteX7" fmla="*/ 241 w 10000"/>
                <a:gd name="connsiteY7" fmla="*/ 5302 h 9424"/>
                <a:gd name="connsiteX8" fmla="*/ 241 w 10000"/>
                <a:gd name="connsiteY8" fmla="*/ 5606 h 9424"/>
                <a:gd name="connsiteX9" fmla="*/ 120 w 10000"/>
                <a:gd name="connsiteY9" fmla="*/ 5681 h 9424"/>
                <a:gd name="connsiteX10" fmla="*/ 120 w 10000"/>
                <a:gd name="connsiteY10" fmla="*/ 5946 h 9424"/>
                <a:gd name="connsiteX11" fmla="*/ 0 w 10000"/>
                <a:gd name="connsiteY11" fmla="*/ 6175 h 9424"/>
                <a:gd name="connsiteX12" fmla="*/ 0 w 10000"/>
                <a:gd name="connsiteY12" fmla="*/ 6362 h 9424"/>
                <a:gd name="connsiteX13" fmla="*/ 241 w 10000"/>
                <a:gd name="connsiteY13" fmla="*/ 6324 h 9424"/>
                <a:gd name="connsiteX14" fmla="*/ 281 w 10000"/>
                <a:gd name="connsiteY14" fmla="*/ 6665 h 9424"/>
                <a:gd name="connsiteX15" fmla="*/ 602 w 10000"/>
                <a:gd name="connsiteY15" fmla="*/ 7273 h 9424"/>
                <a:gd name="connsiteX16" fmla="*/ 602 w 10000"/>
                <a:gd name="connsiteY16" fmla="*/ 7310 h 9424"/>
                <a:gd name="connsiteX17" fmla="*/ 482 w 10000"/>
                <a:gd name="connsiteY17" fmla="*/ 7348 h 9424"/>
                <a:gd name="connsiteX18" fmla="*/ 964 w 10000"/>
                <a:gd name="connsiteY18" fmla="*/ 7953 h 9424"/>
                <a:gd name="connsiteX19" fmla="*/ 1004 w 10000"/>
                <a:gd name="connsiteY19" fmla="*/ 8143 h 9424"/>
                <a:gd name="connsiteX20" fmla="*/ 964 w 10000"/>
                <a:gd name="connsiteY20" fmla="*/ 8674 h 9424"/>
                <a:gd name="connsiteX21" fmla="*/ 1044 w 10000"/>
                <a:gd name="connsiteY21" fmla="*/ 8749 h 9424"/>
                <a:gd name="connsiteX22" fmla="*/ 1365 w 10000"/>
                <a:gd name="connsiteY22" fmla="*/ 8786 h 9424"/>
                <a:gd name="connsiteX23" fmla="*/ 1406 w 10000"/>
                <a:gd name="connsiteY23" fmla="*/ 8938 h 9424"/>
                <a:gd name="connsiteX24" fmla="*/ 1767 w 10000"/>
                <a:gd name="connsiteY24" fmla="*/ 8976 h 9424"/>
                <a:gd name="connsiteX25" fmla="*/ 1968 w 10000"/>
                <a:gd name="connsiteY25" fmla="*/ 9128 h 9424"/>
                <a:gd name="connsiteX26" fmla="*/ 2008 w 10000"/>
                <a:gd name="connsiteY26" fmla="*/ 9393 h 9424"/>
                <a:gd name="connsiteX27" fmla="*/ 2519 w 10000"/>
                <a:gd name="connsiteY27" fmla="*/ 7935 h 9424"/>
                <a:gd name="connsiteX28" fmla="*/ 2679 w 10000"/>
                <a:gd name="connsiteY28" fmla="*/ 8389 h 9424"/>
                <a:gd name="connsiteX29" fmla="*/ 2890 w 10000"/>
                <a:gd name="connsiteY29" fmla="*/ 8368 h 9424"/>
                <a:gd name="connsiteX30" fmla="*/ 3167 w 10000"/>
                <a:gd name="connsiteY30" fmla="*/ 8376 h 9424"/>
                <a:gd name="connsiteX31" fmla="*/ 3537 w 10000"/>
                <a:gd name="connsiteY31" fmla="*/ 8319 h 9424"/>
                <a:gd name="connsiteX32" fmla="*/ 3795 w 10000"/>
                <a:gd name="connsiteY32" fmla="*/ 8510 h 9424"/>
                <a:gd name="connsiteX33" fmla="*/ 4153 w 10000"/>
                <a:gd name="connsiteY33" fmla="*/ 8583 h 9424"/>
                <a:gd name="connsiteX34" fmla="*/ 4406 w 10000"/>
                <a:gd name="connsiteY34" fmla="*/ 8529 h 9424"/>
                <a:gd name="connsiteX35" fmla="*/ 4600 w 10000"/>
                <a:gd name="connsiteY35" fmla="*/ 8390 h 9424"/>
                <a:gd name="connsiteX36" fmla="*/ 4762 w 10000"/>
                <a:gd name="connsiteY36" fmla="*/ 8134 h 9424"/>
                <a:gd name="connsiteX37" fmla="*/ 4901 w 10000"/>
                <a:gd name="connsiteY37" fmla="*/ 7977 h 9424"/>
                <a:gd name="connsiteX38" fmla="*/ 5080 w 10000"/>
                <a:gd name="connsiteY38" fmla="*/ 8089 h 9424"/>
                <a:gd name="connsiteX39" fmla="*/ 5337 w 10000"/>
                <a:gd name="connsiteY39" fmla="*/ 8201 h 9424"/>
                <a:gd name="connsiteX40" fmla="*/ 5564 w 10000"/>
                <a:gd name="connsiteY40" fmla="*/ 8347 h 9424"/>
                <a:gd name="connsiteX41" fmla="*/ 5768 w 10000"/>
                <a:gd name="connsiteY41" fmla="*/ 8253 h 9424"/>
                <a:gd name="connsiteX42" fmla="*/ 5933 w 10000"/>
                <a:gd name="connsiteY42" fmla="*/ 8165 h 9424"/>
                <a:gd name="connsiteX43" fmla="*/ 6089 w 10000"/>
                <a:gd name="connsiteY43" fmla="*/ 7971 h 9424"/>
                <a:gd name="connsiteX44" fmla="*/ 6274 w 10000"/>
                <a:gd name="connsiteY44" fmla="*/ 7707 h 9424"/>
                <a:gd name="connsiteX45" fmla="*/ 6389 w 10000"/>
                <a:gd name="connsiteY45" fmla="*/ 7584 h 9424"/>
                <a:gd name="connsiteX46" fmla="*/ 6524 w 10000"/>
                <a:gd name="connsiteY46" fmla="*/ 7535 h 9424"/>
                <a:gd name="connsiteX47" fmla="*/ 6531 w 10000"/>
                <a:gd name="connsiteY47" fmla="*/ 7380 h 9424"/>
                <a:gd name="connsiteX48" fmla="*/ 6424 w 10000"/>
                <a:gd name="connsiteY48" fmla="*/ 7028 h 9424"/>
                <a:gd name="connsiteX49" fmla="*/ 6602 w 10000"/>
                <a:gd name="connsiteY49" fmla="*/ 7037 h 9424"/>
                <a:gd name="connsiteX50" fmla="*/ 6707 w 10000"/>
                <a:gd name="connsiteY50" fmla="*/ 6903 h 9424"/>
                <a:gd name="connsiteX51" fmla="*/ 6876 w 10000"/>
                <a:gd name="connsiteY51" fmla="*/ 6904 h 9424"/>
                <a:gd name="connsiteX52" fmla="*/ 6827 w 10000"/>
                <a:gd name="connsiteY52" fmla="*/ 7724 h 9424"/>
                <a:gd name="connsiteX53" fmla="*/ 6991 w 10000"/>
                <a:gd name="connsiteY53" fmla="*/ 7818 h 9424"/>
                <a:gd name="connsiteX54" fmla="*/ 7275 w 10000"/>
                <a:gd name="connsiteY54" fmla="*/ 8057 h 9424"/>
                <a:gd name="connsiteX55" fmla="*/ 7430 w 10000"/>
                <a:gd name="connsiteY55" fmla="*/ 7688 h 9424"/>
                <a:gd name="connsiteX56" fmla="*/ 7470 w 10000"/>
                <a:gd name="connsiteY56" fmla="*/ 7725 h 9424"/>
                <a:gd name="connsiteX57" fmla="*/ 7590 w 10000"/>
                <a:gd name="connsiteY57" fmla="*/ 7500 h 9424"/>
                <a:gd name="connsiteX58" fmla="*/ 7831 w 10000"/>
                <a:gd name="connsiteY58" fmla="*/ 7386 h 9424"/>
                <a:gd name="connsiteX59" fmla="*/ 7952 w 10000"/>
                <a:gd name="connsiteY59" fmla="*/ 6969 h 9424"/>
                <a:gd name="connsiteX60" fmla="*/ 8313 w 10000"/>
                <a:gd name="connsiteY60" fmla="*/ 6477 h 9424"/>
                <a:gd name="connsiteX61" fmla="*/ 8594 w 10000"/>
                <a:gd name="connsiteY61" fmla="*/ 6249 h 9424"/>
                <a:gd name="connsiteX62" fmla="*/ 8795 w 10000"/>
                <a:gd name="connsiteY62" fmla="*/ 5606 h 9424"/>
                <a:gd name="connsiteX63" fmla="*/ 8795 w 10000"/>
                <a:gd name="connsiteY63" fmla="*/ 5455 h 9424"/>
                <a:gd name="connsiteX64" fmla="*/ 8755 w 10000"/>
                <a:gd name="connsiteY64" fmla="*/ 5076 h 9424"/>
                <a:gd name="connsiteX65" fmla="*/ 9157 w 10000"/>
                <a:gd name="connsiteY65" fmla="*/ 3711 h 9424"/>
                <a:gd name="connsiteX66" fmla="*/ 9277 w 10000"/>
                <a:gd name="connsiteY66" fmla="*/ 3711 h 9424"/>
                <a:gd name="connsiteX67" fmla="*/ 9438 w 10000"/>
                <a:gd name="connsiteY67" fmla="*/ 3598 h 9424"/>
                <a:gd name="connsiteX68" fmla="*/ 9920 w 10000"/>
                <a:gd name="connsiteY68" fmla="*/ 3409 h 9424"/>
                <a:gd name="connsiteX69" fmla="*/ 10000 w 10000"/>
                <a:gd name="connsiteY69" fmla="*/ 3106 h 9424"/>
                <a:gd name="connsiteX70" fmla="*/ 9960 w 10000"/>
                <a:gd name="connsiteY70" fmla="*/ 3029 h 9424"/>
                <a:gd name="connsiteX71" fmla="*/ 9799 w 10000"/>
                <a:gd name="connsiteY71" fmla="*/ 3029 h 9424"/>
                <a:gd name="connsiteX72" fmla="*/ 9679 w 10000"/>
                <a:gd name="connsiteY72" fmla="*/ 2840 h 9424"/>
                <a:gd name="connsiteX73" fmla="*/ 9438 w 10000"/>
                <a:gd name="connsiteY73" fmla="*/ 2766 h 9424"/>
                <a:gd name="connsiteX74" fmla="*/ 9317 w 10000"/>
                <a:gd name="connsiteY74" fmla="*/ 2614 h 9424"/>
                <a:gd name="connsiteX75" fmla="*/ 9237 w 10000"/>
                <a:gd name="connsiteY75" fmla="*/ 2046 h 9424"/>
                <a:gd name="connsiteX76" fmla="*/ 9237 w 10000"/>
                <a:gd name="connsiteY76" fmla="*/ 1250 h 9424"/>
                <a:gd name="connsiteX77" fmla="*/ 9036 w 10000"/>
                <a:gd name="connsiteY77" fmla="*/ 986 h 9424"/>
                <a:gd name="connsiteX78" fmla="*/ 8996 w 10000"/>
                <a:gd name="connsiteY78" fmla="*/ 720 h 9424"/>
                <a:gd name="connsiteX79" fmla="*/ 8675 w 10000"/>
                <a:gd name="connsiteY79" fmla="*/ 341 h 9424"/>
                <a:gd name="connsiteX80" fmla="*/ 8394 w 10000"/>
                <a:gd name="connsiteY80" fmla="*/ 191 h 9424"/>
                <a:gd name="connsiteX81" fmla="*/ 8233 w 10000"/>
                <a:gd name="connsiteY81" fmla="*/ 0 h 9424"/>
                <a:gd name="connsiteX82" fmla="*/ 7992 w 10000"/>
                <a:gd name="connsiteY82" fmla="*/ 191 h 9424"/>
                <a:gd name="connsiteX83" fmla="*/ 7831 w 10000"/>
                <a:gd name="connsiteY83" fmla="*/ 152 h 9424"/>
                <a:gd name="connsiteX84" fmla="*/ 7711 w 10000"/>
                <a:gd name="connsiteY84" fmla="*/ 491 h 9424"/>
                <a:gd name="connsiteX85" fmla="*/ 7390 w 10000"/>
                <a:gd name="connsiteY85" fmla="*/ 569 h 9424"/>
                <a:gd name="connsiteX86" fmla="*/ 7309 w 10000"/>
                <a:gd name="connsiteY86" fmla="*/ 832 h 9424"/>
                <a:gd name="connsiteX87" fmla="*/ 7028 w 10000"/>
                <a:gd name="connsiteY87" fmla="*/ 832 h 9424"/>
                <a:gd name="connsiteX88" fmla="*/ 6787 w 10000"/>
                <a:gd name="connsiteY88" fmla="*/ 720 h 9424"/>
                <a:gd name="connsiteX89" fmla="*/ 6265 w 10000"/>
                <a:gd name="connsiteY89" fmla="*/ 720 h 9424"/>
                <a:gd name="connsiteX90" fmla="*/ 5743 w 10000"/>
                <a:gd name="connsiteY90" fmla="*/ 720 h 9424"/>
                <a:gd name="connsiteX91" fmla="*/ 5783 w 10000"/>
                <a:gd name="connsiteY91" fmla="*/ 569 h 9424"/>
                <a:gd name="connsiteX92" fmla="*/ 5703 w 10000"/>
                <a:gd name="connsiteY92" fmla="*/ 569 h 9424"/>
                <a:gd name="connsiteX93" fmla="*/ 5663 w 10000"/>
                <a:gd name="connsiteY93" fmla="*/ 720 h 9424"/>
                <a:gd name="connsiteX94" fmla="*/ 5181 w 10000"/>
                <a:gd name="connsiteY94" fmla="*/ 720 h 9424"/>
                <a:gd name="connsiteX95" fmla="*/ 4699 w 10000"/>
                <a:gd name="connsiteY95" fmla="*/ 720 h 9424"/>
                <a:gd name="connsiteX96" fmla="*/ 4217 w 10000"/>
                <a:gd name="connsiteY96" fmla="*/ 720 h 9424"/>
                <a:gd name="connsiteX97" fmla="*/ 3735 w 10000"/>
                <a:gd name="connsiteY97" fmla="*/ 720 h 9424"/>
                <a:gd name="connsiteX98" fmla="*/ 3293 w 10000"/>
                <a:gd name="connsiteY98" fmla="*/ 720 h 9424"/>
                <a:gd name="connsiteX99" fmla="*/ 2811 w 10000"/>
                <a:gd name="connsiteY99" fmla="*/ 720 h 9424"/>
                <a:gd name="connsiteX100" fmla="*/ 2369 w 10000"/>
                <a:gd name="connsiteY100" fmla="*/ 720 h 9424"/>
                <a:gd name="connsiteX101" fmla="*/ 1888 w 10000"/>
                <a:gd name="connsiteY101" fmla="*/ 720 h 9424"/>
                <a:gd name="connsiteX102" fmla="*/ 1888 w 10000"/>
                <a:gd name="connsiteY102" fmla="*/ 1250 h 9424"/>
                <a:gd name="connsiteX103" fmla="*/ 1888 w 10000"/>
                <a:gd name="connsiteY103" fmla="*/ 1932 h 9424"/>
                <a:gd name="connsiteX104" fmla="*/ 1285 w 10000"/>
                <a:gd name="connsiteY104" fmla="*/ 1932 h 9424"/>
                <a:gd name="connsiteX105" fmla="*/ 1285 w 10000"/>
                <a:gd name="connsiteY105" fmla="*/ 2234 h 9424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1968 w 10000"/>
                <a:gd name="connsiteY25" fmla="*/ 9686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9525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044 w 10000"/>
                <a:gd name="connsiteY21" fmla="*/ 9284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65 w 10000"/>
                <a:gd name="connsiteY22" fmla="*/ 9323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06 w 10000"/>
                <a:gd name="connsiteY23" fmla="*/ 9484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2050 w 10000"/>
                <a:gd name="connsiteY25" fmla="*/ 8465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239 w 10000"/>
                <a:gd name="connsiteY26" fmla="*/ 838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519 w 10000"/>
                <a:gd name="connsiteY27" fmla="*/ 8420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79 w 10000"/>
                <a:gd name="connsiteY28" fmla="*/ 8902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13 w 10000"/>
                <a:gd name="connsiteY28" fmla="*/ 8588 h 10000"/>
                <a:gd name="connsiteX29" fmla="*/ 2890 w 10000"/>
                <a:gd name="connsiteY29" fmla="*/ 8879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890 w 10000"/>
                <a:gd name="connsiteY28" fmla="*/ 8879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3167 w 10000"/>
                <a:gd name="connsiteY29" fmla="*/ 8888 h 10000"/>
                <a:gd name="connsiteX30" fmla="*/ 3537 w 10000"/>
                <a:gd name="connsiteY30" fmla="*/ 8827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424 w 10000"/>
                <a:gd name="connsiteY47" fmla="*/ 7458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60 w 10000"/>
                <a:gd name="connsiteY29" fmla="*/ 8802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424 w 10000"/>
                <a:gd name="connsiteY48" fmla="*/ 7458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537 w 10000"/>
                <a:gd name="connsiteY31" fmla="*/ 8827 h 10000"/>
                <a:gd name="connsiteX32" fmla="*/ 3795 w 10000"/>
                <a:gd name="connsiteY32" fmla="*/ 9030 h 10000"/>
                <a:gd name="connsiteX33" fmla="*/ 4153 w 10000"/>
                <a:gd name="connsiteY33" fmla="*/ 9108 h 10000"/>
                <a:gd name="connsiteX34" fmla="*/ 4406 w 10000"/>
                <a:gd name="connsiteY34" fmla="*/ 9050 h 10000"/>
                <a:gd name="connsiteX35" fmla="*/ 4600 w 10000"/>
                <a:gd name="connsiteY35" fmla="*/ 8903 h 10000"/>
                <a:gd name="connsiteX36" fmla="*/ 4762 w 10000"/>
                <a:gd name="connsiteY36" fmla="*/ 8631 h 10000"/>
                <a:gd name="connsiteX37" fmla="*/ 4901 w 10000"/>
                <a:gd name="connsiteY37" fmla="*/ 8465 h 10000"/>
                <a:gd name="connsiteX38" fmla="*/ 5080 w 10000"/>
                <a:gd name="connsiteY38" fmla="*/ 8583 h 10000"/>
                <a:gd name="connsiteX39" fmla="*/ 5337 w 10000"/>
                <a:gd name="connsiteY39" fmla="*/ 8702 h 10000"/>
                <a:gd name="connsiteX40" fmla="*/ 5564 w 10000"/>
                <a:gd name="connsiteY40" fmla="*/ 8857 h 10000"/>
                <a:gd name="connsiteX41" fmla="*/ 5768 w 10000"/>
                <a:gd name="connsiteY41" fmla="*/ 8757 h 10000"/>
                <a:gd name="connsiteX42" fmla="*/ 5933 w 10000"/>
                <a:gd name="connsiteY42" fmla="*/ 8664 h 10000"/>
                <a:gd name="connsiteX43" fmla="*/ 6089 w 10000"/>
                <a:gd name="connsiteY43" fmla="*/ 8458 h 10000"/>
                <a:gd name="connsiteX44" fmla="*/ 6274 w 10000"/>
                <a:gd name="connsiteY44" fmla="*/ 8178 h 10000"/>
                <a:gd name="connsiteX45" fmla="*/ 6389 w 10000"/>
                <a:gd name="connsiteY45" fmla="*/ 8048 h 10000"/>
                <a:gd name="connsiteX46" fmla="*/ 6524 w 10000"/>
                <a:gd name="connsiteY46" fmla="*/ 7996 h 10000"/>
                <a:gd name="connsiteX47" fmla="*/ 6531 w 10000"/>
                <a:gd name="connsiteY47" fmla="*/ 7831 h 10000"/>
                <a:gd name="connsiteX48" fmla="*/ 6572 w 10000"/>
                <a:gd name="connsiteY48" fmla="*/ 7640 h 10000"/>
                <a:gd name="connsiteX49" fmla="*/ 6602 w 10000"/>
                <a:gd name="connsiteY49" fmla="*/ 7467 h 10000"/>
                <a:gd name="connsiteX50" fmla="*/ 6707 w 10000"/>
                <a:gd name="connsiteY50" fmla="*/ 7325 h 10000"/>
                <a:gd name="connsiteX51" fmla="*/ 6876 w 10000"/>
                <a:gd name="connsiteY51" fmla="*/ 7326 h 10000"/>
                <a:gd name="connsiteX52" fmla="*/ 6827 w 10000"/>
                <a:gd name="connsiteY52" fmla="*/ 8196 h 10000"/>
                <a:gd name="connsiteX53" fmla="*/ 6991 w 10000"/>
                <a:gd name="connsiteY53" fmla="*/ 8296 h 10000"/>
                <a:gd name="connsiteX54" fmla="*/ 7275 w 10000"/>
                <a:gd name="connsiteY54" fmla="*/ 8549 h 10000"/>
                <a:gd name="connsiteX55" fmla="*/ 7430 w 10000"/>
                <a:gd name="connsiteY55" fmla="*/ 8158 h 10000"/>
                <a:gd name="connsiteX56" fmla="*/ 7470 w 10000"/>
                <a:gd name="connsiteY56" fmla="*/ 8197 h 10000"/>
                <a:gd name="connsiteX57" fmla="*/ 7590 w 10000"/>
                <a:gd name="connsiteY57" fmla="*/ 7958 h 10000"/>
                <a:gd name="connsiteX58" fmla="*/ 7831 w 10000"/>
                <a:gd name="connsiteY58" fmla="*/ 7837 h 10000"/>
                <a:gd name="connsiteX59" fmla="*/ 7952 w 10000"/>
                <a:gd name="connsiteY59" fmla="*/ 7395 h 10000"/>
                <a:gd name="connsiteX60" fmla="*/ 8313 w 10000"/>
                <a:gd name="connsiteY60" fmla="*/ 6873 h 10000"/>
                <a:gd name="connsiteX61" fmla="*/ 8594 w 10000"/>
                <a:gd name="connsiteY61" fmla="*/ 6631 h 10000"/>
                <a:gd name="connsiteX62" fmla="*/ 8795 w 10000"/>
                <a:gd name="connsiteY62" fmla="*/ 5949 h 10000"/>
                <a:gd name="connsiteX63" fmla="*/ 8795 w 10000"/>
                <a:gd name="connsiteY63" fmla="*/ 5788 h 10000"/>
                <a:gd name="connsiteX64" fmla="*/ 8755 w 10000"/>
                <a:gd name="connsiteY64" fmla="*/ 5386 h 10000"/>
                <a:gd name="connsiteX65" fmla="*/ 9157 w 10000"/>
                <a:gd name="connsiteY65" fmla="*/ 3938 h 10000"/>
                <a:gd name="connsiteX66" fmla="*/ 9277 w 10000"/>
                <a:gd name="connsiteY66" fmla="*/ 3938 h 10000"/>
                <a:gd name="connsiteX67" fmla="*/ 9438 w 10000"/>
                <a:gd name="connsiteY67" fmla="*/ 3818 h 10000"/>
                <a:gd name="connsiteX68" fmla="*/ 9920 w 10000"/>
                <a:gd name="connsiteY68" fmla="*/ 3617 h 10000"/>
                <a:gd name="connsiteX69" fmla="*/ 10000 w 10000"/>
                <a:gd name="connsiteY69" fmla="*/ 3296 h 10000"/>
                <a:gd name="connsiteX70" fmla="*/ 9960 w 10000"/>
                <a:gd name="connsiteY70" fmla="*/ 3214 h 10000"/>
                <a:gd name="connsiteX71" fmla="*/ 9799 w 10000"/>
                <a:gd name="connsiteY71" fmla="*/ 3214 h 10000"/>
                <a:gd name="connsiteX72" fmla="*/ 9679 w 10000"/>
                <a:gd name="connsiteY72" fmla="*/ 3014 h 10000"/>
                <a:gd name="connsiteX73" fmla="*/ 9438 w 10000"/>
                <a:gd name="connsiteY73" fmla="*/ 2935 h 10000"/>
                <a:gd name="connsiteX74" fmla="*/ 9317 w 10000"/>
                <a:gd name="connsiteY74" fmla="*/ 2774 h 10000"/>
                <a:gd name="connsiteX75" fmla="*/ 9237 w 10000"/>
                <a:gd name="connsiteY75" fmla="*/ 2171 h 10000"/>
                <a:gd name="connsiteX76" fmla="*/ 9237 w 10000"/>
                <a:gd name="connsiteY76" fmla="*/ 1326 h 10000"/>
                <a:gd name="connsiteX77" fmla="*/ 9036 w 10000"/>
                <a:gd name="connsiteY77" fmla="*/ 1046 h 10000"/>
                <a:gd name="connsiteX78" fmla="*/ 8996 w 10000"/>
                <a:gd name="connsiteY78" fmla="*/ 764 h 10000"/>
                <a:gd name="connsiteX79" fmla="*/ 8675 w 10000"/>
                <a:gd name="connsiteY79" fmla="*/ 362 h 10000"/>
                <a:gd name="connsiteX80" fmla="*/ 8394 w 10000"/>
                <a:gd name="connsiteY80" fmla="*/ 203 h 10000"/>
                <a:gd name="connsiteX81" fmla="*/ 8233 w 10000"/>
                <a:gd name="connsiteY81" fmla="*/ 0 h 10000"/>
                <a:gd name="connsiteX82" fmla="*/ 7992 w 10000"/>
                <a:gd name="connsiteY82" fmla="*/ 203 h 10000"/>
                <a:gd name="connsiteX83" fmla="*/ 7831 w 10000"/>
                <a:gd name="connsiteY83" fmla="*/ 161 h 10000"/>
                <a:gd name="connsiteX84" fmla="*/ 7711 w 10000"/>
                <a:gd name="connsiteY84" fmla="*/ 521 h 10000"/>
                <a:gd name="connsiteX85" fmla="*/ 7390 w 10000"/>
                <a:gd name="connsiteY85" fmla="*/ 604 h 10000"/>
                <a:gd name="connsiteX86" fmla="*/ 7309 w 10000"/>
                <a:gd name="connsiteY86" fmla="*/ 883 h 10000"/>
                <a:gd name="connsiteX87" fmla="*/ 7028 w 10000"/>
                <a:gd name="connsiteY87" fmla="*/ 883 h 10000"/>
                <a:gd name="connsiteX88" fmla="*/ 6787 w 10000"/>
                <a:gd name="connsiteY88" fmla="*/ 764 h 10000"/>
                <a:gd name="connsiteX89" fmla="*/ 6265 w 10000"/>
                <a:gd name="connsiteY89" fmla="*/ 764 h 10000"/>
                <a:gd name="connsiteX90" fmla="*/ 5743 w 10000"/>
                <a:gd name="connsiteY90" fmla="*/ 764 h 10000"/>
                <a:gd name="connsiteX91" fmla="*/ 5783 w 10000"/>
                <a:gd name="connsiteY91" fmla="*/ 604 h 10000"/>
                <a:gd name="connsiteX92" fmla="*/ 5703 w 10000"/>
                <a:gd name="connsiteY92" fmla="*/ 604 h 10000"/>
                <a:gd name="connsiteX93" fmla="*/ 5663 w 10000"/>
                <a:gd name="connsiteY93" fmla="*/ 764 h 10000"/>
                <a:gd name="connsiteX94" fmla="*/ 5181 w 10000"/>
                <a:gd name="connsiteY94" fmla="*/ 764 h 10000"/>
                <a:gd name="connsiteX95" fmla="*/ 4699 w 10000"/>
                <a:gd name="connsiteY95" fmla="*/ 764 h 10000"/>
                <a:gd name="connsiteX96" fmla="*/ 4217 w 10000"/>
                <a:gd name="connsiteY96" fmla="*/ 764 h 10000"/>
                <a:gd name="connsiteX97" fmla="*/ 3735 w 10000"/>
                <a:gd name="connsiteY97" fmla="*/ 764 h 10000"/>
                <a:gd name="connsiteX98" fmla="*/ 3293 w 10000"/>
                <a:gd name="connsiteY98" fmla="*/ 764 h 10000"/>
                <a:gd name="connsiteX99" fmla="*/ 2811 w 10000"/>
                <a:gd name="connsiteY99" fmla="*/ 764 h 10000"/>
                <a:gd name="connsiteX100" fmla="*/ 2369 w 10000"/>
                <a:gd name="connsiteY100" fmla="*/ 764 h 10000"/>
                <a:gd name="connsiteX101" fmla="*/ 1888 w 10000"/>
                <a:gd name="connsiteY101" fmla="*/ 764 h 10000"/>
                <a:gd name="connsiteX102" fmla="*/ 1888 w 10000"/>
                <a:gd name="connsiteY102" fmla="*/ 1326 h 10000"/>
                <a:gd name="connsiteX103" fmla="*/ 1888 w 10000"/>
                <a:gd name="connsiteY103" fmla="*/ 2050 h 10000"/>
                <a:gd name="connsiteX104" fmla="*/ 1285 w 10000"/>
                <a:gd name="connsiteY104" fmla="*/ 2050 h 10000"/>
                <a:gd name="connsiteX105" fmla="*/ 1285 w 10000"/>
                <a:gd name="connsiteY105" fmla="*/ 2371 h 10000"/>
                <a:gd name="connsiteX0" fmla="*/ 1285 w 10000"/>
                <a:gd name="connsiteY0" fmla="*/ 2371 h 10000"/>
                <a:gd name="connsiteX1" fmla="*/ 1285 w 10000"/>
                <a:gd name="connsiteY1" fmla="*/ 3014 h 10000"/>
                <a:gd name="connsiteX2" fmla="*/ 1285 w 10000"/>
                <a:gd name="connsiteY2" fmla="*/ 3617 h 10000"/>
                <a:gd name="connsiteX3" fmla="*/ 1285 w 10000"/>
                <a:gd name="connsiteY3" fmla="*/ 4221 h 10000"/>
                <a:gd name="connsiteX4" fmla="*/ 1285 w 10000"/>
                <a:gd name="connsiteY4" fmla="*/ 4781 h 10000"/>
                <a:gd name="connsiteX5" fmla="*/ 643 w 10000"/>
                <a:gd name="connsiteY5" fmla="*/ 4903 h 10000"/>
                <a:gd name="connsiteX6" fmla="*/ 522 w 10000"/>
                <a:gd name="connsiteY6" fmla="*/ 5224 h 10000"/>
                <a:gd name="connsiteX7" fmla="*/ 241 w 10000"/>
                <a:gd name="connsiteY7" fmla="*/ 5626 h 10000"/>
                <a:gd name="connsiteX8" fmla="*/ 241 w 10000"/>
                <a:gd name="connsiteY8" fmla="*/ 5949 h 10000"/>
                <a:gd name="connsiteX9" fmla="*/ 120 w 10000"/>
                <a:gd name="connsiteY9" fmla="*/ 6028 h 10000"/>
                <a:gd name="connsiteX10" fmla="*/ 120 w 10000"/>
                <a:gd name="connsiteY10" fmla="*/ 6309 h 10000"/>
                <a:gd name="connsiteX11" fmla="*/ 0 w 10000"/>
                <a:gd name="connsiteY11" fmla="*/ 6552 h 10000"/>
                <a:gd name="connsiteX12" fmla="*/ 0 w 10000"/>
                <a:gd name="connsiteY12" fmla="*/ 6751 h 10000"/>
                <a:gd name="connsiteX13" fmla="*/ 241 w 10000"/>
                <a:gd name="connsiteY13" fmla="*/ 6711 h 10000"/>
                <a:gd name="connsiteX14" fmla="*/ 281 w 10000"/>
                <a:gd name="connsiteY14" fmla="*/ 7072 h 10000"/>
                <a:gd name="connsiteX15" fmla="*/ 602 w 10000"/>
                <a:gd name="connsiteY15" fmla="*/ 7718 h 10000"/>
                <a:gd name="connsiteX16" fmla="*/ 602 w 10000"/>
                <a:gd name="connsiteY16" fmla="*/ 7757 h 10000"/>
                <a:gd name="connsiteX17" fmla="*/ 482 w 10000"/>
                <a:gd name="connsiteY17" fmla="*/ 7797 h 10000"/>
                <a:gd name="connsiteX18" fmla="*/ 964 w 10000"/>
                <a:gd name="connsiteY18" fmla="*/ 8439 h 10000"/>
                <a:gd name="connsiteX19" fmla="*/ 1004 w 10000"/>
                <a:gd name="connsiteY19" fmla="*/ 8641 h 10000"/>
                <a:gd name="connsiteX20" fmla="*/ 964 w 10000"/>
                <a:gd name="connsiteY20" fmla="*/ 9204 h 10000"/>
                <a:gd name="connsiteX21" fmla="*/ 1192 w 10000"/>
                <a:gd name="connsiteY21" fmla="*/ 9317 h 10000"/>
                <a:gd name="connsiteX22" fmla="*/ 1332 w 10000"/>
                <a:gd name="connsiteY22" fmla="*/ 8762 h 10000"/>
                <a:gd name="connsiteX23" fmla="*/ 1439 w 10000"/>
                <a:gd name="connsiteY23" fmla="*/ 8857 h 10000"/>
                <a:gd name="connsiteX24" fmla="*/ 1767 w 10000"/>
                <a:gd name="connsiteY24" fmla="*/ 8782 h 10000"/>
                <a:gd name="connsiteX25" fmla="*/ 1951 w 10000"/>
                <a:gd name="connsiteY25" fmla="*/ 8680 h 10000"/>
                <a:gd name="connsiteX26" fmla="*/ 2025 w 10000"/>
                <a:gd name="connsiteY26" fmla="*/ 8433 h 10000"/>
                <a:gd name="connsiteX27" fmla="*/ 2338 w 10000"/>
                <a:gd name="connsiteY27" fmla="*/ 8354 h 10000"/>
                <a:gd name="connsiteX28" fmla="*/ 2643 w 10000"/>
                <a:gd name="connsiteY28" fmla="*/ 8747 h 10000"/>
                <a:gd name="connsiteX29" fmla="*/ 2911 w 10000"/>
                <a:gd name="connsiteY29" fmla="*/ 8918 h 10000"/>
                <a:gd name="connsiteX30" fmla="*/ 3167 w 10000"/>
                <a:gd name="connsiteY30" fmla="*/ 8888 h 10000"/>
                <a:gd name="connsiteX31" fmla="*/ 3795 w 10000"/>
                <a:gd name="connsiteY31" fmla="*/ 9030 h 10000"/>
                <a:gd name="connsiteX32" fmla="*/ 4153 w 10000"/>
                <a:gd name="connsiteY32" fmla="*/ 9108 h 10000"/>
                <a:gd name="connsiteX33" fmla="*/ 4406 w 10000"/>
                <a:gd name="connsiteY33" fmla="*/ 9050 h 10000"/>
                <a:gd name="connsiteX34" fmla="*/ 4600 w 10000"/>
                <a:gd name="connsiteY34" fmla="*/ 8903 h 10000"/>
                <a:gd name="connsiteX35" fmla="*/ 4762 w 10000"/>
                <a:gd name="connsiteY35" fmla="*/ 8631 h 10000"/>
                <a:gd name="connsiteX36" fmla="*/ 4901 w 10000"/>
                <a:gd name="connsiteY36" fmla="*/ 8465 h 10000"/>
                <a:gd name="connsiteX37" fmla="*/ 5080 w 10000"/>
                <a:gd name="connsiteY37" fmla="*/ 8583 h 10000"/>
                <a:gd name="connsiteX38" fmla="*/ 5337 w 10000"/>
                <a:gd name="connsiteY38" fmla="*/ 8702 h 10000"/>
                <a:gd name="connsiteX39" fmla="*/ 5564 w 10000"/>
                <a:gd name="connsiteY39" fmla="*/ 8857 h 10000"/>
                <a:gd name="connsiteX40" fmla="*/ 5768 w 10000"/>
                <a:gd name="connsiteY40" fmla="*/ 8757 h 10000"/>
                <a:gd name="connsiteX41" fmla="*/ 5933 w 10000"/>
                <a:gd name="connsiteY41" fmla="*/ 8664 h 10000"/>
                <a:gd name="connsiteX42" fmla="*/ 6089 w 10000"/>
                <a:gd name="connsiteY42" fmla="*/ 8458 h 10000"/>
                <a:gd name="connsiteX43" fmla="*/ 6274 w 10000"/>
                <a:gd name="connsiteY43" fmla="*/ 8178 h 10000"/>
                <a:gd name="connsiteX44" fmla="*/ 6389 w 10000"/>
                <a:gd name="connsiteY44" fmla="*/ 8048 h 10000"/>
                <a:gd name="connsiteX45" fmla="*/ 6524 w 10000"/>
                <a:gd name="connsiteY45" fmla="*/ 7996 h 10000"/>
                <a:gd name="connsiteX46" fmla="*/ 6531 w 10000"/>
                <a:gd name="connsiteY46" fmla="*/ 7831 h 10000"/>
                <a:gd name="connsiteX47" fmla="*/ 6572 w 10000"/>
                <a:gd name="connsiteY47" fmla="*/ 7640 h 10000"/>
                <a:gd name="connsiteX48" fmla="*/ 6602 w 10000"/>
                <a:gd name="connsiteY48" fmla="*/ 7467 h 10000"/>
                <a:gd name="connsiteX49" fmla="*/ 6707 w 10000"/>
                <a:gd name="connsiteY49" fmla="*/ 7325 h 10000"/>
                <a:gd name="connsiteX50" fmla="*/ 6876 w 10000"/>
                <a:gd name="connsiteY50" fmla="*/ 7326 h 10000"/>
                <a:gd name="connsiteX51" fmla="*/ 6827 w 10000"/>
                <a:gd name="connsiteY51" fmla="*/ 8196 h 10000"/>
                <a:gd name="connsiteX52" fmla="*/ 6991 w 10000"/>
                <a:gd name="connsiteY52" fmla="*/ 8296 h 10000"/>
                <a:gd name="connsiteX53" fmla="*/ 7275 w 10000"/>
                <a:gd name="connsiteY53" fmla="*/ 8549 h 10000"/>
                <a:gd name="connsiteX54" fmla="*/ 7430 w 10000"/>
                <a:gd name="connsiteY54" fmla="*/ 8158 h 10000"/>
                <a:gd name="connsiteX55" fmla="*/ 7470 w 10000"/>
                <a:gd name="connsiteY55" fmla="*/ 8197 h 10000"/>
                <a:gd name="connsiteX56" fmla="*/ 7590 w 10000"/>
                <a:gd name="connsiteY56" fmla="*/ 7958 h 10000"/>
                <a:gd name="connsiteX57" fmla="*/ 7831 w 10000"/>
                <a:gd name="connsiteY57" fmla="*/ 7837 h 10000"/>
                <a:gd name="connsiteX58" fmla="*/ 7952 w 10000"/>
                <a:gd name="connsiteY58" fmla="*/ 7395 h 10000"/>
                <a:gd name="connsiteX59" fmla="*/ 8313 w 10000"/>
                <a:gd name="connsiteY59" fmla="*/ 6873 h 10000"/>
                <a:gd name="connsiteX60" fmla="*/ 8594 w 10000"/>
                <a:gd name="connsiteY60" fmla="*/ 6631 h 10000"/>
                <a:gd name="connsiteX61" fmla="*/ 8795 w 10000"/>
                <a:gd name="connsiteY61" fmla="*/ 5949 h 10000"/>
                <a:gd name="connsiteX62" fmla="*/ 8795 w 10000"/>
                <a:gd name="connsiteY62" fmla="*/ 5788 h 10000"/>
                <a:gd name="connsiteX63" fmla="*/ 8755 w 10000"/>
                <a:gd name="connsiteY63" fmla="*/ 5386 h 10000"/>
                <a:gd name="connsiteX64" fmla="*/ 9157 w 10000"/>
                <a:gd name="connsiteY64" fmla="*/ 3938 h 10000"/>
                <a:gd name="connsiteX65" fmla="*/ 9277 w 10000"/>
                <a:gd name="connsiteY65" fmla="*/ 3938 h 10000"/>
                <a:gd name="connsiteX66" fmla="*/ 9438 w 10000"/>
                <a:gd name="connsiteY66" fmla="*/ 3818 h 10000"/>
                <a:gd name="connsiteX67" fmla="*/ 9920 w 10000"/>
                <a:gd name="connsiteY67" fmla="*/ 3617 h 10000"/>
                <a:gd name="connsiteX68" fmla="*/ 10000 w 10000"/>
                <a:gd name="connsiteY68" fmla="*/ 3296 h 10000"/>
                <a:gd name="connsiteX69" fmla="*/ 9960 w 10000"/>
                <a:gd name="connsiteY69" fmla="*/ 3214 h 10000"/>
                <a:gd name="connsiteX70" fmla="*/ 9799 w 10000"/>
                <a:gd name="connsiteY70" fmla="*/ 3214 h 10000"/>
                <a:gd name="connsiteX71" fmla="*/ 9679 w 10000"/>
                <a:gd name="connsiteY71" fmla="*/ 3014 h 10000"/>
                <a:gd name="connsiteX72" fmla="*/ 9438 w 10000"/>
                <a:gd name="connsiteY72" fmla="*/ 2935 h 10000"/>
                <a:gd name="connsiteX73" fmla="*/ 9317 w 10000"/>
                <a:gd name="connsiteY73" fmla="*/ 2774 h 10000"/>
                <a:gd name="connsiteX74" fmla="*/ 9237 w 10000"/>
                <a:gd name="connsiteY74" fmla="*/ 2171 h 10000"/>
                <a:gd name="connsiteX75" fmla="*/ 9237 w 10000"/>
                <a:gd name="connsiteY75" fmla="*/ 1326 h 10000"/>
                <a:gd name="connsiteX76" fmla="*/ 9036 w 10000"/>
                <a:gd name="connsiteY76" fmla="*/ 1046 h 10000"/>
                <a:gd name="connsiteX77" fmla="*/ 8996 w 10000"/>
                <a:gd name="connsiteY77" fmla="*/ 764 h 10000"/>
                <a:gd name="connsiteX78" fmla="*/ 8675 w 10000"/>
                <a:gd name="connsiteY78" fmla="*/ 362 h 10000"/>
                <a:gd name="connsiteX79" fmla="*/ 8394 w 10000"/>
                <a:gd name="connsiteY79" fmla="*/ 203 h 10000"/>
                <a:gd name="connsiteX80" fmla="*/ 8233 w 10000"/>
                <a:gd name="connsiteY80" fmla="*/ 0 h 10000"/>
                <a:gd name="connsiteX81" fmla="*/ 7992 w 10000"/>
                <a:gd name="connsiteY81" fmla="*/ 203 h 10000"/>
                <a:gd name="connsiteX82" fmla="*/ 7831 w 10000"/>
                <a:gd name="connsiteY82" fmla="*/ 161 h 10000"/>
                <a:gd name="connsiteX83" fmla="*/ 7711 w 10000"/>
                <a:gd name="connsiteY83" fmla="*/ 521 h 10000"/>
                <a:gd name="connsiteX84" fmla="*/ 7390 w 10000"/>
                <a:gd name="connsiteY84" fmla="*/ 604 h 10000"/>
                <a:gd name="connsiteX85" fmla="*/ 7309 w 10000"/>
                <a:gd name="connsiteY85" fmla="*/ 883 h 10000"/>
                <a:gd name="connsiteX86" fmla="*/ 7028 w 10000"/>
                <a:gd name="connsiteY86" fmla="*/ 883 h 10000"/>
                <a:gd name="connsiteX87" fmla="*/ 6787 w 10000"/>
                <a:gd name="connsiteY87" fmla="*/ 764 h 10000"/>
                <a:gd name="connsiteX88" fmla="*/ 6265 w 10000"/>
                <a:gd name="connsiteY88" fmla="*/ 764 h 10000"/>
                <a:gd name="connsiteX89" fmla="*/ 5743 w 10000"/>
                <a:gd name="connsiteY89" fmla="*/ 764 h 10000"/>
                <a:gd name="connsiteX90" fmla="*/ 5783 w 10000"/>
                <a:gd name="connsiteY90" fmla="*/ 604 h 10000"/>
                <a:gd name="connsiteX91" fmla="*/ 5703 w 10000"/>
                <a:gd name="connsiteY91" fmla="*/ 604 h 10000"/>
                <a:gd name="connsiteX92" fmla="*/ 5663 w 10000"/>
                <a:gd name="connsiteY92" fmla="*/ 764 h 10000"/>
                <a:gd name="connsiteX93" fmla="*/ 5181 w 10000"/>
                <a:gd name="connsiteY93" fmla="*/ 764 h 10000"/>
                <a:gd name="connsiteX94" fmla="*/ 4699 w 10000"/>
                <a:gd name="connsiteY94" fmla="*/ 764 h 10000"/>
                <a:gd name="connsiteX95" fmla="*/ 4217 w 10000"/>
                <a:gd name="connsiteY95" fmla="*/ 764 h 10000"/>
                <a:gd name="connsiteX96" fmla="*/ 3735 w 10000"/>
                <a:gd name="connsiteY96" fmla="*/ 764 h 10000"/>
                <a:gd name="connsiteX97" fmla="*/ 3293 w 10000"/>
                <a:gd name="connsiteY97" fmla="*/ 764 h 10000"/>
                <a:gd name="connsiteX98" fmla="*/ 2811 w 10000"/>
                <a:gd name="connsiteY98" fmla="*/ 764 h 10000"/>
                <a:gd name="connsiteX99" fmla="*/ 2369 w 10000"/>
                <a:gd name="connsiteY99" fmla="*/ 764 h 10000"/>
                <a:gd name="connsiteX100" fmla="*/ 1888 w 10000"/>
                <a:gd name="connsiteY100" fmla="*/ 764 h 10000"/>
                <a:gd name="connsiteX101" fmla="*/ 1888 w 10000"/>
                <a:gd name="connsiteY101" fmla="*/ 1326 h 10000"/>
                <a:gd name="connsiteX102" fmla="*/ 1888 w 10000"/>
                <a:gd name="connsiteY102" fmla="*/ 2050 h 10000"/>
                <a:gd name="connsiteX103" fmla="*/ 1285 w 10000"/>
                <a:gd name="connsiteY103" fmla="*/ 2050 h 10000"/>
                <a:gd name="connsiteX104" fmla="*/ 1285 w 10000"/>
                <a:gd name="connsiteY104" fmla="*/ 2371 h 10000"/>
                <a:gd name="connsiteX0" fmla="*/ 1285 w 10000"/>
                <a:gd name="connsiteY0" fmla="*/ 2371 h 9707"/>
                <a:gd name="connsiteX1" fmla="*/ 1285 w 10000"/>
                <a:gd name="connsiteY1" fmla="*/ 3014 h 9707"/>
                <a:gd name="connsiteX2" fmla="*/ 1285 w 10000"/>
                <a:gd name="connsiteY2" fmla="*/ 3617 h 9707"/>
                <a:gd name="connsiteX3" fmla="*/ 1285 w 10000"/>
                <a:gd name="connsiteY3" fmla="*/ 4221 h 9707"/>
                <a:gd name="connsiteX4" fmla="*/ 1285 w 10000"/>
                <a:gd name="connsiteY4" fmla="*/ 4781 h 9707"/>
                <a:gd name="connsiteX5" fmla="*/ 643 w 10000"/>
                <a:gd name="connsiteY5" fmla="*/ 4903 h 9707"/>
                <a:gd name="connsiteX6" fmla="*/ 522 w 10000"/>
                <a:gd name="connsiteY6" fmla="*/ 5224 h 9707"/>
                <a:gd name="connsiteX7" fmla="*/ 241 w 10000"/>
                <a:gd name="connsiteY7" fmla="*/ 5626 h 9707"/>
                <a:gd name="connsiteX8" fmla="*/ 241 w 10000"/>
                <a:gd name="connsiteY8" fmla="*/ 5949 h 9707"/>
                <a:gd name="connsiteX9" fmla="*/ 120 w 10000"/>
                <a:gd name="connsiteY9" fmla="*/ 6028 h 9707"/>
                <a:gd name="connsiteX10" fmla="*/ 120 w 10000"/>
                <a:gd name="connsiteY10" fmla="*/ 6309 h 9707"/>
                <a:gd name="connsiteX11" fmla="*/ 0 w 10000"/>
                <a:gd name="connsiteY11" fmla="*/ 6552 h 9707"/>
                <a:gd name="connsiteX12" fmla="*/ 0 w 10000"/>
                <a:gd name="connsiteY12" fmla="*/ 6751 h 9707"/>
                <a:gd name="connsiteX13" fmla="*/ 241 w 10000"/>
                <a:gd name="connsiteY13" fmla="*/ 6711 h 9707"/>
                <a:gd name="connsiteX14" fmla="*/ 281 w 10000"/>
                <a:gd name="connsiteY14" fmla="*/ 7072 h 9707"/>
                <a:gd name="connsiteX15" fmla="*/ 602 w 10000"/>
                <a:gd name="connsiteY15" fmla="*/ 7718 h 9707"/>
                <a:gd name="connsiteX16" fmla="*/ 602 w 10000"/>
                <a:gd name="connsiteY16" fmla="*/ 7757 h 9707"/>
                <a:gd name="connsiteX17" fmla="*/ 482 w 10000"/>
                <a:gd name="connsiteY17" fmla="*/ 7797 h 9707"/>
                <a:gd name="connsiteX18" fmla="*/ 964 w 10000"/>
                <a:gd name="connsiteY18" fmla="*/ 8439 h 9707"/>
                <a:gd name="connsiteX19" fmla="*/ 1004 w 10000"/>
                <a:gd name="connsiteY19" fmla="*/ 8641 h 9707"/>
                <a:gd name="connsiteX20" fmla="*/ 964 w 10000"/>
                <a:gd name="connsiteY20" fmla="*/ 9204 h 9707"/>
                <a:gd name="connsiteX21" fmla="*/ 1192 w 10000"/>
                <a:gd name="connsiteY21" fmla="*/ 9317 h 9707"/>
                <a:gd name="connsiteX22" fmla="*/ 1332 w 10000"/>
                <a:gd name="connsiteY22" fmla="*/ 8762 h 9707"/>
                <a:gd name="connsiteX23" fmla="*/ 1439 w 10000"/>
                <a:gd name="connsiteY23" fmla="*/ 8857 h 9707"/>
                <a:gd name="connsiteX24" fmla="*/ 1767 w 10000"/>
                <a:gd name="connsiteY24" fmla="*/ 8782 h 9707"/>
                <a:gd name="connsiteX25" fmla="*/ 1951 w 10000"/>
                <a:gd name="connsiteY25" fmla="*/ 8680 h 9707"/>
                <a:gd name="connsiteX26" fmla="*/ 2025 w 10000"/>
                <a:gd name="connsiteY26" fmla="*/ 8433 h 9707"/>
                <a:gd name="connsiteX27" fmla="*/ 2338 w 10000"/>
                <a:gd name="connsiteY27" fmla="*/ 8354 h 9707"/>
                <a:gd name="connsiteX28" fmla="*/ 2643 w 10000"/>
                <a:gd name="connsiteY28" fmla="*/ 8747 h 9707"/>
                <a:gd name="connsiteX29" fmla="*/ 2911 w 10000"/>
                <a:gd name="connsiteY29" fmla="*/ 8918 h 9707"/>
                <a:gd name="connsiteX30" fmla="*/ 3167 w 10000"/>
                <a:gd name="connsiteY30" fmla="*/ 8888 h 9707"/>
                <a:gd name="connsiteX31" fmla="*/ 3795 w 10000"/>
                <a:gd name="connsiteY31" fmla="*/ 9030 h 9707"/>
                <a:gd name="connsiteX32" fmla="*/ 4153 w 10000"/>
                <a:gd name="connsiteY32" fmla="*/ 9108 h 9707"/>
                <a:gd name="connsiteX33" fmla="*/ 4600 w 10000"/>
                <a:gd name="connsiteY33" fmla="*/ 8903 h 9707"/>
                <a:gd name="connsiteX34" fmla="*/ 4762 w 10000"/>
                <a:gd name="connsiteY34" fmla="*/ 8631 h 9707"/>
                <a:gd name="connsiteX35" fmla="*/ 4901 w 10000"/>
                <a:gd name="connsiteY35" fmla="*/ 8465 h 9707"/>
                <a:gd name="connsiteX36" fmla="*/ 5080 w 10000"/>
                <a:gd name="connsiteY36" fmla="*/ 8583 h 9707"/>
                <a:gd name="connsiteX37" fmla="*/ 5337 w 10000"/>
                <a:gd name="connsiteY37" fmla="*/ 8702 h 9707"/>
                <a:gd name="connsiteX38" fmla="*/ 5564 w 10000"/>
                <a:gd name="connsiteY38" fmla="*/ 8857 h 9707"/>
                <a:gd name="connsiteX39" fmla="*/ 5768 w 10000"/>
                <a:gd name="connsiteY39" fmla="*/ 8757 h 9707"/>
                <a:gd name="connsiteX40" fmla="*/ 5933 w 10000"/>
                <a:gd name="connsiteY40" fmla="*/ 8664 h 9707"/>
                <a:gd name="connsiteX41" fmla="*/ 6089 w 10000"/>
                <a:gd name="connsiteY41" fmla="*/ 8458 h 9707"/>
                <a:gd name="connsiteX42" fmla="*/ 6274 w 10000"/>
                <a:gd name="connsiteY42" fmla="*/ 8178 h 9707"/>
                <a:gd name="connsiteX43" fmla="*/ 6389 w 10000"/>
                <a:gd name="connsiteY43" fmla="*/ 8048 h 9707"/>
                <a:gd name="connsiteX44" fmla="*/ 6524 w 10000"/>
                <a:gd name="connsiteY44" fmla="*/ 7996 h 9707"/>
                <a:gd name="connsiteX45" fmla="*/ 6531 w 10000"/>
                <a:gd name="connsiteY45" fmla="*/ 7831 h 9707"/>
                <a:gd name="connsiteX46" fmla="*/ 6572 w 10000"/>
                <a:gd name="connsiteY46" fmla="*/ 7640 h 9707"/>
                <a:gd name="connsiteX47" fmla="*/ 6602 w 10000"/>
                <a:gd name="connsiteY47" fmla="*/ 7467 h 9707"/>
                <a:gd name="connsiteX48" fmla="*/ 6707 w 10000"/>
                <a:gd name="connsiteY48" fmla="*/ 7325 h 9707"/>
                <a:gd name="connsiteX49" fmla="*/ 6876 w 10000"/>
                <a:gd name="connsiteY49" fmla="*/ 7326 h 9707"/>
                <a:gd name="connsiteX50" fmla="*/ 6827 w 10000"/>
                <a:gd name="connsiteY50" fmla="*/ 8196 h 9707"/>
                <a:gd name="connsiteX51" fmla="*/ 6991 w 10000"/>
                <a:gd name="connsiteY51" fmla="*/ 8296 h 9707"/>
                <a:gd name="connsiteX52" fmla="*/ 7275 w 10000"/>
                <a:gd name="connsiteY52" fmla="*/ 8549 h 9707"/>
                <a:gd name="connsiteX53" fmla="*/ 7430 w 10000"/>
                <a:gd name="connsiteY53" fmla="*/ 8158 h 9707"/>
                <a:gd name="connsiteX54" fmla="*/ 7470 w 10000"/>
                <a:gd name="connsiteY54" fmla="*/ 8197 h 9707"/>
                <a:gd name="connsiteX55" fmla="*/ 7590 w 10000"/>
                <a:gd name="connsiteY55" fmla="*/ 7958 h 9707"/>
                <a:gd name="connsiteX56" fmla="*/ 7831 w 10000"/>
                <a:gd name="connsiteY56" fmla="*/ 7837 h 9707"/>
                <a:gd name="connsiteX57" fmla="*/ 7952 w 10000"/>
                <a:gd name="connsiteY57" fmla="*/ 7395 h 9707"/>
                <a:gd name="connsiteX58" fmla="*/ 8313 w 10000"/>
                <a:gd name="connsiteY58" fmla="*/ 6873 h 9707"/>
                <a:gd name="connsiteX59" fmla="*/ 8594 w 10000"/>
                <a:gd name="connsiteY59" fmla="*/ 6631 h 9707"/>
                <a:gd name="connsiteX60" fmla="*/ 8795 w 10000"/>
                <a:gd name="connsiteY60" fmla="*/ 5949 h 9707"/>
                <a:gd name="connsiteX61" fmla="*/ 8795 w 10000"/>
                <a:gd name="connsiteY61" fmla="*/ 5788 h 9707"/>
                <a:gd name="connsiteX62" fmla="*/ 8755 w 10000"/>
                <a:gd name="connsiteY62" fmla="*/ 5386 h 9707"/>
                <a:gd name="connsiteX63" fmla="*/ 9157 w 10000"/>
                <a:gd name="connsiteY63" fmla="*/ 3938 h 9707"/>
                <a:gd name="connsiteX64" fmla="*/ 9277 w 10000"/>
                <a:gd name="connsiteY64" fmla="*/ 3938 h 9707"/>
                <a:gd name="connsiteX65" fmla="*/ 9438 w 10000"/>
                <a:gd name="connsiteY65" fmla="*/ 3818 h 9707"/>
                <a:gd name="connsiteX66" fmla="*/ 9920 w 10000"/>
                <a:gd name="connsiteY66" fmla="*/ 3617 h 9707"/>
                <a:gd name="connsiteX67" fmla="*/ 10000 w 10000"/>
                <a:gd name="connsiteY67" fmla="*/ 3296 h 9707"/>
                <a:gd name="connsiteX68" fmla="*/ 9960 w 10000"/>
                <a:gd name="connsiteY68" fmla="*/ 3214 h 9707"/>
                <a:gd name="connsiteX69" fmla="*/ 9799 w 10000"/>
                <a:gd name="connsiteY69" fmla="*/ 3214 h 9707"/>
                <a:gd name="connsiteX70" fmla="*/ 9679 w 10000"/>
                <a:gd name="connsiteY70" fmla="*/ 3014 h 9707"/>
                <a:gd name="connsiteX71" fmla="*/ 9438 w 10000"/>
                <a:gd name="connsiteY71" fmla="*/ 2935 h 9707"/>
                <a:gd name="connsiteX72" fmla="*/ 9317 w 10000"/>
                <a:gd name="connsiteY72" fmla="*/ 2774 h 9707"/>
                <a:gd name="connsiteX73" fmla="*/ 9237 w 10000"/>
                <a:gd name="connsiteY73" fmla="*/ 2171 h 9707"/>
                <a:gd name="connsiteX74" fmla="*/ 9237 w 10000"/>
                <a:gd name="connsiteY74" fmla="*/ 1326 h 9707"/>
                <a:gd name="connsiteX75" fmla="*/ 9036 w 10000"/>
                <a:gd name="connsiteY75" fmla="*/ 1046 h 9707"/>
                <a:gd name="connsiteX76" fmla="*/ 8996 w 10000"/>
                <a:gd name="connsiteY76" fmla="*/ 764 h 9707"/>
                <a:gd name="connsiteX77" fmla="*/ 8675 w 10000"/>
                <a:gd name="connsiteY77" fmla="*/ 362 h 9707"/>
                <a:gd name="connsiteX78" fmla="*/ 8394 w 10000"/>
                <a:gd name="connsiteY78" fmla="*/ 203 h 9707"/>
                <a:gd name="connsiteX79" fmla="*/ 8233 w 10000"/>
                <a:gd name="connsiteY79" fmla="*/ 0 h 9707"/>
                <a:gd name="connsiteX80" fmla="*/ 7992 w 10000"/>
                <a:gd name="connsiteY80" fmla="*/ 203 h 9707"/>
                <a:gd name="connsiteX81" fmla="*/ 7831 w 10000"/>
                <a:gd name="connsiteY81" fmla="*/ 161 h 9707"/>
                <a:gd name="connsiteX82" fmla="*/ 7711 w 10000"/>
                <a:gd name="connsiteY82" fmla="*/ 521 h 9707"/>
                <a:gd name="connsiteX83" fmla="*/ 7390 w 10000"/>
                <a:gd name="connsiteY83" fmla="*/ 604 h 9707"/>
                <a:gd name="connsiteX84" fmla="*/ 7309 w 10000"/>
                <a:gd name="connsiteY84" fmla="*/ 883 h 9707"/>
                <a:gd name="connsiteX85" fmla="*/ 7028 w 10000"/>
                <a:gd name="connsiteY85" fmla="*/ 883 h 9707"/>
                <a:gd name="connsiteX86" fmla="*/ 6787 w 10000"/>
                <a:gd name="connsiteY86" fmla="*/ 764 h 9707"/>
                <a:gd name="connsiteX87" fmla="*/ 6265 w 10000"/>
                <a:gd name="connsiteY87" fmla="*/ 764 h 9707"/>
                <a:gd name="connsiteX88" fmla="*/ 5743 w 10000"/>
                <a:gd name="connsiteY88" fmla="*/ 764 h 9707"/>
                <a:gd name="connsiteX89" fmla="*/ 5783 w 10000"/>
                <a:gd name="connsiteY89" fmla="*/ 604 h 9707"/>
                <a:gd name="connsiteX90" fmla="*/ 5703 w 10000"/>
                <a:gd name="connsiteY90" fmla="*/ 604 h 9707"/>
                <a:gd name="connsiteX91" fmla="*/ 5663 w 10000"/>
                <a:gd name="connsiteY91" fmla="*/ 764 h 9707"/>
                <a:gd name="connsiteX92" fmla="*/ 5181 w 10000"/>
                <a:gd name="connsiteY92" fmla="*/ 764 h 9707"/>
                <a:gd name="connsiteX93" fmla="*/ 4699 w 10000"/>
                <a:gd name="connsiteY93" fmla="*/ 764 h 9707"/>
                <a:gd name="connsiteX94" fmla="*/ 4217 w 10000"/>
                <a:gd name="connsiteY94" fmla="*/ 764 h 9707"/>
                <a:gd name="connsiteX95" fmla="*/ 3735 w 10000"/>
                <a:gd name="connsiteY95" fmla="*/ 764 h 9707"/>
                <a:gd name="connsiteX96" fmla="*/ 3293 w 10000"/>
                <a:gd name="connsiteY96" fmla="*/ 764 h 9707"/>
                <a:gd name="connsiteX97" fmla="*/ 2811 w 10000"/>
                <a:gd name="connsiteY97" fmla="*/ 764 h 9707"/>
                <a:gd name="connsiteX98" fmla="*/ 2369 w 10000"/>
                <a:gd name="connsiteY98" fmla="*/ 764 h 9707"/>
                <a:gd name="connsiteX99" fmla="*/ 1888 w 10000"/>
                <a:gd name="connsiteY99" fmla="*/ 764 h 9707"/>
                <a:gd name="connsiteX100" fmla="*/ 1888 w 10000"/>
                <a:gd name="connsiteY100" fmla="*/ 1326 h 9707"/>
                <a:gd name="connsiteX101" fmla="*/ 1888 w 10000"/>
                <a:gd name="connsiteY101" fmla="*/ 2050 h 9707"/>
                <a:gd name="connsiteX102" fmla="*/ 1285 w 10000"/>
                <a:gd name="connsiteY102" fmla="*/ 2050 h 9707"/>
                <a:gd name="connsiteX103" fmla="*/ 1285 w 10000"/>
                <a:gd name="connsiteY103" fmla="*/ 2371 h 9707"/>
                <a:gd name="connsiteX0" fmla="*/ 1285 w 10000"/>
                <a:gd name="connsiteY0" fmla="*/ 2443 h 9598"/>
                <a:gd name="connsiteX1" fmla="*/ 1285 w 10000"/>
                <a:gd name="connsiteY1" fmla="*/ 3105 h 9598"/>
                <a:gd name="connsiteX2" fmla="*/ 1285 w 10000"/>
                <a:gd name="connsiteY2" fmla="*/ 3726 h 9598"/>
                <a:gd name="connsiteX3" fmla="*/ 1285 w 10000"/>
                <a:gd name="connsiteY3" fmla="*/ 4348 h 9598"/>
                <a:gd name="connsiteX4" fmla="*/ 1285 w 10000"/>
                <a:gd name="connsiteY4" fmla="*/ 4925 h 9598"/>
                <a:gd name="connsiteX5" fmla="*/ 643 w 10000"/>
                <a:gd name="connsiteY5" fmla="*/ 5051 h 9598"/>
                <a:gd name="connsiteX6" fmla="*/ 522 w 10000"/>
                <a:gd name="connsiteY6" fmla="*/ 5382 h 9598"/>
                <a:gd name="connsiteX7" fmla="*/ 241 w 10000"/>
                <a:gd name="connsiteY7" fmla="*/ 5796 h 9598"/>
                <a:gd name="connsiteX8" fmla="*/ 241 w 10000"/>
                <a:gd name="connsiteY8" fmla="*/ 6129 h 9598"/>
                <a:gd name="connsiteX9" fmla="*/ 120 w 10000"/>
                <a:gd name="connsiteY9" fmla="*/ 6210 h 9598"/>
                <a:gd name="connsiteX10" fmla="*/ 120 w 10000"/>
                <a:gd name="connsiteY10" fmla="*/ 6499 h 9598"/>
                <a:gd name="connsiteX11" fmla="*/ 0 w 10000"/>
                <a:gd name="connsiteY11" fmla="*/ 6750 h 9598"/>
                <a:gd name="connsiteX12" fmla="*/ 0 w 10000"/>
                <a:gd name="connsiteY12" fmla="*/ 6955 h 9598"/>
                <a:gd name="connsiteX13" fmla="*/ 241 w 10000"/>
                <a:gd name="connsiteY13" fmla="*/ 6914 h 9598"/>
                <a:gd name="connsiteX14" fmla="*/ 281 w 10000"/>
                <a:gd name="connsiteY14" fmla="*/ 7285 h 9598"/>
                <a:gd name="connsiteX15" fmla="*/ 602 w 10000"/>
                <a:gd name="connsiteY15" fmla="*/ 7951 h 9598"/>
                <a:gd name="connsiteX16" fmla="*/ 602 w 10000"/>
                <a:gd name="connsiteY16" fmla="*/ 7991 h 9598"/>
                <a:gd name="connsiteX17" fmla="*/ 482 w 10000"/>
                <a:gd name="connsiteY17" fmla="*/ 8032 h 9598"/>
                <a:gd name="connsiteX18" fmla="*/ 964 w 10000"/>
                <a:gd name="connsiteY18" fmla="*/ 8694 h 9598"/>
                <a:gd name="connsiteX19" fmla="*/ 1004 w 10000"/>
                <a:gd name="connsiteY19" fmla="*/ 8902 h 9598"/>
                <a:gd name="connsiteX20" fmla="*/ 964 w 10000"/>
                <a:gd name="connsiteY20" fmla="*/ 9482 h 9598"/>
                <a:gd name="connsiteX21" fmla="*/ 1192 w 10000"/>
                <a:gd name="connsiteY21" fmla="*/ 9598 h 9598"/>
                <a:gd name="connsiteX22" fmla="*/ 1332 w 10000"/>
                <a:gd name="connsiteY22" fmla="*/ 9026 h 9598"/>
                <a:gd name="connsiteX23" fmla="*/ 1439 w 10000"/>
                <a:gd name="connsiteY23" fmla="*/ 9124 h 9598"/>
                <a:gd name="connsiteX24" fmla="*/ 1767 w 10000"/>
                <a:gd name="connsiteY24" fmla="*/ 9047 h 9598"/>
                <a:gd name="connsiteX25" fmla="*/ 1951 w 10000"/>
                <a:gd name="connsiteY25" fmla="*/ 8942 h 9598"/>
                <a:gd name="connsiteX26" fmla="*/ 2025 w 10000"/>
                <a:gd name="connsiteY26" fmla="*/ 8688 h 9598"/>
                <a:gd name="connsiteX27" fmla="*/ 2338 w 10000"/>
                <a:gd name="connsiteY27" fmla="*/ 8606 h 9598"/>
                <a:gd name="connsiteX28" fmla="*/ 2643 w 10000"/>
                <a:gd name="connsiteY28" fmla="*/ 9011 h 9598"/>
                <a:gd name="connsiteX29" fmla="*/ 2911 w 10000"/>
                <a:gd name="connsiteY29" fmla="*/ 9187 h 9598"/>
                <a:gd name="connsiteX30" fmla="*/ 3167 w 10000"/>
                <a:gd name="connsiteY30" fmla="*/ 9156 h 9598"/>
                <a:gd name="connsiteX31" fmla="*/ 3795 w 10000"/>
                <a:gd name="connsiteY31" fmla="*/ 9303 h 9598"/>
                <a:gd name="connsiteX32" fmla="*/ 4153 w 10000"/>
                <a:gd name="connsiteY32" fmla="*/ 9383 h 9598"/>
                <a:gd name="connsiteX33" fmla="*/ 4600 w 10000"/>
                <a:gd name="connsiteY33" fmla="*/ 9172 h 9598"/>
                <a:gd name="connsiteX34" fmla="*/ 4901 w 10000"/>
                <a:gd name="connsiteY34" fmla="*/ 8721 h 9598"/>
                <a:gd name="connsiteX35" fmla="*/ 5080 w 10000"/>
                <a:gd name="connsiteY35" fmla="*/ 8842 h 9598"/>
                <a:gd name="connsiteX36" fmla="*/ 5337 w 10000"/>
                <a:gd name="connsiteY36" fmla="*/ 8965 h 9598"/>
                <a:gd name="connsiteX37" fmla="*/ 5564 w 10000"/>
                <a:gd name="connsiteY37" fmla="*/ 9124 h 9598"/>
                <a:gd name="connsiteX38" fmla="*/ 5768 w 10000"/>
                <a:gd name="connsiteY38" fmla="*/ 9021 h 9598"/>
                <a:gd name="connsiteX39" fmla="*/ 5933 w 10000"/>
                <a:gd name="connsiteY39" fmla="*/ 8926 h 9598"/>
                <a:gd name="connsiteX40" fmla="*/ 6089 w 10000"/>
                <a:gd name="connsiteY40" fmla="*/ 8713 h 9598"/>
                <a:gd name="connsiteX41" fmla="*/ 6274 w 10000"/>
                <a:gd name="connsiteY41" fmla="*/ 8425 h 9598"/>
                <a:gd name="connsiteX42" fmla="*/ 6389 w 10000"/>
                <a:gd name="connsiteY42" fmla="*/ 8291 h 9598"/>
                <a:gd name="connsiteX43" fmla="*/ 6524 w 10000"/>
                <a:gd name="connsiteY43" fmla="*/ 8237 h 9598"/>
                <a:gd name="connsiteX44" fmla="*/ 6531 w 10000"/>
                <a:gd name="connsiteY44" fmla="*/ 8067 h 9598"/>
                <a:gd name="connsiteX45" fmla="*/ 6572 w 10000"/>
                <a:gd name="connsiteY45" fmla="*/ 7871 h 9598"/>
                <a:gd name="connsiteX46" fmla="*/ 6602 w 10000"/>
                <a:gd name="connsiteY46" fmla="*/ 7692 h 9598"/>
                <a:gd name="connsiteX47" fmla="*/ 6707 w 10000"/>
                <a:gd name="connsiteY47" fmla="*/ 7546 h 9598"/>
                <a:gd name="connsiteX48" fmla="*/ 6876 w 10000"/>
                <a:gd name="connsiteY48" fmla="*/ 7547 h 9598"/>
                <a:gd name="connsiteX49" fmla="*/ 6827 w 10000"/>
                <a:gd name="connsiteY49" fmla="*/ 8443 h 9598"/>
                <a:gd name="connsiteX50" fmla="*/ 6991 w 10000"/>
                <a:gd name="connsiteY50" fmla="*/ 8546 h 9598"/>
                <a:gd name="connsiteX51" fmla="*/ 7275 w 10000"/>
                <a:gd name="connsiteY51" fmla="*/ 8807 h 9598"/>
                <a:gd name="connsiteX52" fmla="*/ 7430 w 10000"/>
                <a:gd name="connsiteY52" fmla="*/ 8404 h 9598"/>
                <a:gd name="connsiteX53" fmla="*/ 7470 w 10000"/>
                <a:gd name="connsiteY53" fmla="*/ 8444 h 9598"/>
                <a:gd name="connsiteX54" fmla="*/ 7590 w 10000"/>
                <a:gd name="connsiteY54" fmla="*/ 8198 h 9598"/>
                <a:gd name="connsiteX55" fmla="*/ 7831 w 10000"/>
                <a:gd name="connsiteY55" fmla="*/ 8074 h 9598"/>
                <a:gd name="connsiteX56" fmla="*/ 7952 w 10000"/>
                <a:gd name="connsiteY56" fmla="*/ 7618 h 9598"/>
                <a:gd name="connsiteX57" fmla="*/ 8313 w 10000"/>
                <a:gd name="connsiteY57" fmla="*/ 7080 h 9598"/>
                <a:gd name="connsiteX58" fmla="*/ 8594 w 10000"/>
                <a:gd name="connsiteY58" fmla="*/ 6831 h 9598"/>
                <a:gd name="connsiteX59" fmla="*/ 8795 w 10000"/>
                <a:gd name="connsiteY59" fmla="*/ 6129 h 9598"/>
                <a:gd name="connsiteX60" fmla="*/ 8795 w 10000"/>
                <a:gd name="connsiteY60" fmla="*/ 5963 h 9598"/>
                <a:gd name="connsiteX61" fmla="*/ 8755 w 10000"/>
                <a:gd name="connsiteY61" fmla="*/ 5549 h 9598"/>
                <a:gd name="connsiteX62" fmla="*/ 9157 w 10000"/>
                <a:gd name="connsiteY62" fmla="*/ 4057 h 9598"/>
                <a:gd name="connsiteX63" fmla="*/ 9277 w 10000"/>
                <a:gd name="connsiteY63" fmla="*/ 4057 h 9598"/>
                <a:gd name="connsiteX64" fmla="*/ 9438 w 10000"/>
                <a:gd name="connsiteY64" fmla="*/ 3933 h 9598"/>
                <a:gd name="connsiteX65" fmla="*/ 9920 w 10000"/>
                <a:gd name="connsiteY65" fmla="*/ 3726 h 9598"/>
                <a:gd name="connsiteX66" fmla="*/ 10000 w 10000"/>
                <a:gd name="connsiteY66" fmla="*/ 3395 h 9598"/>
                <a:gd name="connsiteX67" fmla="*/ 9960 w 10000"/>
                <a:gd name="connsiteY67" fmla="*/ 3311 h 9598"/>
                <a:gd name="connsiteX68" fmla="*/ 9799 w 10000"/>
                <a:gd name="connsiteY68" fmla="*/ 3311 h 9598"/>
                <a:gd name="connsiteX69" fmla="*/ 9679 w 10000"/>
                <a:gd name="connsiteY69" fmla="*/ 3105 h 9598"/>
                <a:gd name="connsiteX70" fmla="*/ 9438 w 10000"/>
                <a:gd name="connsiteY70" fmla="*/ 3024 h 9598"/>
                <a:gd name="connsiteX71" fmla="*/ 9317 w 10000"/>
                <a:gd name="connsiteY71" fmla="*/ 2858 h 9598"/>
                <a:gd name="connsiteX72" fmla="*/ 9237 w 10000"/>
                <a:gd name="connsiteY72" fmla="*/ 2237 h 9598"/>
                <a:gd name="connsiteX73" fmla="*/ 9237 w 10000"/>
                <a:gd name="connsiteY73" fmla="*/ 1366 h 9598"/>
                <a:gd name="connsiteX74" fmla="*/ 9036 w 10000"/>
                <a:gd name="connsiteY74" fmla="*/ 1078 h 9598"/>
                <a:gd name="connsiteX75" fmla="*/ 8996 w 10000"/>
                <a:gd name="connsiteY75" fmla="*/ 787 h 9598"/>
                <a:gd name="connsiteX76" fmla="*/ 8675 w 10000"/>
                <a:gd name="connsiteY76" fmla="*/ 373 h 9598"/>
                <a:gd name="connsiteX77" fmla="*/ 8394 w 10000"/>
                <a:gd name="connsiteY77" fmla="*/ 209 h 9598"/>
                <a:gd name="connsiteX78" fmla="*/ 8233 w 10000"/>
                <a:gd name="connsiteY78" fmla="*/ 0 h 9598"/>
                <a:gd name="connsiteX79" fmla="*/ 7992 w 10000"/>
                <a:gd name="connsiteY79" fmla="*/ 209 h 9598"/>
                <a:gd name="connsiteX80" fmla="*/ 7831 w 10000"/>
                <a:gd name="connsiteY80" fmla="*/ 166 h 9598"/>
                <a:gd name="connsiteX81" fmla="*/ 7711 w 10000"/>
                <a:gd name="connsiteY81" fmla="*/ 537 h 9598"/>
                <a:gd name="connsiteX82" fmla="*/ 7390 w 10000"/>
                <a:gd name="connsiteY82" fmla="*/ 622 h 9598"/>
                <a:gd name="connsiteX83" fmla="*/ 7309 w 10000"/>
                <a:gd name="connsiteY83" fmla="*/ 910 h 9598"/>
                <a:gd name="connsiteX84" fmla="*/ 7028 w 10000"/>
                <a:gd name="connsiteY84" fmla="*/ 910 h 9598"/>
                <a:gd name="connsiteX85" fmla="*/ 6787 w 10000"/>
                <a:gd name="connsiteY85" fmla="*/ 787 h 9598"/>
                <a:gd name="connsiteX86" fmla="*/ 6265 w 10000"/>
                <a:gd name="connsiteY86" fmla="*/ 787 h 9598"/>
                <a:gd name="connsiteX87" fmla="*/ 5743 w 10000"/>
                <a:gd name="connsiteY87" fmla="*/ 787 h 9598"/>
                <a:gd name="connsiteX88" fmla="*/ 5783 w 10000"/>
                <a:gd name="connsiteY88" fmla="*/ 622 h 9598"/>
                <a:gd name="connsiteX89" fmla="*/ 5703 w 10000"/>
                <a:gd name="connsiteY89" fmla="*/ 622 h 9598"/>
                <a:gd name="connsiteX90" fmla="*/ 5663 w 10000"/>
                <a:gd name="connsiteY90" fmla="*/ 787 h 9598"/>
                <a:gd name="connsiteX91" fmla="*/ 5181 w 10000"/>
                <a:gd name="connsiteY91" fmla="*/ 787 h 9598"/>
                <a:gd name="connsiteX92" fmla="*/ 4699 w 10000"/>
                <a:gd name="connsiteY92" fmla="*/ 787 h 9598"/>
                <a:gd name="connsiteX93" fmla="*/ 4217 w 10000"/>
                <a:gd name="connsiteY93" fmla="*/ 787 h 9598"/>
                <a:gd name="connsiteX94" fmla="*/ 3735 w 10000"/>
                <a:gd name="connsiteY94" fmla="*/ 787 h 9598"/>
                <a:gd name="connsiteX95" fmla="*/ 3293 w 10000"/>
                <a:gd name="connsiteY95" fmla="*/ 787 h 9598"/>
                <a:gd name="connsiteX96" fmla="*/ 2811 w 10000"/>
                <a:gd name="connsiteY96" fmla="*/ 787 h 9598"/>
                <a:gd name="connsiteX97" fmla="*/ 2369 w 10000"/>
                <a:gd name="connsiteY97" fmla="*/ 787 h 9598"/>
                <a:gd name="connsiteX98" fmla="*/ 1888 w 10000"/>
                <a:gd name="connsiteY98" fmla="*/ 787 h 9598"/>
                <a:gd name="connsiteX99" fmla="*/ 1888 w 10000"/>
                <a:gd name="connsiteY99" fmla="*/ 1366 h 9598"/>
                <a:gd name="connsiteX100" fmla="*/ 1888 w 10000"/>
                <a:gd name="connsiteY100" fmla="*/ 2112 h 9598"/>
                <a:gd name="connsiteX101" fmla="*/ 1285 w 10000"/>
                <a:gd name="connsiteY101" fmla="*/ 2112 h 9598"/>
                <a:gd name="connsiteX102" fmla="*/ 1285 w 10000"/>
                <a:gd name="connsiteY102" fmla="*/ 2443 h 9598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76 w 10000"/>
                <a:gd name="connsiteY47" fmla="*/ 7863 h 10000"/>
                <a:gd name="connsiteX48" fmla="*/ 6827 w 10000"/>
                <a:gd name="connsiteY48" fmla="*/ 8797 h 10000"/>
                <a:gd name="connsiteX49" fmla="*/ 6991 w 10000"/>
                <a:gd name="connsiteY49" fmla="*/ 8904 h 10000"/>
                <a:gd name="connsiteX50" fmla="*/ 7275 w 10000"/>
                <a:gd name="connsiteY50" fmla="*/ 9176 h 10000"/>
                <a:gd name="connsiteX51" fmla="*/ 7430 w 10000"/>
                <a:gd name="connsiteY51" fmla="*/ 8756 h 10000"/>
                <a:gd name="connsiteX52" fmla="*/ 7470 w 10000"/>
                <a:gd name="connsiteY52" fmla="*/ 8798 h 10000"/>
                <a:gd name="connsiteX53" fmla="*/ 7590 w 10000"/>
                <a:gd name="connsiteY53" fmla="*/ 8541 h 10000"/>
                <a:gd name="connsiteX54" fmla="*/ 7831 w 10000"/>
                <a:gd name="connsiteY54" fmla="*/ 8412 h 10000"/>
                <a:gd name="connsiteX55" fmla="*/ 7952 w 10000"/>
                <a:gd name="connsiteY55" fmla="*/ 7937 h 10000"/>
                <a:gd name="connsiteX56" fmla="*/ 8313 w 10000"/>
                <a:gd name="connsiteY56" fmla="*/ 7377 h 10000"/>
                <a:gd name="connsiteX57" fmla="*/ 8594 w 10000"/>
                <a:gd name="connsiteY57" fmla="*/ 7117 h 10000"/>
                <a:gd name="connsiteX58" fmla="*/ 8795 w 10000"/>
                <a:gd name="connsiteY58" fmla="*/ 6386 h 10000"/>
                <a:gd name="connsiteX59" fmla="*/ 8795 w 10000"/>
                <a:gd name="connsiteY59" fmla="*/ 6213 h 10000"/>
                <a:gd name="connsiteX60" fmla="*/ 8755 w 10000"/>
                <a:gd name="connsiteY60" fmla="*/ 5781 h 10000"/>
                <a:gd name="connsiteX61" fmla="*/ 9157 w 10000"/>
                <a:gd name="connsiteY61" fmla="*/ 4227 h 10000"/>
                <a:gd name="connsiteX62" fmla="*/ 9277 w 10000"/>
                <a:gd name="connsiteY62" fmla="*/ 4227 h 10000"/>
                <a:gd name="connsiteX63" fmla="*/ 9438 w 10000"/>
                <a:gd name="connsiteY63" fmla="*/ 4098 h 10000"/>
                <a:gd name="connsiteX64" fmla="*/ 9920 w 10000"/>
                <a:gd name="connsiteY64" fmla="*/ 3882 h 10000"/>
                <a:gd name="connsiteX65" fmla="*/ 10000 w 10000"/>
                <a:gd name="connsiteY65" fmla="*/ 3537 h 10000"/>
                <a:gd name="connsiteX66" fmla="*/ 9960 w 10000"/>
                <a:gd name="connsiteY66" fmla="*/ 3450 h 10000"/>
                <a:gd name="connsiteX67" fmla="*/ 9799 w 10000"/>
                <a:gd name="connsiteY67" fmla="*/ 3450 h 10000"/>
                <a:gd name="connsiteX68" fmla="*/ 9679 w 10000"/>
                <a:gd name="connsiteY68" fmla="*/ 3235 h 10000"/>
                <a:gd name="connsiteX69" fmla="*/ 9438 w 10000"/>
                <a:gd name="connsiteY69" fmla="*/ 3151 h 10000"/>
                <a:gd name="connsiteX70" fmla="*/ 9317 w 10000"/>
                <a:gd name="connsiteY70" fmla="*/ 2978 h 10000"/>
                <a:gd name="connsiteX71" fmla="*/ 9237 w 10000"/>
                <a:gd name="connsiteY71" fmla="*/ 2331 h 10000"/>
                <a:gd name="connsiteX72" fmla="*/ 9237 w 10000"/>
                <a:gd name="connsiteY72" fmla="*/ 1423 h 10000"/>
                <a:gd name="connsiteX73" fmla="*/ 9036 w 10000"/>
                <a:gd name="connsiteY73" fmla="*/ 1123 h 10000"/>
                <a:gd name="connsiteX74" fmla="*/ 8996 w 10000"/>
                <a:gd name="connsiteY74" fmla="*/ 820 h 10000"/>
                <a:gd name="connsiteX75" fmla="*/ 8675 w 10000"/>
                <a:gd name="connsiteY75" fmla="*/ 389 h 10000"/>
                <a:gd name="connsiteX76" fmla="*/ 8394 w 10000"/>
                <a:gd name="connsiteY76" fmla="*/ 218 h 10000"/>
                <a:gd name="connsiteX77" fmla="*/ 8233 w 10000"/>
                <a:gd name="connsiteY77" fmla="*/ 0 h 10000"/>
                <a:gd name="connsiteX78" fmla="*/ 7992 w 10000"/>
                <a:gd name="connsiteY78" fmla="*/ 218 h 10000"/>
                <a:gd name="connsiteX79" fmla="*/ 7831 w 10000"/>
                <a:gd name="connsiteY79" fmla="*/ 173 h 10000"/>
                <a:gd name="connsiteX80" fmla="*/ 7711 w 10000"/>
                <a:gd name="connsiteY80" fmla="*/ 559 h 10000"/>
                <a:gd name="connsiteX81" fmla="*/ 7390 w 10000"/>
                <a:gd name="connsiteY81" fmla="*/ 648 h 10000"/>
                <a:gd name="connsiteX82" fmla="*/ 7309 w 10000"/>
                <a:gd name="connsiteY82" fmla="*/ 948 h 10000"/>
                <a:gd name="connsiteX83" fmla="*/ 7028 w 10000"/>
                <a:gd name="connsiteY83" fmla="*/ 948 h 10000"/>
                <a:gd name="connsiteX84" fmla="*/ 6787 w 10000"/>
                <a:gd name="connsiteY84" fmla="*/ 820 h 10000"/>
                <a:gd name="connsiteX85" fmla="*/ 6265 w 10000"/>
                <a:gd name="connsiteY85" fmla="*/ 820 h 10000"/>
                <a:gd name="connsiteX86" fmla="*/ 5743 w 10000"/>
                <a:gd name="connsiteY86" fmla="*/ 820 h 10000"/>
                <a:gd name="connsiteX87" fmla="*/ 5783 w 10000"/>
                <a:gd name="connsiteY87" fmla="*/ 648 h 10000"/>
                <a:gd name="connsiteX88" fmla="*/ 5703 w 10000"/>
                <a:gd name="connsiteY88" fmla="*/ 648 h 10000"/>
                <a:gd name="connsiteX89" fmla="*/ 5663 w 10000"/>
                <a:gd name="connsiteY89" fmla="*/ 820 h 10000"/>
                <a:gd name="connsiteX90" fmla="*/ 5181 w 10000"/>
                <a:gd name="connsiteY90" fmla="*/ 820 h 10000"/>
                <a:gd name="connsiteX91" fmla="*/ 4699 w 10000"/>
                <a:gd name="connsiteY91" fmla="*/ 820 h 10000"/>
                <a:gd name="connsiteX92" fmla="*/ 4217 w 10000"/>
                <a:gd name="connsiteY92" fmla="*/ 820 h 10000"/>
                <a:gd name="connsiteX93" fmla="*/ 3735 w 10000"/>
                <a:gd name="connsiteY93" fmla="*/ 820 h 10000"/>
                <a:gd name="connsiteX94" fmla="*/ 3293 w 10000"/>
                <a:gd name="connsiteY94" fmla="*/ 820 h 10000"/>
                <a:gd name="connsiteX95" fmla="*/ 2811 w 10000"/>
                <a:gd name="connsiteY95" fmla="*/ 820 h 10000"/>
                <a:gd name="connsiteX96" fmla="*/ 2369 w 10000"/>
                <a:gd name="connsiteY96" fmla="*/ 820 h 10000"/>
                <a:gd name="connsiteX97" fmla="*/ 1888 w 10000"/>
                <a:gd name="connsiteY97" fmla="*/ 820 h 10000"/>
                <a:gd name="connsiteX98" fmla="*/ 1888 w 10000"/>
                <a:gd name="connsiteY98" fmla="*/ 1423 h 10000"/>
                <a:gd name="connsiteX99" fmla="*/ 1888 w 10000"/>
                <a:gd name="connsiteY99" fmla="*/ 2200 h 10000"/>
                <a:gd name="connsiteX100" fmla="*/ 1285 w 10000"/>
                <a:gd name="connsiteY100" fmla="*/ 2200 h 10000"/>
                <a:gd name="connsiteX101" fmla="*/ 1285 w 10000"/>
                <a:gd name="connsiteY101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6991 w 10000"/>
                <a:gd name="connsiteY48" fmla="*/ 8904 h 10000"/>
                <a:gd name="connsiteX49" fmla="*/ 7275 w 10000"/>
                <a:gd name="connsiteY49" fmla="*/ 9176 h 10000"/>
                <a:gd name="connsiteX50" fmla="*/ 7430 w 10000"/>
                <a:gd name="connsiteY50" fmla="*/ 8756 h 10000"/>
                <a:gd name="connsiteX51" fmla="*/ 7470 w 10000"/>
                <a:gd name="connsiteY51" fmla="*/ 8798 h 10000"/>
                <a:gd name="connsiteX52" fmla="*/ 7590 w 10000"/>
                <a:gd name="connsiteY52" fmla="*/ 8541 h 10000"/>
                <a:gd name="connsiteX53" fmla="*/ 7831 w 10000"/>
                <a:gd name="connsiteY53" fmla="*/ 8412 h 10000"/>
                <a:gd name="connsiteX54" fmla="*/ 7952 w 10000"/>
                <a:gd name="connsiteY54" fmla="*/ 7937 h 10000"/>
                <a:gd name="connsiteX55" fmla="*/ 8313 w 10000"/>
                <a:gd name="connsiteY55" fmla="*/ 7377 h 10000"/>
                <a:gd name="connsiteX56" fmla="*/ 8594 w 10000"/>
                <a:gd name="connsiteY56" fmla="*/ 7117 h 10000"/>
                <a:gd name="connsiteX57" fmla="*/ 8795 w 10000"/>
                <a:gd name="connsiteY57" fmla="*/ 6386 h 10000"/>
                <a:gd name="connsiteX58" fmla="*/ 8795 w 10000"/>
                <a:gd name="connsiteY58" fmla="*/ 6213 h 10000"/>
                <a:gd name="connsiteX59" fmla="*/ 8755 w 10000"/>
                <a:gd name="connsiteY59" fmla="*/ 5781 h 10000"/>
                <a:gd name="connsiteX60" fmla="*/ 9157 w 10000"/>
                <a:gd name="connsiteY60" fmla="*/ 4227 h 10000"/>
                <a:gd name="connsiteX61" fmla="*/ 9277 w 10000"/>
                <a:gd name="connsiteY61" fmla="*/ 4227 h 10000"/>
                <a:gd name="connsiteX62" fmla="*/ 9438 w 10000"/>
                <a:gd name="connsiteY62" fmla="*/ 4098 h 10000"/>
                <a:gd name="connsiteX63" fmla="*/ 9920 w 10000"/>
                <a:gd name="connsiteY63" fmla="*/ 3882 h 10000"/>
                <a:gd name="connsiteX64" fmla="*/ 10000 w 10000"/>
                <a:gd name="connsiteY64" fmla="*/ 3537 h 10000"/>
                <a:gd name="connsiteX65" fmla="*/ 9960 w 10000"/>
                <a:gd name="connsiteY65" fmla="*/ 3450 h 10000"/>
                <a:gd name="connsiteX66" fmla="*/ 9799 w 10000"/>
                <a:gd name="connsiteY66" fmla="*/ 3450 h 10000"/>
                <a:gd name="connsiteX67" fmla="*/ 9679 w 10000"/>
                <a:gd name="connsiteY67" fmla="*/ 3235 h 10000"/>
                <a:gd name="connsiteX68" fmla="*/ 9438 w 10000"/>
                <a:gd name="connsiteY68" fmla="*/ 3151 h 10000"/>
                <a:gd name="connsiteX69" fmla="*/ 9317 w 10000"/>
                <a:gd name="connsiteY69" fmla="*/ 2978 h 10000"/>
                <a:gd name="connsiteX70" fmla="*/ 9237 w 10000"/>
                <a:gd name="connsiteY70" fmla="*/ 2331 h 10000"/>
                <a:gd name="connsiteX71" fmla="*/ 9237 w 10000"/>
                <a:gd name="connsiteY71" fmla="*/ 1423 h 10000"/>
                <a:gd name="connsiteX72" fmla="*/ 9036 w 10000"/>
                <a:gd name="connsiteY72" fmla="*/ 1123 h 10000"/>
                <a:gd name="connsiteX73" fmla="*/ 8996 w 10000"/>
                <a:gd name="connsiteY73" fmla="*/ 820 h 10000"/>
                <a:gd name="connsiteX74" fmla="*/ 8675 w 10000"/>
                <a:gd name="connsiteY74" fmla="*/ 389 h 10000"/>
                <a:gd name="connsiteX75" fmla="*/ 8394 w 10000"/>
                <a:gd name="connsiteY75" fmla="*/ 218 h 10000"/>
                <a:gd name="connsiteX76" fmla="*/ 8233 w 10000"/>
                <a:gd name="connsiteY76" fmla="*/ 0 h 10000"/>
                <a:gd name="connsiteX77" fmla="*/ 7992 w 10000"/>
                <a:gd name="connsiteY77" fmla="*/ 218 h 10000"/>
                <a:gd name="connsiteX78" fmla="*/ 7831 w 10000"/>
                <a:gd name="connsiteY78" fmla="*/ 173 h 10000"/>
                <a:gd name="connsiteX79" fmla="*/ 7711 w 10000"/>
                <a:gd name="connsiteY79" fmla="*/ 559 h 10000"/>
                <a:gd name="connsiteX80" fmla="*/ 7390 w 10000"/>
                <a:gd name="connsiteY80" fmla="*/ 648 h 10000"/>
                <a:gd name="connsiteX81" fmla="*/ 7309 w 10000"/>
                <a:gd name="connsiteY81" fmla="*/ 948 h 10000"/>
                <a:gd name="connsiteX82" fmla="*/ 7028 w 10000"/>
                <a:gd name="connsiteY82" fmla="*/ 948 h 10000"/>
                <a:gd name="connsiteX83" fmla="*/ 6787 w 10000"/>
                <a:gd name="connsiteY83" fmla="*/ 820 h 10000"/>
                <a:gd name="connsiteX84" fmla="*/ 6265 w 10000"/>
                <a:gd name="connsiteY84" fmla="*/ 820 h 10000"/>
                <a:gd name="connsiteX85" fmla="*/ 5743 w 10000"/>
                <a:gd name="connsiteY85" fmla="*/ 820 h 10000"/>
                <a:gd name="connsiteX86" fmla="*/ 5783 w 10000"/>
                <a:gd name="connsiteY86" fmla="*/ 648 h 10000"/>
                <a:gd name="connsiteX87" fmla="*/ 5703 w 10000"/>
                <a:gd name="connsiteY87" fmla="*/ 648 h 10000"/>
                <a:gd name="connsiteX88" fmla="*/ 5663 w 10000"/>
                <a:gd name="connsiteY88" fmla="*/ 820 h 10000"/>
                <a:gd name="connsiteX89" fmla="*/ 5181 w 10000"/>
                <a:gd name="connsiteY89" fmla="*/ 820 h 10000"/>
                <a:gd name="connsiteX90" fmla="*/ 4699 w 10000"/>
                <a:gd name="connsiteY90" fmla="*/ 820 h 10000"/>
                <a:gd name="connsiteX91" fmla="*/ 4217 w 10000"/>
                <a:gd name="connsiteY91" fmla="*/ 820 h 10000"/>
                <a:gd name="connsiteX92" fmla="*/ 3735 w 10000"/>
                <a:gd name="connsiteY92" fmla="*/ 820 h 10000"/>
                <a:gd name="connsiteX93" fmla="*/ 3293 w 10000"/>
                <a:gd name="connsiteY93" fmla="*/ 820 h 10000"/>
                <a:gd name="connsiteX94" fmla="*/ 2811 w 10000"/>
                <a:gd name="connsiteY94" fmla="*/ 820 h 10000"/>
                <a:gd name="connsiteX95" fmla="*/ 2369 w 10000"/>
                <a:gd name="connsiteY95" fmla="*/ 820 h 10000"/>
                <a:gd name="connsiteX96" fmla="*/ 1888 w 10000"/>
                <a:gd name="connsiteY96" fmla="*/ 820 h 10000"/>
                <a:gd name="connsiteX97" fmla="*/ 1888 w 10000"/>
                <a:gd name="connsiteY97" fmla="*/ 1423 h 10000"/>
                <a:gd name="connsiteX98" fmla="*/ 1888 w 10000"/>
                <a:gd name="connsiteY98" fmla="*/ 2200 h 10000"/>
                <a:gd name="connsiteX99" fmla="*/ 1285 w 10000"/>
                <a:gd name="connsiteY99" fmla="*/ 2200 h 10000"/>
                <a:gd name="connsiteX100" fmla="*/ 1285 w 10000"/>
                <a:gd name="connsiteY100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27 w 10000"/>
                <a:gd name="connsiteY47" fmla="*/ 8797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275 w 10000"/>
                <a:gd name="connsiteY48" fmla="*/ 9176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707 w 10000"/>
                <a:gd name="connsiteY46" fmla="*/ 7862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332 w 10000"/>
                <a:gd name="connsiteY22" fmla="*/ 9404 h 10000"/>
                <a:gd name="connsiteX23" fmla="*/ 1439 w 10000"/>
                <a:gd name="connsiteY23" fmla="*/ 9506 h 10000"/>
                <a:gd name="connsiteX24" fmla="*/ 1767 w 10000"/>
                <a:gd name="connsiteY24" fmla="*/ 9426 h 10000"/>
                <a:gd name="connsiteX25" fmla="*/ 1951 w 10000"/>
                <a:gd name="connsiteY25" fmla="*/ 9317 h 10000"/>
                <a:gd name="connsiteX26" fmla="*/ 2025 w 10000"/>
                <a:gd name="connsiteY26" fmla="*/ 9052 h 10000"/>
                <a:gd name="connsiteX27" fmla="*/ 2338 w 10000"/>
                <a:gd name="connsiteY27" fmla="*/ 8966 h 10000"/>
                <a:gd name="connsiteX28" fmla="*/ 2643 w 10000"/>
                <a:gd name="connsiteY28" fmla="*/ 9388 h 10000"/>
                <a:gd name="connsiteX29" fmla="*/ 2911 w 10000"/>
                <a:gd name="connsiteY29" fmla="*/ 9572 h 10000"/>
                <a:gd name="connsiteX30" fmla="*/ 3167 w 10000"/>
                <a:gd name="connsiteY30" fmla="*/ 9539 h 10000"/>
                <a:gd name="connsiteX31" fmla="*/ 3795 w 10000"/>
                <a:gd name="connsiteY31" fmla="*/ 9693 h 10000"/>
                <a:gd name="connsiteX32" fmla="*/ 4153 w 10000"/>
                <a:gd name="connsiteY32" fmla="*/ 9776 h 10000"/>
                <a:gd name="connsiteX33" fmla="*/ 4600 w 10000"/>
                <a:gd name="connsiteY33" fmla="*/ 9556 h 10000"/>
                <a:gd name="connsiteX34" fmla="*/ 4901 w 10000"/>
                <a:gd name="connsiteY34" fmla="*/ 9086 h 10000"/>
                <a:gd name="connsiteX35" fmla="*/ 5337 w 10000"/>
                <a:gd name="connsiteY35" fmla="*/ 9340 h 10000"/>
                <a:gd name="connsiteX36" fmla="*/ 5564 w 10000"/>
                <a:gd name="connsiteY36" fmla="*/ 9506 h 10000"/>
                <a:gd name="connsiteX37" fmla="*/ 5768 w 10000"/>
                <a:gd name="connsiteY37" fmla="*/ 9399 h 10000"/>
                <a:gd name="connsiteX38" fmla="*/ 5933 w 10000"/>
                <a:gd name="connsiteY38" fmla="*/ 9300 h 10000"/>
                <a:gd name="connsiteX39" fmla="*/ 6089 w 10000"/>
                <a:gd name="connsiteY39" fmla="*/ 9078 h 10000"/>
                <a:gd name="connsiteX40" fmla="*/ 6274 w 10000"/>
                <a:gd name="connsiteY40" fmla="*/ 8778 h 10000"/>
                <a:gd name="connsiteX41" fmla="*/ 6389 w 10000"/>
                <a:gd name="connsiteY41" fmla="*/ 8638 h 10000"/>
                <a:gd name="connsiteX42" fmla="*/ 6524 w 10000"/>
                <a:gd name="connsiteY42" fmla="*/ 8582 h 10000"/>
                <a:gd name="connsiteX43" fmla="*/ 6531 w 10000"/>
                <a:gd name="connsiteY43" fmla="*/ 8405 h 10000"/>
                <a:gd name="connsiteX44" fmla="*/ 6572 w 10000"/>
                <a:gd name="connsiteY44" fmla="*/ 8201 h 10000"/>
                <a:gd name="connsiteX45" fmla="*/ 6602 w 10000"/>
                <a:gd name="connsiteY45" fmla="*/ 8014 h 10000"/>
                <a:gd name="connsiteX46" fmla="*/ 6855 w 10000"/>
                <a:gd name="connsiteY46" fmla="*/ 7773 h 10000"/>
                <a:gd name="connsiteX47" fmla="*/ 6893 w 10000"/>
                <a:gd name="connsiteY47" fmla="*/ 8708 h 10000"/>
                <a:gd name="connsiteX48" fmla="*/ 7308 w 10000"/>
                <a:gd name="connsiteY48" fmla="*/ 9034 h 10000"/>
                <a:gd name="connsiteX49" fmla="*/ 7430 w 10000"/>
                <a:gd name="connsiteY49" fmla="*/ 8756 h 10000"/>
                <a:gd name="connsiteX50" fmla="*/ 7470 w 10000"/>
                <a:gd name="connsiteY50" fmla="*/ 8798 h 10000"/>
                <a:gd name="connsiteX51" fmla="*/ 7590 w 10000"/>
                <a:gd name="connsiteY51" fmla="*/ 8541 h 10000"/>
                <a:gd name="connsiteX52" fmla="*/ 7831 w 10000"/>
                <a:gd name="connsiteY52" fmla="*/ 8412 h 10000"/>
                <a:gd name="connsiteX53" fmla="*/ 7952 w 10000"/>
                <a:gd name="connsiteY53" fmla="*/ 7937 h 10000"/>
                <a:gd name="connsiteX54" fmla="*/ 8313 w 10000"/>
                <a:gd name="connsiteY54" fmla="*/ 7377 h 10000"/>
                <a:gd name="connsiteX55" fmla="*/ 8594 w 10000"/>
                <a:gd name="connsiteY55" fmla="*/ 7117 h 10000"/>
                <a:gd name="connsiteX56" fmla="*/ 8795 w 10000"/>
                <a:gd name="connsiteY56" fmla="*/ 6386 h 10000"/>
                <a:gd name="connsiteX57" fmla="*/ 8795 w 10000"/>
                <a:gd name="connsiteY57" fmla="*/ 6213 h 10000"/>
                <a:gd name="connsiteX58" fmla="*/ 8755 w 10000"/>
                <a:gd name="connsiteY58" fmla="*/ 5781 h 10000"/>
                <a:gd name="connsiteX59" fmla="*/ 9157 w 10000"/>
                <a:gd name="connsiteY59" fmla="*/ 4227 h 10000"/>
                <a:gd name="connsiteX60" fmla="*/ 9277 w 10000"/>
                <a:gd name="connsiteY60" fmla="*/ 4227 h 10000"/>
                <a:gd name="connsiteX61" fmla="*/ 9438 w 10000"/>
                <a:gd name="connsiteY61" fmla="*/ 4098 h 10000"/>
                <a:gd name="connsiteX62" fmla="*/ 9920 w 10000"/>
                <a:gd name="connsiteY62" fmla="*/ 3882 h 10000"/>
                <a:gd name="connsiteX63" fmla="*/ 10000 w 10000"/>
                <a:gd name="connsiteY63" fmla="*/ 3537 h 10000"/>
                <a:gd name="connsiteX64" fmla="*/ 9960 w 10000"/>
                <a:gd name="connsiteY64" fmla="*/ 3450 h 10000"/>
                <a:gd name="connsiteX65" fmla="*/ 9799 w 10000"/>
                <a:gd name="connsiteY65" fmla="*/ 3450 h 10000"/>
                <a:gd name="connsiteX66" fmla="*/ 9679 w 10000"/>
                <a:gd name="connsiteY66" fmla="*/ 3235 h 10000"/>
                <a:gd name="connsiteX67" fmla="*/ 9438 w 10000"/>
                <a:gd name="connsiteY67" fmla="*/ 3151 h 10000"/>
                <a:gd name="connsiteX68" fmla="*/ 9317 w 10000"/>
                <a:gd name="connsiteY68" fmla="*/ 2978 h 10000"/>
                <a:gd name="connsiteX69" fmla="*/ 9237 w 10000"/>
                <a:gd name="connsiteY69" fmla="*/ 2331 h 10000"/>
                <a:gd name="connsiteX70" fmla="*/ 9237 w 10000"/>
                <a:gd name="connsiteY70" fmla="*/ 1423 h 10000"/>
                <a:gd name="connsiteX71" fmla="*/ 9036 w 10000"/>
                <a:gd name="connsiteY71" fmla="*/ 1123 h 10000"/>
                <a:gd name="connsiteX72" fmla="*/ 8996 w 10000"/>
                <a:gd name="connsiteY72" fmla="*/ 820 h 10000"/>
                <a:gd name="connsiteX73" fmla="*/ 8675 w 10000"/>
                <a:gd name="connsiteY73" fmla="*/ 389 h 10000"/>
                <a:gd name="connsiteX74" fmla="*/ 8394 w 10000"/>
                <a:gd name="connsiteY74" fmla="*/ 218 h 10000"/>
                <a:gd name="connsiteX75" fmla="*/ 8233 w 10000"/>
                <a:gd name="connsiteY75" fmla="*/ 0 h 10000"/>
                <a:gd name="connsiteX76" fmla="*/ 7992 w 10000"/>
                <a:gd name="connsiteY76" fmla="*/ 218 h 10000"/>
                <a:gd name="connsiteX77" fmla="*/ 7831 w 10000"/>
                <a:gd name="connsiteY77" fmla="*/ 173 h 10000"/>
                <a:gd name="connsiteX78" fmla="*/ 7711 w 10000"/>
                <a:gd name="connsiteY78" fmla="*/ 559 h 10000"/>
                <a:gd name="connsiteX79" fmla="*/ 7390 w 10000"/>
                <a:gd name="connsiteY79" fmla="*/ 648 h 10000"/>
                <a:gd name="connsiteX80" fmla="*/ 7309 w 10000"/>
                <a:gd name="connsiteY80" fmla="*/ 948 h 10000"/>
                <a:gd name="connsiteX81" fmla="*/ 7028 w 10000"/>
                <a:gd name="connsiteY81" fmla="*/ 948 h 10000"/>
                <a:gd name="connsiteX82" fmla="*/ 6787 w 10000"/>
                <a:gd name="connsiteY82" fmla="*/ 820 h 10000"/>
                <a:gd name="connsiteX83" fmla="*/ 6265 w 10000"/>
                <a:gd name="connsiteY83" fmla="*/ 820 h 10000"/>
                <a:gd name="connsiteX84" fmla="*/ 5743 w 10000"/>
                <a:gd name="connsiteY84" fmla="*/ 820 h 10000"/>
                <a:gd name="connsiteX85" fmla="*/ 5783 w 10000"/>
                <a:gd name="connsiteY85" fmla="*/ 648 h 10000"/>
                <a:gd name="connsiteX86" fmla="*/ 5703 w 10000"/>
                <a:gd name="connsiteY86" fmla="*/ 648 h 10000"/>
                <a:gd name="connsiteX87" fmla="*/ 5663 w 10000"/>
                <a:gd name="connsiteY87" fmla="*/ 820 h 10000"/>
                <a:gd name="connsiteX88" fmla="*/ 5181 w 10000"/>
                <a:gd name="connsiteY88" fmla="*/ 820 h 10000"/>
                <a:gd name="connsiteX89" fmla="*/ 4699 w 10000"/>
                <a:gd name="connsiteY89" fmla="*/ 820 h 10000"/>
                <a:gd name="connsiteX90" fmla="*/ 4217 w 10000"/>
                <a:gd name="connsiteY90" fmla="*/ 820 h 10000"/>
                <a:gd name="connsiteX91" fmla="*/ 3735 w 10000"/>
                <a:gd name="connsiteY91" fmla="*/ 820 h 10000"/>
                <a:gd name="connsiteX92" fmla="*/ 3293 w 10000"/>
                <a:gd name="connsiteY92" fmla="*/ 820 h 10000"/>
                <a:gd name="connsiteX93" fmla="*/ 2811 w 10000"/>
                <a:gd name="connsiteY93" fmla="*/ 820 h 10000"/>
                <a:gd name="connsiteX94" fmla="*/ 2369 w 10000"/>
                <a:gd name="connsiteY94" fmla="*/ 820 h 10000"/>
                <a:gd name="connsiteX95" fmla="*/ 1888 w 10000"/>
                <a:gd name="connsiteY95" fmla="*/ 820 h 10000"/>
                <a:gd name="connsiteX96" fmla="*/ 1888 w 10000"/>
                <a:gd name="connsiteY96" fmla="*/ 1423 h 10000"/>
                <a:gd name="connsiteX97" fmla="*/ 1888 w 10000"/>
                <a:gd name="connsiteY97" fmla="*/ 2200 h 10000"/>
                <a:gd name="connsiteX98" fmla="*/ 1285 w 10000"/>
                <a:gd name="connsiteY98" fmla="*/ 2200 h 10000"/>
                <a:gd name="connsiteX99" fmla="*/ 1285 w 10000"/>
                <a:gd name="connsiteY99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39 w 10000"/>
                <a:gd name="connsiteY22" fmla="*/ 9506 h 10000"/>
                <a:gd name="connsiteX23" fmla="*/ 1767 w 10000"/>
                <a:gd name="connsiteY23" fmla="*/ 9426 h 10000"/>
                <a:gd name="connsiteX24" fmla="*/ 1951 w 10000"/>
                <a:gd name="connsiteY24" fmla="*/ 9317 h 10000"/>
                <a:gd name="connsiteX25" fmla="*/ 2025 w 10000"/>
                <a:gd name="connsiteY25" fmla="*/ 9052 h 10000"/>
                <a:gd name="connsiteX26" fmla="*/ 2338 w 10000"/>
                <a:gd name="connsiteY26" fmla="*/ 8966 h 10000"/>
                <a:gd name="connsiteX27" fmla="*/ 2643 w 10000"/>
                <a:gd name="connsiteY27" fmla="*/ 9388 h 10000"/>
                <a:gd name="connsiteX28" fmla="*/ 2911 w 10000"/>
                <a:gd name="connsiteY28" fmla="*/ 9572 h 10000"/>
                <a:gd name="connsiteX29" fmla="*/ 3167 w 10000"/>
                <a:gd name="connsiteY29" fmla="*/ 9539 h 10000"/>
                <a:gd name="connsiteX30" fmla="*/ 3795 w 10000"/>
                <a:gd name="connsiteY30" fmla="*/ 9693 h 10000"/>
                <a:gd name="connsiteX31" fmla="*/ 4153 w 10000"/>
                <a:gd name="connsiteY31" fmla="*/ 9776 h 10000"/>
                <a:gd name="connsiteX32" fmla="*/ 4600 w 10000"/>
                <a:gd name="connsiteY32" fmla="*/ 9556 h 10000"/>
                <a:gd name="connsiteX33" fmla="*/ 4901 w 10000"/>
                <a:gd name="connsiteY33" fmla="*/ 9086 h 10000"/>
                <a:gd name="connsiteX34" fmla="*/ 5337 w 10000"/>
                <a:gd name="connsiteY34" fmla="*/ 9340 h 10000"/>
                <a:gd name="connsiteX35" fmla="*/ 5564 w 10000"/>
                <a:gd name="connsiteY35" fmla="*/ 9506 h 10000"/>
                <a:gd name="connsiteX36" fmla="*/ 5768 w 10000"/>
                <a:gd name="connsiteY36" fmla="*/ 9399 h 10000"/>
                <a:gd name="connsiteX37" fmla="*/ 5933 w 10000"/>
                <a:gd name="connsiteY37" fmla="*/ 9300 h 10000"/>
                <a:gd name="connsiteX38" fmla="*/ 6089 w 10000"/>
                <a:gd name="connsiteY38" fmla="*/ 9078 h 10000"/>
                <a:gd name="connsiteX39" fmla="*/ 6274 w 10000"/>
                <a:gd name="connsiteY39" fmla="*/ 8778 h 10000"/>
                <a:gd name="connsiteX40" fmla="*/ 6389 w 10000"/>
                <a:gd name="connsiteY40" fmla="*/ 8638 h 10000"/>
                <a:gd name="connsiteX41" fmla="*/ 6524 w 10000"/>
                <a:gd name="connsiteY41" fmla="*/ 8582 h 10000"/>
                <a:gd name="connsiteX42" fmla="*/ 6531 w 10000"/>
                <a:gd name="connsiteY42" fmla="*/ 8405 h 10000"/>
                <a:gd name="connsiteX43" fmla="*/ 6572 w 10000"/>
                <a:gd name="connsiteY43" fmla="*/ 8201 h 10000"/>
                <a:gd name="connsiteX44" fmla="*/ 6602 w 10000"/>
                <a:gd name="connsiteY44" fmla="*/ 8014 h 10000"/>
                <a:gd name="connsiteX45" fmla="*/ 6855 w 10000"/>
                <a:gd name="connsiteY45" fmla="*/ 7773 h 10000"/>
                <a:gd name="connsiteX46" fmla="*/ 6893 w 10000"/>
                <a:gd name="connsiteY46" fmla="*/ 8708 h 10000"/>
                <a:gd name="connsiteX47" fmla="*/ 7308 w 10000"/>
                <a:gd name="connsiteY47" fmla="*/ 9034 h 10000"/>
                <a:gd name="connsiteX48" fmla="*/ 7430 w 10000"/>
                <a:gd name="connsiteY48" fmla="*/ 8756 h 10000"/>
                <a:gd name="connsiteX49" fmla="*/ 7470 w 10000"/>
                <a:gd name="connsiteY49" fmla="*/ 8798 h 10000"/>
                <a:gd name="connsiteX50" fmla="*/ 7590 w 10000"/>
                <a:gd name="connsiteY50" fmla="*/ 8541 h 10000"/>
                <a:gd name="connsiteX51" fmla="*/ 7831 w 10000"/>
                <a:gd name="connsiteY51" fmla="*/ 8412 h 10000"/>
                <a:gd name="connsiteX52" fmla="*/ 7952 w 10000"/>
                <a:gd name="connsiteY52" fmla="*/ 7937 h 10000"/>
                <a:gd name="connsiteX53" fmla="*/ 8313 w 10000"/>
                <a:gd name="connsiteY53" fmla="*/ 7377 h 10000"/>
                <a:gd name="connsiteX54" fmla="*/ 8594 w 10000"/>
                <a:gd name="connsiteY54" fmla="*/ 7117 h 10000"/>
                <a:gd name="connsiteX55" fmla="*/ 8795 w 10000"/>
                <a:gd name="connsiteY55" fmla="*/ 6386 h 10000"/>
                <a:gd name="connsiteX56" fmla="*/ 8795 w 10000"/>
                <a:gd name="connsiteY56" fmla="*/ 6213 h 10000"/>
                <a:gd name="connsiteX57" fmla="*/ 8755 w 10000"/>
                <a:gd name="connsiteY57" fmla="*/ 5781 h 10000"/>
                <a:gd name="connsiteX58" fmla="*/ 9157 w 10000"/>
                <a:gd name="connsiteY58" fmla="*/ 4227 h 10000"/>
                <a:gd name="connsiteX59" fmla="*/ 9277 w 10000"/>
                <a:gd name="connsiteY59" fmla="*/ 4227 h 10000"/>
                <a:gd name="connsiteX60" fmla="*/ 9438 w 10000"/>
                <a:gd name="connsiteY60" fmla="*/ 4098 h 10000"/>
                <a:gd name="connsiteX61" fmla="*/ 9920 w 10000"/>
                <a:gd name="connsiteY61" fmla="*/ 3882 h 10000"/>
                <a:gd name="connsiteX62" fmla="*/ 10000 w 10000"/>
                <a:gd name="connsiteY62" fmla="*/ 3537 h 10000"/>
                <a:gd name="connsiteX63" fmla="*/ 9960 w 10000"/>
                <a:gd name="connsiteY63" fmla="*/ 3450 h 10000"/>
                <a:gd name="connsiteX64" fmla="*/ 9799 w 10000"/>
                <a:gd name="connsiteY64" fmla="*/ 3450 h 10000"/>
                <a:gd name="connsiteX65" fmla="*/ 9679 w 10000"/>
                <a:gd name="connsiteY65" fmla="*/ 3235 h 10000"/>
                <a:gd name="connsiteX66" fmla="*/ 9438 w 10000"/>
                <a:gd name="connsiteY66" fmla="*/ 3151 h 10000"/>
                <a:gd name="connsiteX67" fmla="*/ 9317 w 10000"/>
                <a:gd name="connsiteY67" fmla="*/ 2978 h 10000"/>
                <a:gd name="connsiteX68" fmla="*/ 9237 w 10000"/>
                <a:gd name="connsiteY68" fmla="*/ 2331 h 10000"/>
                <a:gd name="connsiteX69" fmla="*/ 9237 w 10000"/>
                <a:gd name="connsiteY69" fmla="*/ 1423 h 10000"/>
                <a:gd name="connsiteX70" fmla="*/ 9036 w 10000"/>
                <a:gd name="connsiteY70" fmla="*/ 1123 h 10000"/>
                <a:gd name="connsiteX71" fmla="*/ 8996 w 10000"/>
                <a:gd name="connsiteY71" fmla="*/ 820 h 10000"/>
                <a:gd name="connsiteX72" fmla="*/ 8675 w 10000"/>
                <a:gd name="connsiteY72" fmla="*/ 389 h 10000"/>
                <a:gd name="connsiteX73" fmla="*/ 8394 w 10000"/>
                <a:gd name="connsiteY73" fmla="*/ 218 h 10000"/>
                <a:gd name="connsiteX74" fmla="*/ 8233 w 10000"/>
                <a:gd name="connsiteY74" fmla="*/ 0 h 10000"/>
                <a:gd name="connsiteX75" fmla="*/ 7992 w 10000"/>
                <a:gd name="connsiteY75" fmla="*/ 218 h 10000"/>
                <a:gd name="connsiteX76" fmla="*/ 7831 w 10000"/>
                <a:gd name="connsiteY76" fmla="*/ 173 h 10000"/>
                <a:gd name="connsiteX77" fmla="*/ 7711 w 10000"/>
                <a:gd name="connsiteY77" fmla="*/ 559 h 10000"/>
                <a:gd name="connsiteX78" fmla="*/ 7390 w 10000"/>
                <a:gd name="connsiteY78" fmla="*/ 648 h 10000"/>
                <a:gd name="connsiteX79" fmla="*/ 7309 w 10000"/>
                <a:gd name="connsiteY79" fmla="*/ 948 h 10000"/>
                <a:gd name="connsiteX80" fmla="*/ 7028 w 10000"/>
                <a:gd name="connsiteY80" fmla="*/ 948 h 10000"/>
                <a:gd name="connsiteX81" fmla="*/ 6787 w 10000"/>
                <a:gd name="connsiteY81" fmla="*/ 820 h 10000"/>
                <a:gd name="connsiteX82" fmla="*/ 6265 w 10000"/>
                <a:gd name="connsiteY82" fmla="*/ 820 h 10000"/>
                <a:gd name="connsiteX83" fmla="*/ 5743 w 10000"/>
                <a:gd name="connsiteY83" fmla="*/ 820 h 10000"/>
                <a:gd name="connsiteX84" fmla="*/ 5783 w 10000"/>
                <a:gd name="connsiteY84" fmla="*/ 648 h 10000"/>
                <a:gd name="connsiteX85" fmla="*/ 5703 w 10000"/>
                <a:gd name="connsiteY85" fmla="*/ 648 h 10000"/>
                <a:gd name="connsiteX86" fmla="*/ 5663 w 10000"/>
                <a:gd name="connsiteY86" fmla="*/ 820 h 10000"/>
                <a:gd name="connsiteX87" fmla="*/ 5181 w 10000"/>
                <a:gd name="connsiteY87" fmla="*/ 820 h 10000"/>
                <a:gd name="connsiteX88" fmla="*/ 4699 w 10000"/>
                <a:gd name="connsiteY88" fmla="*/ 820 h 10000"/>
                <a:gd name="connsiteX89" fmla="*/ 4217 w 10000"/>
                <a:gd name="connsiteY89" fmla="*/ 820 h 10000"/>
                <a:gd name="connsiteX90" fmla="*/ 3735 w 10000"/>
                <a:gd name="connsiteY90" fmla="*/ 820 h 10000"/>
                <a:gd name="connsiteX91" fmla="*/ 3293 w 10000"/>
                <a:gd name="connsiteY91" fmla="*/ 820 h 10000"/>
                <a:gd name="connsiteX92" fmla="*/ 2811 w 10000"/>
                <a:gd name="connsiteY92" fmla="*/ 820 h 10000"/>
                <a:gd name="connsiteX93" fmla="*/ 2369 w 10000"/>
                <a:gd name="connsiteY93" fmla="*/ 820 h 10000"/>
                <a:gd name="connsiteX94" fmla="*/ 1888 w 10000"/>
                <a:gd name="connsiteY94" fmla="*/ 820 h 10000"/>
                <a:gd name="connsiteX95" fmla="*/ 1888 w 10000"/>
                <a:gd name="connsiteY95" fmla="*/ 1423 h 10000"/>
                <a:gd name="connsiteX96" fmla="*/ 1888 w 10000"/>
                <a:gd name="connsiteY96" fmla="*/ 2200 h 10000"/>
                <a:gd name="connsiteX97" fmla="*/ 1285 w 10000"/>
                <a:gd name="connsiteY97" fmla="*/ 2200 h 10000"/>
                <a:gd name="connsiteX98" fmla="*/ 1285 w 10000"/>
                <a:gd name="connsiteY98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767 w 10000"/>
                <a:gd name="connsiteY22" fmla="*/ 9426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964 w 10000"/>
                <a:gd name="connsiteY20" fmla="*/ 9879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454 w 10000"/>
                <a:gd name="connsiteY22" fmla="*/ 9337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10000"/>
                <a:gd name="connsiteX1" fmla="*/ 1285 w 10000"/>
                <a:gd name="connsiteY1" fmla="*/ 3235 h 10000"/>
                <a:gd name="connsiteX2" fmla="*/ 1285 w 10000"/>
                <a:gd name="connsiteY2" fmla="*/ 3882 h 10000"/>
                <a:gd name="connsiteX3" fmla="*/ 1285 w 10000"/>
                <a:gd name="connsiteY3" fmla="*/ 4530 h 10000"/>
                <a:gd name="connsiteX4" fmla="*/ 1285 w 10000"/>
                <a:gd name="connsiteY4" fmla="*/ 5131 h 10000"/>
                <a:gd name="connsiteX5" fmla="*/ 643 w 10000"/>
                <a:gd name="connsiteY5" fmla="*/ 5263 h 10000"/>
                <a:gd name="connsiteX6" fmla="*/ 522 w 10000"/>
                <a:gd name="connsiteY6" fmla="*/ 5607 h 10000"/>
                <a:gd name="connsiteX7" fmla="*/ 241 w 10000"/>
                <a:gd name="connsiteY7" fmla="*/ 6039 h 10000"/>
                <a:gd name="connsiteX8" fmla="*/ 241 w 10000"/>
                <a:gd name="connsiteY8" fmla="*/ 6386 h 10000"/>
                <a:gd name="connsiteX9" fmla="*/ 120 w 10000"/>
                <a:gd name="connsiteY9" fmla="*/ 6470 h 10000"/>
                <a:gd name="connsiteX10" fmla="*/ 120 w 10000"/>
                <a:gd name="connsiteY10" fmla="*/ 6771 h 10000"/>
                <a:gd name="connsiteX11" fmla="*/ 0 w 10000"/>
                <a:gd name="connsiteY11" fmla="*/ 7033 h 10000"/>
                <a:gd name="connsiteX12" fmla="*/ 0 w 10000"/>
                <a:gd name="connsiteY12" fmla="*/ 7246 h 10000"/>
                <a:gd name="connsiteX13" fmla="*/ 241 w 10000"/>
                <a:gd name="connsiteY13" fmla="*/ 7204 h 10000"/>
                <a:gd name="connsiteX14" fmla="*/ 281 w 10000"/>
                <a:gd name="connsiteY14" fmla="*/ 7590 h 10000"/>
                <a:gd name="connsiteX15" fmla="*/ 602 w 10000"/>
                <a:gd name="connsiteY15" fmla="*/ 8284 h 10000"/>
                <a:gd name="connsiteX16" fmla="*/ 602 w 10000"/>
                <a:gd name="connsiteY16" fmla="*/ 8326 h 10000"/>
                <a:gd name="connsiteX17" fmla="*/ 482 w 10000"/>
                <a:gd name="connsiteY17" fmla="*/ 8368 h 10000"/>
                <a:gd name="connsiteX18" fmla="*/ 964 w 10000"/>
                <a:gd name="connsiteY18" fmla="*/ 9058 h 10000"/>
                <a:gd name="connsiteX19" fmla="*/ 1004 w 10000"/>
                <a:gd name="connsiteY19" fmla="*/ 9275 h 10000"/>
                <a:gd name="connsiteX20" fmla="*/ 1178 w 10000"/>
                <a:gd name="connsiteY20" fmla="*/ 9631 h 10000"/>
                <a:gd name="connsiteX21" fmla="*/ 1192 w 10000"/>
                <a:gd name="connsiteY21" fmla="*/ 10000 h 10000"/>
                <a:gd name="connsiteX22" fmla="*/ 1652 w 10000"/>
                <a:gd name="connsiteY22" fmla="*/ 9372 h 10000"/>
                <a:gd name="connsiteX23" fmla="*/ 1951 w 10000"/>
                <a:gd name="connsiteY23" fmla="*/ 9317 h 10000"/>
                <a:gd name="connsiteX24" fmla="*/ 2025 w 10000"/>
                <a:gd name="connsiteY24" fmla="*/ 9052 h 10000"/>
                <a:gd name="connsiteX25" fmla="*/ 2338 w 10000"/>
                <a:gd name="connsiteY25" fmla="*/ 8966 h 10000"/>
                <a:gd name="connsiteX26" fmla="*/ 2643 w 10000"/>
                <a:gd name="connsiteY26" fmla="*/ 9388 h 10000"/>
                <a:gd name="connsiteX27" fmla="*/ 2911 w 10000"/>
                <a:gd name="connsiteY27" fmla="*/ 9572 h 10000"/>
                <a:gd name="connsiteX28" fmla="*/ 3167 w 10000"/>
                <a:gd name="connsiteY28" fmla="*/ 9539 h 10000"/>
                <a:gd name="connsiteX29" fmla="*/ 3795 w 10000"/>
                <a:gd name="connsiteY29" fmla="*/ 9693 h 10000"/>
                <a:gd name="connsiteX30" fmla="*/ 4153 w 10000"/>
                <a:gd name="connsiteY30" fmla="*/ 9776 h 10000"/>
                <a:gd name="connsiteX31" fmla="*/ 4600 w 10000"/>
                <a:gd name="connsiteY31" fmla="*/ 9556 h 10000"/>
                <a:gd name="connsiteX32" fmla="*/ 4901 w 10000"/>
                <a:gd name="connsiteY32" fmla="*/ 9086 h 10000"/>
                <a:gd name="connsiteX33" fmla="*/ 5337 w 10000"/>
                <a:gd name="connsiteY33" fmla="*/ 9340 h 10000"/>
                <a:gd name="connsiteX34" fmla="*/ 5564 w 10000"/>
                <a:gd name="connsiteY34" fmla="*/ 9506 h 10000"/>
                <a:gd name="connsiteX35" fmla="*/ 5768 w 10000"/>
                <a:gd name="connsiteY35" fmla="*/ 9399 h 10000"/>
                <a:gd name="connsiteX36" fmla="*/ 5933 w 10000"/>
                <a:gd name="connsiteY36" fmla="*/ 9300 h 10000"/>
                <a:gd name="connsiteX37" fmla="*/ 6089 w 10000"/>
                <a:gd name="connsiteY37" fmla="*/ 9078 h 10000"/>
                <a:gd name="connsiteX38" fmla="*/ 6274 w 10000"/>
                <a:gd name="connsiteY38" fmla="*/ 8778 h 10000"/>
                <a:gd name="connsiteX39" fmla="*/ 6389 w 10000"/>
                <a:gd name="connsiteY39" fmla="*/ 8638 h 10000"/>
                <a:gd name="connsiteX40" fmla="*/ 6524 w 10000"/>
                <a:gd name="connsiteY40" fmla="*/ 8582 h 10000"/>
                <a:gd name="connsiteX41" fmla="*/ 6531 w 10000"/>
                <a:gd name="connsiteY41" fmla="*/ 8405 h 10000"/>
                <a:gd name="connsiteX42" fmla="*/ 6572 w 10000"/>
                <a:gd name="connsiteY42" fmla="*/ 8201 h 10000"/>
                <a:gd name="connsiteX43" fmla="*/ 6602 w 10000"/>
                <a:gd name="connsiteY43" fmla="*/ 8014 h 10000"/>
                <a:gd name="connsiteX44" fmla="*/ 6855 w 10000"/>
                <a:gd name="connsiteY44" fmla="*/ 7773 h 10000"/>
                <a:gd name="connsiteX45" fmla="*/ 6893 w 10000"/>
                <a:gd name="connsiteY45" fmla="*/ 8708 h 10000"/>
                <a:gd name="connsiteX46" fmla="*/ 7308 w 10000"/>
                <a:gd name="connsiteY46" fmla="*/ 9034 h 10000"/>
                <a:gd name="connsiteX47" fmla="*/ 7430 w 10000"/>
                <a:gd name="connsiteY47" fmla="*/ 8756 h 10000"/>
                <a:gd name="connsiteX48" fmla="*/ 7470 w 10000"/>
                <a:gd name="connsiteY48" fmla="*/ 8798 h 10000"/>
                <a:gd name="connsiteX49" fmla="*/ 7590 w 10000"/>
                <a:gd name="connsiteY49" fmla="*/ 8541 h 10000"/>
                <a:gd name="connsiteX50" fmla="*/ 7831 w 10000"/>
                <a:gd name="connsiteY50" fmla="*/ 8412 h 10000"/>
                <a:gd name="connsiteX51" fmla="*/ 7952 w 10000"/>
                <a:gd name="connsiteY51" fmla="*/ 7937 h 10000"/>
                <a:gd name="connsiteX52" fmla="*/ 8313 w 10000"/>
                <a:gd name="connsiteY52" fmla="*/ 7377 h 10000"/>
                <a:gd name="connsiteX53" fmla="*/ 8594 w 10000"/>
                <a:gd name="connsiteY53" fmla="*/ 7117 h 10000"/>
                <a:gd name="connsiteX54" fmla="*/ 8795 w 10000"/>
                <a:gd name="connsiteY54" fmla="*/ 6386 h 10000"/>
                <a:gd name="connsiteX55" fmla="*/ 8795 w 10000"/>
                <a:gd name="connsiteY55" fmla="*/ 6213 h 10000"/>
                <a:gd name="connsiteX56" fmla="*/ 8755 w 10000"/>
                <a:gd name="connsiteY56" fmla="*/ 5781 h 10000"/>
                <a:gd name="connsiteX57" fmla="*/ 9157 w 10000"/>
                <a:gd name="connsiteY57" fmla="*/ 4227 h 10000"/>
                <a:gd name="connsiteX58" fmla="*/ 9277 w 10000"/>
                <a:gd name="connsiteY58" fmla="*/ 4227 h 10000"/>
                <a:gd name="connsiteX59" fmla="*/ 9438 w 10000"/>
                <a:gd name="connsiteY59" fmla="*/ 4098 h 10000"/>
                <a:gd name="connsiteX60" fmla="*/ 9920 w 10000"/>
                <a:gd name="connsiteY60" fmla="*/ 3882 h 10000"/>
                <a:gd name="connsiteX61" fmla="*/ 10000 w 10000"/>
                <a:gd name="connsiteY61" fmla="*/ 3537 h 10000"/>
                <a:gd name="connsiteX62" fmla="*/ 9960 w 10000"/>
                <a:gd name="connsiteY62" fmla="*/ 3450 h 10000"/>
                <a:gd name="connsiteX63" fmla="*/ 9799 w 10000"/>
                <a:gd name="connsiteY63" fmla="*/ 3450 h 10000"/>
                <a:gd name="connsiteX64" fmla="*/ 9679 w 10000"/>
                <a:gd name="connsiteY64" fmla="*/ 3235 h 10000"/>
                <a:gd name="connsiteX65" fmla="*/ 9438 w 10000"/>
                <a:gd name="connsiteY65" fmla="*/ 3151 h 10000"/>
                <a:gd name="connsiteX66" fmla="*/ 9317 w 10000"/>
                <a:gd name="connsiteY66" fmla="*/ 2978 h 10000"/>
                <a:gd name="connsiteX67" fmla="*/ 9237 w 10000"/>
                <a:gd name="connsiteY67" fmla="*/ 2331 h 10000"/>
                <a:gd name="connsiteX68" fmla="*/ 9237 w 10000"/>
                <a:gd name="connsiteY68" fmla="*/ 1423 h 10000"/>
                <a:gd name="connsiteX69" fmla="*/ 9036 w 10000"/>
                <a:gd name="connsiteY69" fmla="*/ 1123 h 10000"/>
                <a:gd name="connsiteX70" fmla="*/ 8996 w 10000"/>
                <a:gd name="connsiteY70" fmla="*/ 820 h 10000"/>
                <a:gd name="connsiteX71" fmla="*/ 8675 w 10000"/>
                <a:gd name="connsiteY71" fmla="*/ 389 h 10000"/>
                <a:gd name="connsiteX72" fmla="*/ 8394 w 10000"/>
                <a:gd name="connsiteY72" fmla="*/ 218 h 10000"/>
                <a:gd name="connsiteX73" fmla="*/ 8233 w 10000"/>
                <a:gd name="connsiteY73" fmla="*/ 0 h 10000"/>
                <a:gd name="connsiteX74" fmla="*/ 7992 w 10000"/>
                <a:gd name="connsiteY74" fmla="*/ 218 h 10000"/>
                <a:gd name="connsiteX75" fmla="*/ 7831 w 10000"/>
                <a:gd name="connsiteY75" fmla="*/ 173 h 10000"/>
                <a:gd name="connsiteX76" fmla="*/ 7711 w 10000"/>
                <a:gd name="connsiteY76" fmla="*/ 559 h 10000"/>
                <a:gd name="connsiteX77" fmla="*/ 7390 w 10000"/>
                <a:gd name="connsiteY77" fmla="*/ 648 h 10000"/>
                <a:gd name="connsiteX78" fmla="*/ 7309 w 10000"/>
                <a:gd name="connsiteY78" fmla="*/ 948 h 10000"/>
                <a:gd name="connsiteX79" fmla="*/ 7028 w 10000"/>
                <a:gd name="connsiteY79" fmla="*/ 948 h 10000"/>
                <a:gd name="connsiteX80" fmla="*/ 6787 w 10000"/>
                <a:gd name="connsiteY80" fmla="*/ 820 h 10000"/>
                <a:gd name="connsiteX81" fmla="*/ 6265 w 10000"/>
                <a:gd name="connsiteY81" fmla="*/ 820 h 10000"/>
                <a:gd name="connsiteX82" fmla="*/ 5743 w 10000"/>
                <a:gd name="connsiteY82" fmla="*/ 820 h 10000"/>
                <a:gd name="connsiteX83" fmla="*/ 5783 w 10000"/>
                <a:gd name="connsiteY83" fmla="*/ 648 h 10000"/>
                <a:gd name="connsiteX84" fmla="*/ 5703 w 10000"/>
                <a:gd name="connsiteY84" fmla="*/ 648 h 10000"/>
                <a:gd name="connsiteX85" fmla="*/ 5663 w 10000"/>
                <a:gd name="connsiteY85" fmla="*/ 820 h 10000"/>
                <a:gd name="connsiteX86" fmla="*/ 5181 w 10000"/>
                <a:gd name="connsiteY86" fmla="*/ 820 h 10000"/>
                <a:gd name="connsiteX87" fmla="*/ 4699 w 10000"/>
                <a:gd name="connsiteY87" fmla="*/ 820 h 10000"/>
                <a:gd name="connsiteX88" fmla="*/ 4217 w 10000"/>
                <a:gd name="connsiteY88" fmla="*/ 820 h 10000"/>
                <a:gd name="connsiteX89" fmla="*/ 3735 w 10000"/>
                <a:gd name="connsiteY89" fmla="*/ 820 h 10000"/>
                <a:gd name="connsiteX90" fmla="*/ 3293 w 10000"/>
                <a:gd name="connsiteY90" fmla="*/ 820 h 10000"/>
                <a:gd name="connsiteX91" fmla="*/ 2811 w 10000"/>
                <a:gd name="connsiteY91" fmla="*/ 820 h 10000"/>
                <a:gd name="connsiteX92" fmla="*/ 2369 w 10000"/>
                <a:gd name="connsiteY92" fmla="*/ 820 h 10000"/>
                <a:gd name="connsiteX93" fmla="*/ 1888 w 10000"/>
                <a:gd name="connsiteY93" fmla="*/ 820 h 10000"/>
                <a:gd name="connsiteX94" fmla="*/ 1888 w 10000"/>
                <a:gd name="connsiteY94" fmla="*/ 1423 h 10000"/>
                <a:gd name="connsiteX95" fmla="*/ 1888 w 10000"/>
                <a:gd name="connsiteY95" fmla="*/ 2200 h 10000"/>
                <a:gd name="connsiteX96" fmla="*/ 1285 w 10000"/>
                <a:gd name="connsiteY96" fmla="*/ 2200 h 10000"/>
                <a:gd name="connsiteX97" fmla="*/ 1285 w 10000"/>
                <a:gd name="connsiteY97" fmla="*/ 2545 h 10000"/>
                <a:gd name="connsiteX0" fmla="*/ 1285 w 10000"/>
                <a:gd name="connsiteY0" fmla="*/ 2545 h 9819"/>
                <a:gd name="connsiteX1" fmla="*/ 1285 w 10000"/>
                <a:gd name="connsiteY1" fmla="*/ 3235 h 9819"/>
                <a:gd name="connsiteX2" fmla="*/ 1285 w 10000"/>
                <a:gd name="connsiteY2" fmla="*/ 3882 h 9819"/>
                <a:gd name="connsiteX3" fmla="*/ 1285 w 10000"/>
                <a:gd name="connsiteY3" fmla="*/ 4530 h 9819"/>
                <a:gd name="connsiteX4" fmla="*/ 1285 w 10000"/>
                <a:gd name="connsiteY4" fmla="*/ 5131 h 9819"/>
                <a:gd name="connsiteX5" fmla="*/ 643 w 10000"/>
                <a:gd name="connsiteY5" fmla="*/ 5263 h 9819"/>
                <a:gd name="connsiteX6" fmla="*/ 522 w 10000"/>
                <a:gd name="connsiteY6" fmla="*/ 5607 h 9819"/>
                <a:gd name="connsiteX7" fmla="*/ 241 w 10000"/>
                <a:gd name="connsiteY7" fmla="*/ 6039 h 9819"/>
                <a:gd name="connsiteX8" fmla="*/ 241 w 10000"/>
                <a:gd name="connsiteY8" fmla="*/ 6386 h 9819"/>
                <a:gd name="connsiteX9" fmla="*/ 120 w 10000"/>
                <a:gd name="connsiteY9" fmla="*/ 6470 h 9819"/>
                <a:gd name="connsiteX10" fmla="*/ 120 w 10000"/>
                <a:gd name="connsiteY10" fmla="*/ 6771 h 9819"/>
                <a:gd name="connsiteX11" fmla="*/ 0 w 10000"/>
                <a:gd name="connsiteY11" fmla="*/ 7033 h 9819"/>
                <a:gd name="connsiteX12" fmla="*/ 0 w 10000"/>
                <a:gd name="connsiteY12" fmla="*/ 7246 h 9819"/>
                <a:gd name="connsiteX13" fmla="*/ 241 w 10000"/>
                <a:gd name="connsiteY13" fmla="*/ 7204 h 9819"/>
                <a:gd name="connsiteX14" fmla="*/ 281 w 10000"/>
                <a:gd name="connsiteY14" fmla="*/ 7590 h 9819"/>
                <a:gd name="connsiteX15" fmla="*/ 602 w 10000"/>
                <a:gd name="connsiteY15" fmla="*/ 8284 h 9819"/>
                <a:gd name="connsiteX16" fmla="*/ 602 w 10000"/>
                <a:gd name="connsiteY16" fmla="*/ 8326 h 9819"/>
                <a:gd name="connsiteX17" fmla="*/ 482 w 10000"/>
                <a:gd name="connsiteY17" fmla="*/ 8368 h 9819"/>
                <a:gd name="connsiteX18" fmla="*/ 964 w 10000"/>
                <a:gd name="connsiteY18" fmla="*/ 9058 h 9819"/>
                <a:gd name="connsiteX19" fmla="*/ 1004 w 10000"/>
                <a:gd name="connsiteY19" fmla="*/ 9275 h 9819"/>
                <a:gd name="connsiteX20" fmla="*/ 1178 w 10000"/>
                <a:gd name="connsiteY20" fmla="*/ 9631 h 9819"/>
                <a:gd name="connsiteX21" fmla="*/ 1357 w 10000"/>
                <a:gd name="connsiteY21" fmla="*/ 9433 h 9819"/>
                <a:gd name="connsiteX22" fmla="*/ 1652 w 10000"/>
                <a:gd name="connsiteY22" fmla="*/ 9372 h 9819"/>
                <a:gd name="connsiteX23" fmla="*/ 1951 w 10000"/>
                <a:gd name="connsiteY23" fmla="*/ 9317 h 9819"/>
                <a:gd name="connsiteX24" fmla="*/ 2025 w 10000"/>
                <a:gd name="connsiteY24" fmla="*/ 9052 h 9819"/>
                <a:gd name="connsiteX25" fmla="*/ 2338 w 10000"/>
                <a:gd name="connsiteY25" fmla="*/ 8966 h 9819"/>
                <a:gd name="connsiteX26" fmla="*/ 2643 w 10000"/>
                <a:gd name="connsiteY26" fmla="*/ 9388 h 9819"/>
                <a:gd name="connsiteX27" fmla="*/ 2911 w 10000"/>
                <a:gd name="connsiteY27" fmla="*/ 9572 h 9819"/>
                <a:gd name="connsiteX28" fmla="*/ 3167 w 10000"/>
                <a:gd name="connsiteY28" fmla="*/ 9539 h 9819"/>
                <a:gd name="connsiteX29" fmla="*/ 3795 w 10000"/>
                <a:gd name="connsiteY29" fmla="*/ 9693 h 9819"/>
                <a:gd name="connsiteX30" fmla="*/ 4153 w 10000"/>
                <a:gd name="connsiteY30" fmla="*/ 9776 h 9819"/>
                <a:gd name="connsiteX31" fmla="*/ 4600 w 10000"/>
                <a:gd name="connsiteY31" fmla="*/ 9556 h 9819"/>
                <a:gd name="connsiteX32" fmla="*/ 4901 w 10000"/>
                <a:gd name="connsiteY32" fmla="*/ 9086 h 9819"/>
                <a:gd name="connsiteX33" fmla="*/ 5337 w 10000"/>
                <a:gd name="connsiteY33" fmla="*/ 9340 h 9819"/>
                <a:gd name="connsiteX34" fmla="*/ 5564 w 10000"/>
                <a:gd name="connsiteY34" fmla="*/ 9506 h 9819"/>
                <a:gd name="connsiteX35" fmla="*/ 5768 w 10000"/>
                <a:gd name="connsiteY35" fmla="*/ 9399 h 9819"/>
                <a:gd name="connsiteX36" fmla="*/ 5933 w 10000"/>
                <a:gd name="connsiteY36" fmla="*/ 9300 h 9819"/>
                <a:gd name="connsiteX37" fmla="*/ 6089 w 10000"/>
                <a:gd name="connsiteY37" fmla="*/ 9078 h 9819"/>
                <a:gd name="connsiteX38" fmla="*/ 6274 w 10000"/>
                <a:gd name="connsiteY38" fmla="*/ 8778 h 9819"/>
                <a:gd name="connsiteX39" fmla="*/ 6389 w 10000"/>
                <a:gd name="connsiteY39" fmla="*/ 8638 h 9819"/>
                <a:gd name="connsiteX40" fmla="*/ 6524 w 10000"/>
                <a:gd name="connsiteY40" fmla="*/ 8582 h 9819"/>
                <a:gd name="connsiteX41" fmla="*/ 6531 w 10000"/>
                <a:gd name="connsiteY41" fmla="*/ 8405 h 9819"/>
                <a:gd name="connsiteX42" fmla="*/ 6572 w 10000"/>
                <a:gd name="connsiteY42" fmla="*/ 8201 h 9819"/>
                <a:gd name="connsiteX43" fmla="*/ 6602 w 10000"/>
                <a:gd name="connsiteY43" fmla="*/ 8014 h 9819"/>
                <a:gd name="connsiteX44" fmla="*/ 6855 w 10000"/>
                <a:gd name="connsiteY44" fmla="*/ 7773 h 9819"/>
                <a:gd name="connsiteX45" fmla="*/ 6893 w 10000"/>
                <a:gd name="connsiteY45" fmla="*/ 8708 h 9819"/>
                <a:gd name="connsiteX46" fmla="*/ 7308 w 10000"/>
                <a:gd name="connsiteY46" fmla="*/ 9034 h 9819"/>
                <a:gd name="connsiteX47" fmla="*/ 7430 w 10000"/>
                <a:gd name="connsiteY47" fmla="*/ 8756 h 9819"/>
                <a:gd name="connsiteX48" fmla="*/ 7470 w 10000"/>
                <a:gd name="connsiteY48" fmla="*/ 8798 h 9819"/>
                <a:gd name="connsiteX49" fmla="*/ 7590 w 10000"/>
                <a:gd name="connsiteY49" fmla="*/ 8541 h 9819"/>
                <a:gd name="connsiteX50" fmla="*/ 7831 w 10000"/>
                <a:gd name="connsiteY50" fmla="*/ 8412 h 9819"/>
                <a:gd name="connsiteX51" fmla="*/ 7952 w 10000"/>
                <a:gd name="connsiteY51" fmla="*/ 7937 h 9819"/>
                <a:gd name="connsiteX52" fmla="*/ 8313 w 10000"/>
                <a:gd name="connsiteY52" fmla="*/ 7377 h 9819"/>
                <a:gd name="connsiteX53" fmla="*/ 8594 w 10000"/>
                <a:gd name="connsiteY53" fmla="*/ 7117 h 9819"/>
                <a:gd name="connsiteX54" fmla="*/ 8795 w 10000"/>
                <a:gd name="connsiteY54" fmla="*/ 6386 h 9819"/>
                <a:gd name="connsiteX55" fmla="*/ 8795 w 10000"/>
                <a:gd name="connsiteY55" fmla="*/ 6213 h 9819"/>
                <a:gd name="connsiteX56" fmla="*/ 8755 w 10000"/>
                <a:gd name="connsiteY56" fmla="*/ 5781 h 9819"/>
                <a:gd name="connsiteX57" fmla="*/ 9157 w 10000"/>
                <a:gd name="connsiteY57" fmla="*/ 4227 h 9819"/>
                <a:gd name="connsiteX58" fmla="*/ 9277 w 10000"/>
                <a:gd name="connsiteY58" fmla="*/ 4227 h 9819"/>
                <a:gd name="connsiteX59" fmla="*/ 9438 w 10000"/>
                <a:gd name="connsiteY59" fmla="*/ 4098 h 9819"/>
                <a:gd name="connsiteX60" fmla="*/ 9920 w 10000"/>
                <a:gd name="connsiteY60" fmla="*/ 3882 h 9819"/>
                <a:gd name="connsiteX61" fmla="*/ 10000 w 10000"/>
                <a:gd name="connsiteY61" fmla="*/ 3537 h 9819"/>
                <a:gd name="connsiteX62" fmla="*/ 9960 w 10000"/>
                <a:gd name="connsiteY62" fmla="*/ 3450 h 9819"/>
                <a:gd name="connsiteX63" fmla="*/ 9799 w 10000"/>
                <a:gd name="connsiteY63" fmla="*/ 3450 h 9819"/>
                <a:gd name="connsiteX64" fmla="*/ 9679 w 10000"/>
                <a:gd name="connsiteY64" fmla="*/ 3235 h 9819"/>
                <a:gd name="connsiteX65" fmla="*/ 9438 w 10000"/>
                <a:gd name="connsiteY65" fmla="*/ 3151 h 9819"/>
                <a:gd name="connsiteX66" fmla="*/ 9317 w 10000"/>
                <a:gd name="connsiteY66" fmla="*/ 2978 h 9819"/>
                <a:gd name="connsiteX67" fmla="*/ 9237 w 10000"/>
                <a:gd name="connsiteY67" fmla="*/ 2331 h 9819"/>
                <a:gd name="connsiteX68" fmla="*/ 9237 w 10000"/>
                <a:gd name="connsiteY68" fmla="*/ 1423 h 9819"/>
                <a:gd name="connsiteX69" fmla="*/ 9036 w 10000"/>
                <a:gd name="connsiteY69" fmla="*/ 1123 h 9819"/>
                <a:gd name="connsiteX70" fmla="*/ 8996 w 10000"/>
                <a:gd name="connsiteY70" fmla="*/ 820 h 9819"/>
                <a:gd name="connsiteX71" fmla="*/ 8675 w 10000"/>
                <a:gd name="connsiteY71" fmla="*/ 389 h 9819"/>
                <a:gd name="connsiteX72" fmla="*/ 8394 w 10000"/>
                <a:gd name="connsiteY72" fmla="*/ 218 h 9819"/>
                <a:gd name="connsiteX73" fmla="*/ 8233 w 10000"/>
                <a:gd name="connsiteY73" fmla="*/ 0 h 9819"/>
                <a:gd name="connsiteX74" fmla="*/ 7992 w 10000"/>
                <a:gd name="connsiteY74" fmla="*/ 218 h 9819"/>
                <a:gd name="connsiteX75" fmla="*/ 7831 w 10000"/>
                <a:gd name="connsiteY75" fmla="*/ 173 h 9819"/>
                <a:gd name="connsiteX76" fmla="*/ 7711 w 10000"/>
                <a:gd name="connsiteY76" fmla="*/ 559 h 9819"/>
                <a:gd name="connsiteX77" fmla="*/ 7390 w 10000"/>
                <a:gd name="connsiteY77" fmla="*/ 648 h 9819"/>
                <a:gd name="connsiteX78" fmla="*/ 7309 w 10000"/>
                <a:gd name="connsiteY78" fmla="*/ 948 h 9819"/>
                <a:gd name="connsiteX79" fmla="*/ 7028 w 10000"/>
                <a:gd name="connsiteY79" fmla="*/ 948 h 9819"/>
                <a:gd name="connsiteX80" fmla="*/ 6787 w 10000"/>
                <a:gd name="connsiteY80" fmla="*/ 820 h 9819"/>
                <a:gd name="connsiteX81" fmla="*/ 6265 w 10000"/>
                <a:gd name="connsiteY81" fmla="*/ 820 h 9819"/>
                <a:gd name="connsiteX82" fmla="*/ 5743 w 10000"/>
                <a:gd name="connsiteY82" fmla="*/ 820 h 9819"/>
                <a:gd name="connsiteX83" fmla="*/ 5783 w 10000"/>
                <a:gd name="connsiteY83" fmla="*/ 648 h 9819"/>
                <a:gd name="connsiteX84" fmla="*/ 5703 w 10000"/>
                <a:gd name="connsiteY84" fmla="*/ 648 h 9819"/>
                <a:gd name="connsiteX85" fmla="*/ 5663 w 10000"/>
                <a:gd name="connsiteY85" fmla="*/ 820 h 9819"/>
                <a:gd name="connsiteX86" fmla="*/ 5181 w 10000"/>
                <a:gd name="connsiteY86" fmla="*/ 820 h 9819"/>
                <a:gd name="connsiteX87" fmla="*/ 4699 w 10000"/>
                <a:gd name="connsiteY87" fmla="*/ 820 h 9819"/>
                <a:gd name="connsiteX88" fmla="*/ 4217 w 10000"/>
                <a:gd name="connsiteY88" fmla="*/ 820 h 9819"/>
                <a:gd name="connsiteX89" fmla="*/ 3735 w 10000"/>
                <a:gd name="connsiteY89" fmla="*/ 820 h 9819"/>
                <a:gd name="connsiteX90" fmla="*/ 3293 w 10000"/>
                <a:gd name="connsiteY90" fmla="*/ 820 h 9819"/>
                <a:gd name="connsiteX91" fmla="*/ 2811 w 10000"/>
                <a:gd name="connsiteY91" fmla="*/ 820 h 9819"/>
                <a:gd name="connsiteX92" fmla="*/ 2369 w 10000"/>
                <a:gd name="connsiteY92" fmla="*/ 820 h 9819"/>
                <a:gd name="connsiteX93" fmla="*/ 1888 w 10000"/>
                <a:gd name="connsiteY93" fmla="*/ 820 h 9819"/>
                <a:gd name="connsiteX94" fmla="*/ 1888 w 10000"/>
                <a:gd name="connsiteY94" fmla="*/ 1423 h 9819"/>
                <a:gd name="connsiteX95" fmla="*/ 1888 w 10000"/>
                <a:gd name="connsiteY95" fmla="*/ 2200 h 9819"/>
                <a:gd name="connsiteX96" fmla="*/ 1285 w 10000"/>
                <a:gd name="connsiteY96" fmla="*/ 2200 h 9819"/>
                <a:gd name="connsiteX97" fmla="*/ 1285 w 10000"/>
                <a:gd name="connsiteY97" fmla="*/ 2545 h 9819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01 w 10000"/>
                <a:gd name="connsiteY32" fmla="*/ 9253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11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  <a:gd name="connsiteX0" fmla="*/ 1285 w 10000"/>
                <a:gd name="connsiteY0" fmla="*/ 2592 h 10000"/>
                <a:gd name="connsiteX1" fmla="*/ 1285 w 10000"/>
                <a:gd name="connsiteY1" fmla="*/ 3295 h 10000"/>
                <a:gd name="connsiteX2" fmla="*/ 1285 w 10000"/>
                <a:gd name="connsiteY2" fmla="*/ 3954 h 10000"/>
                <a:gd name="connsiteX3" fmla="*/ 1285 w 10000"/>
                <a:gd name="connsiteY3" fmla="*/ 4614 h 10000"/>
                <a:gd name="connsiteX4" fmla="*/ 1285 w 10000"/>
                <a:gd name="connsiteY4" fmla="*/ 5226 h 10000"/>
                <a:gd name="connsiteX5" fmla="*/ 643 w 10000"/>
                <a:gd name="connsiteY5" fmla="*/ 5360 h 10000"/>
                <a:gd name="connsiteX6" fmla="*/ 522 w 10000"/>
                <a:gd name="connsiteY6" fmla="*/ 5710 h 10000"/>
                <a:gd name="connsiteX7" fmla="*/ 241 w 10000"/>
                <a:gd name="connsiteY7" fmla="*/ 6150 h 10000"/>
                <a:gd name="connsiteX8" fmla="*/ 241 w 10000"/>
                <a:gd name="connsiteY8" fmla="*/ 6504 h 10000"/>
                <a:gd name="connsiteX9" fmla="*/ 120 w 10000"/>
                <a:gd name="connsiteY9" fmla="*/ 6589 h 10000"/>
                <a:gd name="connsiteX10" fmla="*/ 120 w 10000"/>
                <a:gd name="connsiteY10" fmla="*/ 6896 h 10000"/>
                <a:gd name="connsiteX11" fmla="*/ 0 w 10000"/>
                <a:gd name="connsiteY11" fmla="*/ 7163 h 10000"/>
                <a:gd name="connsiteX12" fmla="*/ 0 w 10000"/>
                <a:gd name="connsiteY12" fmla="*/ 7380 h 10000"/>
                <a:gd name="connsiteX13" fmla="*/ 241 w 10000"/>
                <a:gd name="connsiteY13" fmla="*/ 7337 h 10000"/>
                <a:gd name="connsiteX14" fmla="*/ 281 w 10000"/>
                <a:gd name="connsiteY14" fmla="*/ 7730 h 10000"/>
                <a:gd name="connsiteX15" fmla="*/ 602 w 10000"/>
                <a:gd name="connsiteY15" fmla="*/ 8437 h 10000"/>
                <a:gd name="connsiteX16" fmla="*/ 602 w 10000"/>
                <a:gd name="connsiteY16" fmla="*/ 8479 h 10000"/>
                <a:gd name="connsiteX17" fmla="*/ 482 w 10000"/>
                <a:gd name="connsiteY17" fmla="*/ 8522 h 10000"/>
                <a:gd name="connsiteX18" fmla="*/ 964 w 10000"/>
                <a:gd name="connsiteY18" fmla="*/ 9225 h 10000"/>
                <a:gd name="connsiteX19" fmla="*/ 1004 w 10000"/>
                <a:gd name="connsiteY19" fmla="*/ 9446 h 10000"/>
                <a:gd name="connsiteX20" fmla="*/ 1178 w 10000"/>
                <a:gd name="connsiteY20" fmla="*/ 9809 h 10000"/>
                <a:gd name="connsiteX21" fmla="*/ 1357 w 10000"/>
                <a:gd name="connsiteY21" fmla="*/ 9607 h 10000"/>
                <a:gd name="connsiteX22" fmla="*/ 1652 w 10000"/>
                <a:gd name="connsiteY22" fmla="*/ 9545 h 10000"/>
                <a:gd name="connsiteX23" fmla="*/ 1951 w 10000"/>
                <a:gd name="connsiteY23" fmla="*/ 9489 h 10000"/>
                <a:gd name="connsiteX24" fmla="*/ 2025 w 10000"/>
                <a:gd name="connsiteY24" fmla="*/ 9219 h 10000"/>
                <a:gd name="connsiteX25" fmla="*/ 2338 w 10000"/>
                <a:gd name="connsiteY25" fmla="*/ 9131 h 10000"/>
                <a:gd name="connsiteX26" fmla="*/ 2643 w 10000"/>
                <a:gd name="connsiteY26" fmla="*/ 9561 h 10000"/>
                <a:gd name="connsiteX27" fmla="*/ 2977 w 10000"/>
                <a:gd name="connsiteY27" fmla="*/ 9748 h 10000"/>
                <a:gd name="connsiteX28" fmla="*/ 3167 w 10000"/>
                <a:gd name="connsiteY28" fmla="*/ 9715 h 10000"/>
                <a:gd name="connsiteX29" fmla="*/ 3795 w 10000"/>
                <a:gd name="connsiteY29" fmla="*/ 9872 h 10000"/>
                <a:gd name="connsiteX30" fmla="*/ 4153 w 10000"/>
                <a:gd name="connsiteY30" fmla="*/ 9956 h 10000"/>
                <a:gd name="connsiteX31" fmla="*/ 4682 w 10000"/>
                <a:gd name="connsiteY31" fmla="*/ 9732 h 10000"/>
                <a:gd name="connsiteX32" fmla="*/ 4983 w 10000"/>
                <a:gd name="connsiteY32" fmla="*/ 9289 h 10000"/>
                <a:gd name="connsiteX33" fmla="*/ 5337 w 10000"/>
                <a:gd name="connsiteY33" fmla="*/ 9512 h 10000"/>
                <a:gd name="connsiteX34" fmla="*/ 5564 w 10000"/>
                <a:gd name="connsiteY34" fmla="*/ 9681 h 10000"/>
                <a:gd name="connsiteX35" fmla="*/ 5768 w 10000"/>
                <a:gd name="connsiteY35" fmla="*/ 9572 h 10000"/>
                <a:gd name="connsiteX36" fmla="*/ 5933 w 10000"/>
                <a:gd name="connsiteY36" fmla="*/ 9471 h 10000"/>
                <a:gd name="connsiteX37" fmla="*/ 6089 w 10000"/>
                <a:gd name="connsiteY37" fmla="*/ 9245 h 10000"/>
                <a:gd name="connsiteX38" fmla="*/ 6274 w 10000"/>
                <a:gd name="connsiteY38" fmla="*/ 8940 h 10000"/>
                <a:gd name="connsiteX39" fmla="*/ 6389 w 10000"/>
                <a:gd name="connsiteY39" fmla="*/ 8797 h 10000"/>
                <a:gd name="connsiteX40" fmla="*/ 6524 w 10000"/>
                <a:gd name="connsiteY40" fmla="*/ 8740 h 10000"/>
                <a:gd name="connsiteX41" fmla="*/ 6531 w 10000"/>
                <a:gd name="connsiteY41" fmla="*/ 8560 h 10000"/>
                <a:gd name="connsiteX42" fmla="*/ 6572 w 10000"/>
                <a:gd name="connsiteY42" fmla="*/ 8352 h 10000"/>
                <a:gd name="connsiteX43" fmla="*/ 6602 w 10000"/>
                <a:gd name="connsiteY43" fmla="*/ 8162 h 10000"/>
                <a:gd name="connsiteX44" fmla="*/ 6855 w 10000"/>
                <a:gd name="connsiteY44" fmla="*/ 7916 h 10000"/>
                <a:gd name="connsiteX45" fmla="*/ 6893 w 10000"/>
                <a:gd name="connsiteY45" fmla="*/ 8869 h 10000"/>
                <a:gd name="connsiteX46" fmla="*/ 7308 w 10000"/>
                <a:gd name="connsiteY46" fmla="*/ 9201 h 10000"/>
                <a:gd name="connsiteX47" fmla="*/ 7430 w 10000"/>
                <a:gd name="connsiteY47" fmla="*/ 8917 h 10000"/>
                <a:gd name="connsiteX48" fmla="*/ 7470 w 10000"/>
                <a:gd name="connsiteY48" fmla="*/ 8960 h 10000"/>
                <a:gd name="connsiteX49" fmla="*/ 7590 w 10000"/>
                <a:gd name="connsiteY49" fmla="*/ 8698 h 10000"/>
                <a:gd name="connsiteX50" fmla="*/ 7831 w 10000"/>
                <a:gd name="connsiteY50" fmla="*/ 8567 h 10000"/>
                <a:gd name="connsiteX51" fmla="*/ 7952 w 10000"/>
                <a:gd name="connsiteY51" fmla="*/ 8083 h 10000"/>
                <a:gd name="connsiteX52" fmla="*/ 8313 w 10000"/>
                <a:gd name="connsiteY52" fmla="*/ 7513 h 10000"/>
                <a:gd name="connsiteX53" fmla="*/ 8594 w 10000"/>
                <a:gd name="connsiteY53" fmla="*/ 7248 h 10000"/>
                <a:gd name="connsiteX54" fmla="*/ 8795 w 10000"/>
                <a:gd name="connsiteY54" fmla="*/ 6504 h 10000"/>
                <a:gd name="connsiteX55" fmla="*/ 8795 w 10000"/>
                <a:gd name="connsiteY55" fmla="*/ 6328 h 10000"/>
                <a:gd name="connsiteX56" fmla="*/ 8755 w 10000"/>
                <a:gd name="connsiteY56" fmla="*/ 5888 h 10000"/>
                <a:gd name="connsiteX57" fmla="*/ 9157 w 10000"/>
                <a:gd name="connsiteY57" fmla="*/ 4305 h 10000"/>
                <a:gd name="connsiteX58" fmla="*/ 9277 w 10000"/>
                <a:gd name="connsiteY58" fmla="*/ 4305 h 10000"/>
                <a:gd name="connsiteX59" fmla="*/ 9438 w 10000"/>
                <a:gd name="connsiteY59" fmla="*/ 4174 h 10000"/>
                <a:gd name="connsiteX60" fmla="*/ 9920 w 10000"/>
                <a:gd name="connsiteY60" fmla="*/ 3954 h 10000"/>
                <a:gd name="connsiteX61" fmla="*/ 10000 w 10000"/>
                <a:gd name="connsiteY61" fmla="*/ 3602 h 10000"/>
                <a:gd name="connsiteX62" fmla="*/ 9960 w 10000"/>
                <a:gd name="connsiteY62" fmla="*/ 3514 h 10000"/>
                <a:gd name="connsiteX63" fmla="*/ 9799 w 10000"/>
                <a:gd name="connsiteY63" fmla="*/ 3514 h 10000"/>
                <a:gd name="connsiteX64" fmla="*/ 9679 w 10000"/>
                <a:gd name="connsiteY64" fmla="*/ 3295 h 10000"/>
                <a:gd name="connsiteX65" fmla="*/ 9438 w 10000"/>
                <a:gd name="connsiteY65" fmla="*/ 3209 h 10000"/>
                <a:gd name="connsiteX66" fmla="*/ 9317 w 10000"/>
                <a:gd name="connsiteY66" fmla="*/ 3033 h 10000"/>
                <a:gd name="connsiteX67" fmla="*/ 9237 w 10000"/>
                <a:gd name="connsiteY67" fmla="*/ 2374 h 10000"/>
                <a:gd name="connsiteX68" fmla="*/ 9237 w 10000"/>
                <a:gd name="connsiteY68" fmla="*/ 1449 h 10000"/>
                <a:gd name="connsiteX69" fmla="*/ 9036 w 10000"/>
                <a:gd name="connsiteY69" fmla="*/ 1144 h 10000"/>
                <a:gd name="connsiteX70" fmla="*/ 8996 w 10000"/>
                <a:gd name="connsiteY70" fmla="*/ 835 h 10000"/>
                <a:gd name="connsiteX71" fmla="*/ 8675 w 10000"/>
                <a:gd name="connsiteY71" fmla="*/ 396 h 10000"/>
                <a:gd name="connsiteX72" fmla="*/ 8394 w 10000"/>
                <a:gd name="connsiteY72" fmla="*/ 222 h 10000"/>
                <a:gd name="connsiteX73" fmla="*/ 8233 w 10000"/>
                <a:gd name="connsiteY73" fmla="*/ 0 h 10000"/>
                <a:gd name="connsiteX74" fmla="*/ 7992 w 10000"/>
                <a:gd name="connsiteY74" fmla="*/ 222 h 10000"/>
                <a:gd name="connsiteX75" fmla="*/ 7831 w 10000"/>
                <a:gd name="connsiteY75" fmla="*/ 176 h 10000"/>
                <a:gd name="connsiteX76" fmla="*/ 7711 w 10000"/>
                <a:gd name="connsiteY76" fmla="*/ 569 h 10000"/>
                <a:gd name="connsiteX77" fmla="*/ 7390 w 10000"/>
                <a:gd name="connsiteY77" fmla="*/ 660 h 10000"/>
                <a:gd name="connsiteX78" fmla="*/ 7309 w 10000"/>
                <a:gd name="connsiteY78" fmla="*/ 965 h 10000"/>
                <a:gd name="connsiteX79" fmla="*/ 7028 w 10000"/>
                <a:gd name="connsiteY79" fmla="*/ 965 h 10000"/>
                <a:gd name="connsiteX80" fmla="*/ 6787 w 10000"/>
                <a:gd name="connsiteY80" fmla="*/ 835 h 10000"/>
                <a:gd name="connsiteX81" fmla="*/ 6265 w 10000"/>
                <a:gd name="connsiteY81" fmla="*/ 835 h 10000"/>
                <a:gd name="connsiteX82" fmla="*/ 5743 w 10000"/>
                <a:gd name="connsiteY82" fmla="*/ 835 h 10000"/>
                <a:gd name="connsiteX83" fmla="*/ 5783 w 10000"/>
                <a:gd name="connsiteY83" fmla="*/ 660 h 10000"/>
                <a:gd name="connsiteX84" fmla="*/ 5703 w 10000"/>
                <a:gd name="connsiteY84" fmla="*/ 660 h 10000"/>
                <a:gd name="connsiteX85" fmla="*/ 5663 w 10000"/>
                <a:gd name="connsiteY85" fmla="*/ 835 h 10000"/>
                <a:gd name="connsiteX86" fmla="*/ 5181 w 10000"/>
                <a:gd name="connsiteY86" fmla="*/ 835 h 10000"/>
                <a:gd name="connsiteX87" fmla="*/ 4699 w 10000"/>
                <a:gd name="connsiteY87" fmla="*/ 835 h 10000"/>
                <a:gd name="connsiteX88" fmla="*/ 4217 w 10000"/>
                <a:gd name="connsiteY88" fmla="*/ 835 h 10000"/>
                <a:gd name="connsiteX89" fmla="*/ 3735 w 10000"/>
                <a:gd name="connsiteY89" fmla="*/ 835 h 10000"/>
                <a:gd name="connsiteX90" fmla="*/ 3293 w 10000"/>
                <a:gd name="connsiteY90" fmla="*/ 835 h 10000"/>
                <a:gd name="connsiteX91" fmla="*/ 2811 w 10000"/>
                <a:gd name="connsiteY91" fmla="*/ 835 h 10000"/>
                <a:gd name="connsiteX92" fmla="*/ 2369 w 10000"/>
                <a:gd name="connsiteY92" fmla="*/ 835 h 10000"/>
                <a:gd name="connsiteX93" fmla="*/ 1888 w 10000"/>
                <a:gd name="connsiteY93" fmla="*/ 835 h 10000"/>
                <a:gd name="connsiteX94" fmla="*/ 1888 w 10000"/>
                <a:gd name="connsiteY94" fmla="*/ 1449 h 10000"/>
                <a:gd name="connsiteX95" fmla="*/ 1888 w 10000"/>
                <a:gd name="connsiteY95" fmla="*/ 2241 h 10000"/>
                <a:gd name="connsiteX96" fmla="*/ 1285 w 10000"/>
                <a:gd name="connsiteY96" fmla="*/ 2241 h 10000"/>
                <a:gd name="connsiteX97" fmla="*/ 1285 w 10000"/>
                <a:gd name="connsiteY97" fmla="*/ 2592 h 10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</a:cxnLst>
              <a:rect l="l" t="t" r="r" b="b"/>
              <a:pathLst>
                <a:path w="10000" h="10000">
                  <a:moveTo>
                    <a:pt x="1285" y="2592"/>
                  </a:moveTo>
                  <a:lnTo>
                    <a:pt x="1285" y="3295"/>
                  </a:lnTo>
                  <a:lnTo>
                    <a:pt x="1285" y="3954"/>
                  </a:lnTo>
                  <a:lnTo>
                    <a:pt x="1285" y="4614"/>
                  </a:lnTo>
                  <a:lnTo>
                    <a:pt x="1285" y="5226"/>
                  </a:lnTo>
                  <a:lnTo>
                    <a:pt x="643" y="5360"/>
                  </a:lnTo>
                  <a:cubicBezTo>
                    <a:pt x="603" y="5477"/>
                    <a:pt x="562" y="5593"/>
                    <a:pt x="522" y="5710"/>
                  </a:cubicBezTo>
                  <a:lnTo>
                    <a:pt x="241" y="6150"/>
                  </a:lnTo>
                  <a:lnTo>
                    <a:pt x="241" y="6504"/>
                  </a:lnTo>
                  <a:lnTo>
                    <a:pt x="120" y="6589"/>
                  </a:lnTo>
                  <a:lnTo>
                    <a:pt x="120" y="6896"/>
                  </a:lnTo>
                  <a:lnTo>
                    <a:pt x="0" y="7163"/>
                  </a:lnTo>
                  <a:lnTo>
                    <a:pt x="0" y="7380"/>
                  </a:lnTo>
                  <a:lnTo>
                    <a:pt x="241" y="7337"/>
                  </a:lnTo>
                  <a:cubicBezTo>
                    <a:pt x="254" y="7469"/>
                    <a:pt x="268" y="7600"/>
                    <a:pt x="281" y="7730"/>
                  </a:cubicBezTo>
                  <a:lnTo>
                    <a:pt x="602" y="8437"/>
                  </a:lnTo>
                  <a:lnTo>
                    <a:pt x="602" y="8479"/>
                  </a:lnTo>
                  <a:lnTo>
                    <a:pt x="482" y="8522"/>
                  </a:lnTo>
                  <a:lnTo>
                    <a:pt x="964" y="9225"/>
                  </a:lnTo>
                  <a:cubicBezTo>
                    <a:pt x="977" y="9299"/>
                    <a:pt x="991" y="9372"/>
                    <a:pt x="1004" y="9446"/>
                  </a:cubicBezTo>
                  <a:cubicBezTo>
                    <a:pt x="991" y="9651"/>
                    <a:pt x="1191" y="9602"/>
                    <a:pt x="1178" y="9809"/>
                  </a:cubicBezTo>
                  <a:cubicBezTo>
                    <a:pt x="1205" y="9838"/>
                    <a:pt x="1330" y="9578"/>
                    <a:pt x="1357" y="9607"/>
                  </a:cubicBezTo>
                  <a:cubicBezTo>
                    <a:pt x="1491" y="9531"/>
                    <a:pt x="1526" y="9661"/>
                    <a:pt x="1652" y="9545"/>
                  </a:cubicBezTo>
                  <a:lnTo>
                    <a:pt x="1951" y="9489"/>
                  </a:lnTo>
                  <a:cubicBezTo>
                    <a:pt x="1964" y="9591"/>
                    <a:pt x="2012" y="9117"/>
                    <a:pt x="2025" y="9219"/>
                  </a:cubicBezTo>
                  <a:lnTo>
                    <a:pt x="2338" y="9131"/>
                  </a:lnTo>
                  <a:cubicBezTo>
                    <a:pt x="2482" y="9213"/>
                    <a:pt x="2505" y="9464"/>
                    <a:pt x="2643" y="9561"/>
                  </a:cubicBezTo>
                  <a:cubicBezTo>
                    <a:pt x="2747" y="9644"/>
                    <a:pt x="2890" y="9723"/>
                    <a:pt x="2977" y="9748"/>
                  </a:cubicBezTo>
                  <a:cubicBezTo>
                    <a:pt x="3064" y="9775"/>
                    <a:pt x="3071" y="9711"/>
                    <a:pt x="3167" y="9715"/>
                  </a:cubicBezTo>
                  <a:lnTo>
                    <a:pt x="3795" y="9872"/>
                  </a:lnTo>
                  <a:cubicBezTo>
                    <a:pt x="3849" y="9828"/>
                    <a:pt x="4099" y="10000"/>
                    <a:pt x="4153" y="9956"/>
                  </a:cubicBezTo>
                  <a:cubicBezTo>
                    <a:pt x="4287" y="9933"/>
                    <a:pt x="4581" y="9819"/>
                    <a:pt x="4682" y="9732"/>
                  </a:cubicBezTo>
                  <a:cubicBezTo>
                    <a:pt x="4806" y="9616"/>
                    <a:pt x="4903" y="9349"/>
                    <a:pt x="4983" y="9289"/>
                  </a:cubicBezTo>
                  <a:cubicBezTo>
                    <a:pt x="5106" y="9253"/>
                    <a:pt x="5227" y="9441"/>
                    <a:pt x="5337" y="9512"/>
                  </a:cubicBezTo>
                  <a:cubicBezTo>
                    <a:pt x="5340" y="9373"/>
                    <a:pt x="5492" y="9671"/>
                    <a:pt x="5564" y="9681"/>
                  </a:cubicBezTo>
                  <a:lnTo>
                    <a:pt x="5768" y="9572"/>
                  </a:lnTo>
                  <a:lnTo>
                    <a:pt x="5933" y="9471"/>
                  </a:lnTo>
                  <a:lnTo>
                    <a:pt x="6089" y="9245"/>
                  </a:lnTo>
                  <a:lnTo>
                    <a:pt x="6274" y="8940"/>
                  </a:lnTo>
                  <a:cubicBezTo>
                    <a:pt x="6312" y="8890"/>
                    <a:pt x="6351" y="8843"/>
                    <a:pt x="6389" y="8797"/>
                  </a:cubicBezTo>
                  <a:lnTo>
                    <a:pt x="6524" y="8740"/>
                  </a:lnTo>
                  <a:cubicBezTo>
                    <a:pt x="6526" y="8680"/>
                    <a:pt x="6529" y="8620"/>
                    <a:pt x="6531" y="8560"/>
                  </a:cubicBezTo>
                  <a:cubicBezTo>
                    <a:pt x="6495" y="8427"/>
                    <a:pt x="6608" y="8487"/>
                    <a:pt x="6572" y="8352"/>
                  </a:cubicBezTo>
                  <a:cubicBezTo>
                    <a:pt x="6582" y="8288"/>
                    <a:pt x="6592" y="8226"/>
                    <a:pt x="6602" y="8162"/>
                  </a:cubicBezTo>
                  <a:lnTo>
                    <a:pt x="6855" y="7916"/>
                  </a:lnTo>
                  <a:cubicBezTo>
                    <a:pt x="6892" y="8049"/>
                    <a:pt x="6846" y="8691"/>
                    <a:pt x="6893" y="8869"/>
                  </a:cubicBezTo>
                  <a:cubicBezTo>
                    <a:pt x="6988" y="9092"/>
                    <a:pt x="7208" y="9208"/>
                    <a:pt x="7308" y="9201"/>
                  </a:cubicBezTo>
                  <a:cubicBezTo>
                    <a:pt x="7321" y="8774"/>
                    <a:pt x="7417" y="9343"/>
                    <a:pt x="7430" y="8917"/>
                  </a:cubicBezTo>
                  <a:cubicBezTo>
                    <a:pt x="7443" y="8935"/>
                    <a:pt x="7457" y="8947"/>
                    <a:pt x="7470" y="8960"/>
                  </a:cubicBezTo>
                  <a:lnTo>
                    <a:pt x="7590" y="8698"/>
                  </a:lnTo>
                  <a:lnTo>
                    <a:pt x="7831" y="8567"/>
                  </a:lnTo>
                  <a:cubicBezTo>
                    <a:pt x="7871" y="8405"/>
                    <a:pt x="7912" y="8243"/>
                    <a:pt x="7952" y="8083"/>
                  </a:cubicBezTo>
                  <a:lnTo>
                    <a:pt x="8313" y="7513"/>
                  </a:lnTo>
                  <a:lnTo>
                    <a:pt x="8594" y="7248"/>
                  </a:lnTo>
                  <a:lnTo>
                    <a:pt x="8795" y="6504"/>
                  </a:lnTo>
                  <a:lnTo>
                    <a:pt x="8795" y="6328"/>
                  </a:lnTo>
                  <a:cubicBezTo>
                    <a:pt x="8782" y="6182"/>
                    <a:pt x="8768" y="6033"/>
                    <a:pt x="8755" y="5888"/>
                  </a:cubicBezTo>
                  <a:lnTo>
                    <a:pt x="9157" y="4305"/>
                  </a:lnTo>
                  <a:lnTo>
                    <a:pt x="9277" y="4305"/>
                  </a:lnTo>
                  <a:cubicBezTo>
                    <a:pt x="9331" y="4263"/>
                    <a:pt x="9384" y="4216"/>
                    <a:pt x="9438" y="4174"/>
                  </a:cubicBezTo>
                  <a:lnTo>
                    <a:pt x="9920" y="3954"/>
                  </a:lnTo>
                  <a:cubicBezTo>
                    <a:pt x="9947" y="3837"/>
                    <a:pt x="9973" y="3722"/>
                    <a:pt x="10000" y="3602"/>
                  </a:cubicBezTo>
                  <a:cubicBezTo>
                    <a:pt x="9987" y="3573"/>
                    <a:pt x="9973" y="3545"/>
                    <a:pt x="9960" y="3514"/>
                  </a:cubicBezTo>
                  <a:lnTo>
                    <a:pt x="9799" y="3514"/>
                  </a:lnTo>
                  <a:lnTo>
                    <a:pt x="9679" y="3295"/>
                  </a:lnTo>
                  <a:lnTo>
                    <a:pt x="9438" y="3209"/>
                  </a:lnTo>
                  <a:cubicBezTo>
                    <a:pt x="9398" y="3148"/>
                    <a:pt x="9357" y="3091"/>
                    <a:pt x="9317" y="3033"/>
                  </a:cubicBezTo>
                  <a:cubicBezTo>
                    <a:pt x="9290" y="2813"/>
                    <a:pt x="9264" y="2592"/>
                    <a:pt x="9237" y="2374"/>
                  </a:cubicBezTo>
                  <a:lnTo>
                    <a:pt x="9237" y="1449"/>
                  </a:lnTo>
                  <a:lnTo>
                    <a:pt x="9036" y="1144"/>
                  </a:lnTo>
                  <a:cubicBezTo>
                    <a:pt x="9023" y="1040"/>
                    <a:pt x="9009" y="936"/>
                    <a:pt x="8996" y="835"/>
                  </a:cubicBezTo>
                  <a:lnTo>
                    <a:pt x="8675" y="396"/>
                  </a:lnTo>
                  <a:lnTo>
                    <a:pt x="8394" y="222"/>
                  </a:lnTo>
                  <a:lnTo>
                    <a:pt x="8233" y="0"/>
                  </a:lnTo>
                  <a:lnTo>
                    <a:pt x="7992" y="222"/>
                  </a:lnTo>
                  <a:lnTo>
                    <a:pt x="7831" y="176"/>
                  </a:lnTo>
                  <a:lnTo>
                    <a:pt x="7711" y="569"/>
                  </a:lnTo>
                  <a:lnTo>
                    <a:pt x="7390" y="660"/>
                  </a:lnTo>
                  <a:cubicBezTo>
                    <a:pt x="7363" y="762"/>
                    <a:pt x="7336" y="863"/>
                    <a:pt x="7309" y="965"/>
                  </a:cubicBezTo>
                  <a:lnTo>
                    <a:pt x="7028" y="965"/>
                  </a:lnTo>
                  <a:lnTo>
                    <a:pt x="6787" y="835"/>
                  </a:lnTo>
                  <a:lnTo>
                    <a:pt x="6265" y="835"/>
                  </a:lnTo>
                  <a:lnTo>
                    <a:pt x="5743" y="835"/>
                  </a:lnTo>
                  <a:cubicBezTo>
                    <a:pt x="5756" y="777"/>
                    <a:pt x="5770" y="718"/>
                    <a:pt x="5783" y="660"/>
                  </a:cubicBezTo>
                  <a:lnTo>
                    <a:pt x="5703" y="660"/>
                  </a:lnTo>
                  <a:cubicBezTo>
                    <a:pt x="5690" y="718"/>
                    <a:pt x="5676" y="777"/>
                    <a:pt x="5663" y="835"/>
                  </a:cubicBezTo>
                  <a:lnTo>
                    <a:pt x="5181" y="835"/>
                  </a:lnTo>
                  <a:lnTo>
                    <a:pt x="4699" y="835"/>
                  </a:lnTo>
                  <a:lnTo>
                    <a:pt x="4217" y="835"/>
                  </a:lnTo>
                  <a:lnTo>
                    <a:pt x="3735" y="835"/>
                  </a:lnTo>
                  <a:lnTo>
                    <a:pt x="3293" y="835"/>
                  </a:lnTo>
                  <a:lnTo>
                    <a:pt x="2811" y="835"/>
                  </a:lnTo>
                  <a:lnTo>
                    <a:pt x="2369" y="835"/>
                  </a:lnTo>
                  <a:lnTo>
                    <a:pt x="1888" y="835"/>
                  </a:lnTo>
                  <a:lnTo>
                    <a:pt x="1888" y="1449"/>
                  </a:lnTo>
                  <a:lnTo>
                    <a:pt x="1888" y="2241"/>
                  </a:lnTo>
                  <a:lnTo>
                    <a:pt x="1285" y="2241"/>
                  </a:lnTo>
                  <a:lnTo>
                    <a:pt x="1285" y="2592"/>
                  </a:lnTo>
                  <a:close/>
                </a:path>
              </a:pathLst>
            </a:custGeom>
            <a:grpFill/>
            <a:ln w="9525" cap="flat" cmpd="sng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lIns="37783" tIns="37783" rIns="37783" bIns="37783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3" name="Freeform 4">
              <a:extLst>
                <a:ext uri="{FF2B5EF4-FFF2-40B4-BE49-F238E27FC236}">
                  <a16:creationId xmlns:a16="http://schemas.microsoft.com/office/drawing/2014/main" id="{BE8F53AB-FC28-894F-AAAA-26067F094CAA}"/>
                </a:ext>
              </a:extLst>
            </p:cNvPr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4948998" y="5041639"/>
              <a:ext cx="271030" cy="231951"/>
            </a:xfrm>
            <a:custGeom>
              <a:avLst/>
              <a:gdLst/>
              <a:ahLst/>
              <a:cxnLst>
                <a:cxn ang="0">
                  <a:pos x="20" y="64"/>
                </a:cxn>
                <a:cxn ang="0">
                  <a:pos x="32" y="68"/>
                </a:cxn>
                <a:cxn ang="0">
                  <a:pos x="36" y="60"/>
                </a:cxn>
                <a:cxn ang="0">
                  <a:pos x="40" y="56"/>
                </a:cxn>
                <a:cxn ang="0">
                  <a:pos x="52" y="48"/>
                </a:cxn>
                <a:cxn ang="0">
                  <a:pos x="60" y="40"/>
                </a:cxn>
                <a:cxn ang="0">
                  <a:pos x="64" y="28"/>
                </a:cxn>
                <a:cxn ang="0">
                  <a:pos x="76" y="24"/>
                </a:cxn>
                <a:cxn ang="0">
                  <a:pos x="84" y="24"/>
                </a:cxn>
                <a:cxn ang="0">
                  <a:pos x="100" y="24"/>
                </a:cxn>
                <a:cxn ang="0">
                  <a:pos x="108" y="28"/>
                </a:cxn>
                <a:cxn ang="0">
                  <a:pos x="120" y="28"/>
                </a:cxn>
                <a:cxn ang="0">
                  <a:pos x="132" y="28"/>
                </a:cxn>
                <a:cxn ang="0">
                  <a:pos x="144" y="20"/>
                </a:cxn>
                <a:cxn ang="0">
                  <a:pos x="144" y="12"/>
                </a:cxn>
                <a:cxn ang="0">
                  <a:pos x="156" y="0"/>
                </a:cxn>
                <a:cxn ang="0">
                  <a:pos x="160" y="12"/>
                </a:cxn>
                <a:cxn ang="0">
                  <a:pos x="164" y="16"/>
                </a:cxn>
                <a:cxn ang="0">
                  <a:pos x="164" y="32"/>
                </a:cxn>
                <a:cxn ang="0">
                  <a:pos x="176" y="32"/>
                </a:cxn>
                <a:cxn ang="0">
                  <a:pos x="188" y="28"/>
                </a:cxn>
                <a:cxn ang="0">
                  <a:pos x="196" y="24"/>
                </a:cxn>
                <a:cxn ang="0">
                  <a:pos x="200" y="28"/>
                </a:cxn>
                <a:cxn ang="0">
                  <a:pos x="215" y="24"/>
                </a:cxn>
                <a:cxn ang="0">
                  <a:pos x="208" y="28"/>
                </a:cxn>
                <a:cxn ang="0">
                  <a:pos x="200" y="32"/>
                </a:cxn>
                <a:cxn ang="0">
                  <a:pos x="184" y="36"/>
                </a:cxn>
                <a:cxn ang="0">
                  <a:pos x="172" y="40"/>
                </a:cxn>
                <a:cxn ang="0">
                  <a:pos x="160" y="52"/>
                </a:cxn>
                <a:cxn ang="0">
                  <a:pos x="164" y="60"/>
                </a:cxn>
                <a:cxn ang="0">
                  <a:pos x="164" y="72"/>
                </a:cxn>
                <a:cxn ang="0">
                  <a:pos x="156" y="80"/>
                </a:cxn>
                <a:cxn ang="0">
                  <a:pos x="160" y="92"/>
                </a:cxn>
                <a:cxn ang="0">
                  <a:pos x="144" y="92"/>
                </a:cxn>
                <a:cxn ang="0">
                  <a:pos x="144" y="100"/>
                </a:cxn>
                <a:cxn ang="0">
                  <a:pos x="144" y="108"/>
                </a:cxn>
                <a:cxn ang="0">
                  <a:pos x="132" y="116"/>
                </a:cxn>
                <a:cxn ang="0">
                  <a:pos x="132" y="124"/>
                </a:cxn>
                <a:cxn ang="0">
                  <a:pos x="128" y="136"/>
                </a:cxn>
                <a:cxn ang="0">
                  <a:pos x="120" y="136"/>
                </a:cxn>
                <a:cxn ang="0">
                  <a:pos x="104" y="140"/>
                </a:cxn>
                <a:cxn ang="0">
                  <a:pos x="100" y="148"/>
                </a:cxn>
                <a:cxn ang="0">
                  <a:pos x="92" y="148"/>
                </a:cxn>
                <a:cxn ang="0">
                  <a:pos x="88" y="164"/>
                </a:cxn>
                <a:cxn ang="0">
                  <a:pos x="88" y="172"/>
                </a:cxn>
                <a:cxn ang="0">
                  <a:pos x="72" y="180"/>
                </a:cxn>
                <a:cxn ang="0">
                  <a:pos x="56" y="180"/>
                </a:cxn>
                <a:cxn ang="0">
                  <a:pos x="40" y="180"/>
                </a:cxn>
                <a:cxn ang="0">
                  <a:pos x="16" y="180"/>
                </a:cxn>
                <a:cxn ang="0">
                  <a:pos x="8" y="172"/>
                </a:cxn>
                <a:cxn ang="0">
                  <a:pos x="20" y="152"/>
                </a:cxn>
                <a:cxn ang="0">
                  <a:pos x="12" y="144"/>
                </a:cxn>
                <a:cxn ang="0">
                  <a:pos x="4" y="132"/>
                </a:cxn>
                <a:cxn ang="0">
                  <a:pos x="0" y="116"/>
                </a:cxn>
                <a:cxn ang="0">
                  <a:pos x="4" y="104"/>
                </a:cxn>
                <a:cxn ang="0">
                  <a:pos x="0" y="92"/>
                </a:cxn>
                <a:cxn ang="0">
                  <a:pos x="0" y="80"/>
                </a:cxn>
                <a:cxn ang="0">
                  <a:pos x="8" y="68"/>
                </a:cxn>
              </a:cxnLst>
              <a:rect l="0" t="0" r="r" b="b"/>
              <a:pathLst>
                <a:path w="215" h="184">
                  <a:moveTo>
                    <a:pt x="12" y="60"/>
                  </a:moveTo>
                  <a:lnTo>
                    <a:pt x="12" y="64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40" y="56"/>
                  </a:lnTo>
                  <a:lnTo>
                    <a:pt x="44" y="52"/>
                  </a:lnTo>
                  <a:lnTo>
                    <a:pt x="48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4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6" y="28"/>
                  </a:lnTo>
                  <a:lnTo>
                    <a:pt x="76" y="24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4"/>
                  </a:lnTo>
                  <a:lnTo>
                    <a:pt x="108" y="28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28"/>
                  </a:lnTo>
                  <a:lnTo>
                    <a:pt x="120" y="28"/>
                  </a:lnTo>
                  <a:lnTo>
                    <a:pt x="124" y="24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48" y="16"/>
                  </a:lnTo>
                  <a:lnTo>
                    <a:pt x="144" y="16"/>
                  </a:lnTo>
                  <a:lnTo>
                    <a:pt x="144" y="12"/>
                  </a:lnTo>
                  <a:lnTo>
                    <a:pt x="148" y="12"/>
                  </a:lnTo>
                  <a:lnTo>
                    <a:pt x="152" y="8"/>
                  </a:lnTo>
                  <a:lnTo>
                    <a:pt x="152" y="4"/>
                  </a:lnTo>
                  <a:lnTo>
                    <a:pt x="156" y="0"/>
                  </a:lnTo>
                  <a:lnTo>
                    <a:pt x="160" y="4"/>
                  </a:lnTo>
                  <a:lnTo>
                    <a:pt x="164" y="4"/>
                  </a:lnTo>
                  <a:lnTo>
                    <a:pt x="164" y="8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68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4" y="24"/>
                  </a:lnTo>
                  <a:lnTo>
                    <a:pt x="164" y="28"/>
                  </a:lnTo>
                  <a:lnTo>
                    <a:pt x="164" y="32"/>
                  </a:lnTo>
                  <a:lnTo>
                    <a:pt x="168" y="36"/>
                  </a:lnTo>
                  <a:lnTo>
                    <a:pt x="168" y="40"/>
                  </a:lnTo>
                  <a:lnTo>
                    <a:pt x="172" y="36"/>
                  </a:lnTo>
                  <a:lnTo>
                    <a:pt x="176" y="32"/>
                  </a:lnTo>
                  <a:lnTo>
                    <a:pt x="180" y="32"/>
                  </a:lnTo>
                  <a:lnTo>
                    <a:pt x="184" y="32"/>
                  </a:lnTo>
                  <a:lnTo>
                    <a:pt x="184" y="28"/>
                  </a:lnTo>
                  <a:lnTo>
                    <a:pt x="188" y="28"/>
                  </a:lnTo>
                  <a:lnTo>
                    <a:pt x="188" y="24"/>
                  </a:lnTo>
                  <a:lnTo>
                    <a:pt x="192" y="24"/>
                  </a:lnTo>
                  <a:lnTo>
                    <a:pt x="196" y="20"/>
                  </a:lnTo>
                  <a:lnTo>
                    <a:pt x="196" y="24"/>
                  </a:lnTo>
                  <a:lnTo>
                    <a:pt x="200" y="24"/>
                  </a:lnTo>
                  <a:lnTo>
                    <a:pt x="196" y="24"/>
                  </a:lnTo>
                  <a:lnTo>
                    <a:pt x="196" y="28"/>
                  </a:lnTo>
                  <a:lnTo>
                    <a:pt x="200" y="28"/>
                  </a:lnTo>
                  <a:lnTo>
                    <a:pt x="204" y="24"/>
                  </a:lnTo>
                  <a:lnTo>
                    <a:pt x="208" y="24"/>
                  </a:lnTo>
                  <a:lnTo>
                    <a:pt x="212" y="24"/>
                  </a:lnTo>
                  <a:lnTo>
                    <a:pt x="215" y="24"/>
                  </a:lnTo>
                  <a:lnTo>
                    <a:pt x="215" y="28"/>
                  </a:lnTo>
                  <a:lnTo>
                    <a:pt x="215" y="24"/>
                  </a:lnTo>
                  <a:lnTo>
                    <a:pt x="212" y="28"/>
                  </a:lnTo>
                  <a:lnTo>
                    <a:pt x="208" y="28"/>
                  </a:lnTo>
                  <a:lnTo>
                    <a:pt x="212" y="32"/>
                  </a:lnTo>
                  <a:lnTo>
                    <a:pt x="208" y="32"/>
                  </a:lnTo>
                  <a:lnTo>
                    <a:pt x="204" y="36"/>
                  </a:lnTo>
                  <a:lnTo>
                    <a:pt x="200" y="32"/>
                  </a:lnTo>
                  <a:lnTo>
                    <a:pt x="196" y="32"/>
                  </a:lnTo>
                  <a:lnTo>
                    <a:pt x="192" y="32"/>
                  </a:lnTo>
                  <a:lnTo>
                    <a:pt x="188" y="36"/>
                  </a:lnTo>
                  <a:lnTo>
                    <a:pt x="184" y="36"/>
                  </a:lnTo>
                  <a:lnTo>
                    <a:pt x="180" y="36"/>
                  </a:lnTo>
                  <a:lnTo>
                    <a:pt x="176" y="36"/>
                  </a:lnTo>
                  <a:lnTo>
                    <a:pt x="176" y="40"/>
                  </a:lnTo>
                  <a:lnTo>
                    <a:pt x="172" y="40"/>
                  </a:lnTo>
                  <a:lnTo>
                    <a:pt x="168" y="44"/>
                  </a:lnTo>
                  <a:lnTo>
                    <a:pt x="164" y="48"/>
                  </a:lnTo>
                  <a:lnTo>
                    <a:pt x="160" y="48"/>
                  </a:lnTo>
                  <a:lnTo>
                    <a:pt x="160" y="52"/>
                  </a:lnTo>
                  <a:lnTo>
                    <a:pt x="164" y="52"/>
                  </a:lnTo>
                  <a:lnTo>
                    <a:pt x="164" y="56"/>
                  </a:lnTo>
                  <a:lnTo>
                    <a:pt x="168" y="56"/>
                  </a:lnTo>
                  <a:lnTo>
                    <a:pt x="164" y="60"/>
                  </a:lnTo>
                  <a:lnTo>
                    <a:pt x="168" y="60"/>
                  </a:lnTo>
                  <a:lnTo>
                    <a:pt x="168" y="64"/>
                  </a:lnTo>
                  <a:lnTo>
                    <a:pt x="168" y="68"/>
                  </a:lnTo>
                  <a:lnTo>
                    <a:pt x="164" y="72"/>
                  </a:lnTo>
                  <a:lnTo>
                    <a:pt x="164" y="76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60" y="84"/>
                  </a:lnTo>
                  <a:lnTo>
                    <a:pt x="160" y="88"/>
                  </a:lnTo>
                  <a:lnTo>
                    <a:pt x="160" y="92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48" y="92"/>
                  </a:lnTo>
                  <a:lnTo>
                    <a:pt x="144" y="92"/>
                  </a:lnTo>
                  <a:lnTo>
                    <a:pt x="140" y="92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4"/>
                  </a:lnTo>
                  <a:lnTo>
                    <a:pt x="148" y="104"/>
                  </a:lnTo>
                  <a:lnTo>
                    <a:pt x="148" y="108"/>
                  </a:lnTo>
                  <a:lnTo>
                    <a:pt x="144" y="108"/>
                  </a:lnTo>
                  <a:lnTo>
                    <a:pt x="140" y="112"/>
                  </a:lnTo>
                  <a:lnTo>
                    <a:pt x="136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2" y="120"/>
                  </a:lnTo>
                  <a:lnTo>
                    <a:pt x="132" y="124"/>
                  </a:lnTo>
                  <a:lnTo>
                    <a:pt x="132" y="128"/>
                  </a:lnTo>
                  <a:lnTo>
                    <a:pt x="132" y="132"/>
                  </a:lnTo>
                  <a:lnTo>
                    <a:pt x="132" y="136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4" y="140"/>
                  </a:lnTo>
                  <a:lnTo>
                    <a:pt x="124" y="136"/>
                  </a:lnTo>
                  <a:lnTo>
                    <a:pt x="120" y="136"/>
                  </a:lnTo>
                  <a:lnTo>
                    <a:pt x="116" y="136"/>
                  </a:lnTo>
                  <a:lnTo>
                    <a:pt x="112" y="140"/>
                  </a:lnTo>
                  <a:lnTo>
                    <a:pt x="108" y="140"/>
                  </a:lnTo>
                  <a:lnTo>
                    <a:pt x="104" y="140"/>
                  </a:lnTo>
                  <a:lnTo>
                    <a:pt x="108" y="144"/>
                  </a:lnTo>
                  <a:lnTo>
                    <a:pt x="108" y="148"/>
                  </a:lnTo>
                  <a:lnTo>
                    <a:pt x="104" y="148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88" y="152"/>
                  </a:lnTo>
                  <a:lnTo>
                    <a:pt x="88" y="160"/>
                  </a:lnTo>
                  <a:lnTo>
                    <a:pt x="88" y="164"/>
                  </a:lnTo>
                  <a:lnTo>
                    <a:pt x="88" y="168"/>
                  </a:lnTo>
                  <a:lnTo>
                    <a:pt x="84" y="168"/>
                  </a:lnTo>
                  <a:lnTo>
                    <a:pt x="84" y="172"/>
                  </a:lnTo>
                  <a:lnTo>
                    <a:pt x="88" y="172"/>
                  </a:lnTo>
                  <a:lnTo>
                    <a:pt x="84" y="176"/>
                  </a:lnTo>
                  <a:lnTo>
                    <a:pt x="80" y="176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4"/>
                  </a:lnTo>
                  <a:lnTo>
                    <a:pt x="48" y="180"/>
                  </a:lnTo>
                  <a:lnTo>
                    <a:pt x="44" y="180"/>
                  </a:lnTo>
                  <a:lnTo>
                    <a:pt x="40" y="180"/>
                  </a:lnTo>
                  <a:lnTo>
                    <a:pt x="28" y="184"/>
                  </a:lnTo>
                  <a:lnTo>
                    <a:pt x="24" y="180"/>
                  </a:lnTo>
                  <a:lnTo>
                    <a:pt x="20" y="180"/>
                  </a:lnTo>
                  <a:lnTo>
                    <a:pt x="16" y="180"/>
                  </a:lnTo>
                  <a:lnTo>
                    <a:pt x="8" y="176"/>
                  </a:lnTo>
                  <a:lnTo>
                    <a:pt x="4" y="176"/>
                  </a:lnTo>
                  <a:lnTo>
                    <a:pt x="4" y="172"/>
                  </a:lnTo>
                  <a:lnTo>
                    <a:pt x="8" y="172"/>
                  </a:lnTo>
                  <a:lnTo>
                    <a:pt x="8" y="168"/>
                  </a:lnTo>
                  <a:lnTo>
                    <a:pt x="12" y="164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12" y="144"/>
                  </a:lnTo>
                  <a:lnTo>
                    <a:pt x="8" y="144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4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12" y="6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4" name="Freeform 5">
              <a:extLst>
                <a:ext uri="{FF2B5EF4-FFF2-40B4-BE49-F238E27FC236}">
                  <a16:creationId xmlns:a16="http://schemas.microsoft.com/office/drawing/2014/main" id="{CFA0B371-5277-494E-886B-B1ED2CF2BA11}"/>
                </a:ext>
              </a:extLst>
            </p:cNvPr>
            <p:cNvSpPr>
              <a:spLocks noEditPoints="1"/>
            </p:cNvSpPr>
            <p:nvPr>
              <p:custDataLst>
                <p:tags r:id="rId4"/>
              </p:custDataLst>
            </p:nvPr>
          </p:nvSpPr>
          <p:spPr bwMode="gray">
            <a:xfrm>
              <a:off x="4622501" y="4971045"/>
              <a:ext cx="60509" cy="60509"/>
            </a:xfrm>
            <a:custGeom>
              <a:avLst/>
              <a:gdLst/>
              <a:ahLst/>
              <a:cxnLst>
                <a:cxn ang="0">
                  <a:pos x="44" y="48"/>
                </a:cxn>
                <a:cxn ang="0">
                  <a:pos x="40" y="48"/>
                </a:cxn>
                <a:cxn ang="0">
                  <a:pos x="40" y="48"/>
                </a:cxn>
                <a:cxn ang="0">
                  <a:pos x="40" y="40"/>
                </a:cxn>
                <a:cxn ang="0">
                  <a:pos x="36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24" y="32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8"/>
                </a:cxn>
                <a:cxn ang="0">
                  <a:pos x="28" y="12"/>
                </a:cxn>
                <a:cxn ang="0">
                  <a:pos x="32" y="16"/>
                </a:cxn>
                <a:cxn ang="0">
                  <a:pos x="36" y="20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32" y="24"/>
                </a:cxn>
                <a:cxn ang="0">
                  <a:pos x="36" y="28"/>
                </a:cxn>
                <a:cxn ang="0">
                  <a:pos x="36" y="28"/>
                </a:cxn>
                <a:cxn ang="0">
                  <a:pos x="36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44" y="44"/>
                </a:cxn>
                <a:cxn ang="0">
                  <a:pos x="44" y="44"/>
                </a:cxn>
                <a:cxn ang="0">
                  <a:pos x="44" y="48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12"/>
                </a:cxn>
                <a:cxn ang="0">
                  <a:pos x="32" y="12"/>
                </a:cxn>
              </a:cxnLst>
              <a:rect l="0" t="0" r="r" b="b"/>
              <a:pathLst>
                <a:path w="48" h="48">
                  <a:moveTo>
                    <a:pt x="48" y="48"/>
                  </a:moveTo>
                  <a:lnTo>
                    <a:pt x="48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8" y="48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  <a:moveTo>
                    <a:pt x="28" y="4"/>
                  </a:move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close/>
                  <a:moveTo>
                    <a:pt x="32" y="12"/>
                  </a:move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5" name="Freeform 6">
              <a:extLst>
                <a:ext uri="{FF2B5EF4-FFF2-40B4-BE49-F238E27FC236}">
                  <a16:creationId xmlns:a16="http://schemas.microsoft.com/office/drawing/2014/main" id="{A2D1ACE1-AD6E-9A4B-8C70-2F14A3BA8D60}"/>
                </a:ext>
              </a:extLst>
            </p:cNvPr>
            <p:cNvSpPr>
              <a:spLocks noEditPoints="1"/>
            </p:cNvSpPr>
            <p:nvPr>
              <p:custDataLst>
                <p:tags r:id="rId5"/>
              </p:custDataLst>
            </p:nvPr>
          </p:nvSpPr>
          <p:spPr bwMode="gray">
            <a:xfrm>
              <a:off x="4647713" y="4931967"/>
              <a:ext cx="129842" cy="114715"/>
            </a:xfrm>
            <a:custGeom>
              <a:avLst/>
              <a:gdLst/>
              <a:ahLst/>
              <a:cxnLst>
                <a:cxn ang="0">
                  <a:pos x="84" y="91"/>
                </a:cxn>
                <a:cxn ang="0">
                  <a:pos x="60" y="87"/>
                </a:cxn>
                <a:cxn ang="0">
                  <a:pos x="56" y="87"/>
                </a:cxn>
                <a:cxn ang="0">
                  <a:pos x="52" y="83"/>
                </a:cxn>
                <a:cxn ang="0">
                  <a:pos x="48" y="79"/>
                </a:cxn>
                <a:cxn ang="0">
                  <a:pos x="52" y="79"/>
                </a:cxn>
                <a:cxn ang="0">
                  <a:pos x="52" y="75"/>
                </a:cxn>
                <a:cxn ang="0">
                  <a:pos x="52" y="71"/>
                </a:cxn>
                <a:cxn ang="0">
                  <a:pos x="52" y="67"/>
                </a:cxn>
                <a:cxn ang="0">
                  <a:pos x="48" y="63"/>
                </a:cxn>
                <a:cxn ang="0">
                  <a:pos x="40" y="67"/>
                </a:cxn>
                <a:cxn ang="0">
                  <a:pos x="36" y="71"/>
                </a:cxn>
                <a:cxn ang="0">
                  <a:pos x="32" y="75"/>
                </a:cxn>
                <a:cxn ang="0">
                  <a:pos x="28" y="79"/>
                </a:cxn>
                <a:cxn ang="0">
                  <a:pos x="24" y="75"/>
                </a:cxn>
                <a:cxn ang="0">
                  <a:pos x="24" y="75"/>
                </a:cxn>
                <a:cxn ang="0">
                  <a:pos x="24" y="71"/>
                </a:cxn>
                <a:cxn ang="0">
                  <a:pos x="28" y="67"/>
                </a:cxn>
                <a:cxn ang="0">
                  <a:pos x="20" y="67"/>
                </a:cxn>
                <a:cxn ang="0">
                  <a:pos x="20" y="63"/>
                </a:cxn>
                <a:cxn ang="0">
                  <a:pos x="16" y="59"/>
                </a:cxn>
                <a:cxn ang="0">
                  <a:pos x="12" y="59"/>
                </a:cxn>
                <a:cxn ang="0">
                  <a:pos x="16" y="55"/>
                </a:cxn>
                <a:cxn ang="0">
                  <a:pos x="20" y="51"/>
                </a:cxn>
                <a:cxn ang="0">
                  <a:pos x="12" y="47"/>
                </a:cxn>
                <a:cxn ang="0">
                  <a:pos x="12" y="39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8" y="27"/>
                </a:cxn>
                <a:cxn ang="0">
                  <a:pos x="16" y="31"/>
                </a:cxn>
                <a:cxn ang="0">
                  <a:pos x="20" y="31"/>
                </a:cxn>
                <a:cxn ang="0">
                  <a:pos x="24" y="31"/>
                </a:cxn>
                <a:cxn ang="0">
                  <a:pos x="28" y="35"/>
                </a:cxn>
                <a:cxn ang="0">
                  <a:pos x="28" y="27"/>
                </a:cxn>
                <a:cxn ang="0">
                  <a:pos x="20" y="23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32" y="19"/>
                </a:cxn>
                <a:cxn ang="0">
                  <a:pos x="36" y="23"/>
                </a:cxn>
                <a:cxn ang="0">
                  <a:pos x="44" y="31"/>
                </a:cxn>
                <a:cxn ang="0">
                  <a:pos x="44" y="31"/>
                </a:cxn>
                <a:cxn ang="0">
                  <a:pos x="48" y="27"/>
                </a:cxn>
                <a:cxn ang="0">
                  <a:pos x="56" y="23"/>
                </a:cxn>
                <a:cxn ang="0">
                  <a:pos x="60" y="15"/>
                </a:cxn>
                <a:cxn ang="0">
                  <a:pos x="88" y="15"/>
                </a:cxn>
                <a:cxn ang="0">
                  <a:pos x="103" y="39"/>
                </a:cxn>
                <a:cxn ang="0">
                  <a:pos x="103" y="63"/>
                </a:cxn>
                <a:cxn ang="0">
                  <a:pos x="100" y="79"/>
                </a:cxn>
                <a:cxn ang="0">
                  <a:pos x="12" y="43"/>
                </a:cxn>
                <a:cxn ang="0">
                  <a:pos x="4" y="35"/>
                </a:cxn>
                <a:cxn ang="0">
                  <a:pos x="8" y="35"/>
                </a:cxn>
                <a:cxn ang="0">
                  <a:pos x="0" y="63"/>
                </a:cxn>
                <a:cxn ang="0">
                  <a:pos x="0" y="63"/>
                </a:cxn>
                <a:cxn ang="0">
                  <a:pos x="8" y="63"/>
                </a:cxn>
                <a:cxn ang="0">
                  <a:pos x="12" y="67"/>
                </a:cxn>
                <a:cxn ang="0">
                  <a:pos x="16" y="71"/>
                </a:cxn>
                <a:cxn ang="0">
                  <a:pos x="20" y="79"/>
                </a:cxn>
                <a:cxn ang="0">
                  <a:pos x="12" y="79"/>
                </a:cxn>
                <a:cxn ang="0">
                  <a:pos x="8" y="75"/>
                </a:cxn>
                <a:cxn ang="0">
                  <a:pos x="4" y="71"/>
                </a:cxn>
                <a:cxn ang="0">
                  <a:pos x="4" y="67"/>
                </a:cxn>
                <a:cxn ang="0">
                  <a:pos x="0" y="63"/>
                </a:cxn>
              </a:cxnLst>
              <a:rect l="0" t="0" r="r" b="b"/>
              <a:pathLst>
                <a:path w="103" h="91">
                  <a:moveTo>
                    <a:pt x="100" y="83"/>
                  </a:moveTo>
                  <a:lnTo>
                    <a:pt x="96" y="87"/>
                  </a:lnTo>
                  <a:lnTo>
                    <a:pt x="92" y="87"/>
                  </a:lnTo>
                  <a:lnTo>
                    <a:pt x="88" y="87"/>
                  </a:lnTo>
                  <a:lnTo>
                    <a:pt x="88" y="87"/>
                  </a:lnTo>
                  <a:lnTo>
                    <a:pt x="84" y="91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56" y="91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6" y="87"/>
                  </a:lnTo>
                  <a:lnTo>
                    <a:pt x="52" y="87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52" y="83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48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9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5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2" y="71"/>
                  </a:lnTo>
                  <a:lnTo>
                    <a:pt x="56" y="71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52" y="67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67"/>
                  </a:lnTo>
                  <a:lnTo>
                    <a:pt x="40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6" y="71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8" y="79"/>
                  </a:lnTo>
                  <a:lnTo>
                    <a:pt x="24" y="79"/>
                  </a:lnTo>
                  <a:lnTo>
                    <a:pt x="24" y="79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8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5"/>
                  </a:lnTo>
                  <a:lnTo>
                    <a:pt x="24" y="71"/>
                  </a:lnTo>
                  <a:lnTo>
                    <a:pt x="24" y="75"/>
                  </a:lnTo>
                  <a:lnTo>
                    <a:pt x="28" y="75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4" y="71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4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8" y="67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4" y="63"/>
                  </a:lnTo>
                  <a:lnTo>
                    <a:pt x="20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20" y="63"/>
                  </a:lnTo>
                  <a:lnTo>
                    <a:pt x="16" y="63"/>
                  </a:lnTo>
                  <a:lnTo>
                    <a:pt x="16" y="63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2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16" y="55"/>
                  </a:lnTo>
                  <a:lnTo>
                    <a:pt x="20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6" y="51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12" y="47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8" y="43"/>
                  </a:lnTo>
                  <a:lnTo>
                    <a:pt x="12" y="43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8" y="27"/>
                  </a:lnTo>
                  <a:lnTo>
                    <a:pt x="12" y="27"/>
                  </a:lnTo>
                  <a:lnTo>
                    <a:pt x="12" y="27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4" y="31"/>
                  </a:lnTo>
                  <a:lnTo>
                    <a:pt x="24" y="31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31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8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0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19"/>
                  </a:lnTo>
                  <a:lnTo>
                    <a:pt x="32" y="23"/>
                  </a:lnTo>
                  <a:lnTo>
                    <a:pt x="32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3"/>
                  </a:lnTo>
                  <a:lnTo>
                    <a:pt x="36" y="27"/>
                  </a:lnTo>
                  <a:lnTo>
                    <a:pt x="36" y="27"/>
                  </a:lnTo>
                  <a:lnTo>
                    <a:pt x="36" y="31"/>
                  </a:lnTo>
                  <a:lnTo>
                    <a:pt x="40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4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31"/>
                  </a:lnTo>
                  <a:lnTo>
                    <a:pt x="48" y="27"/>
                  </a:lnTo>
                  <a:lnTo>
                    <a:pt x="48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2" y="27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23"/>
                  </a:lnTo>
                  <a:lnTo>
                    <a:pt x="56" y="19"/>
                  </a:lnTo>
                  <a:lnTo>
                    <a:pt x="56" y="19"/>
                  </a:lnTo>
                  <a:lnTo>
                    <a:pt x="60" y="15"/>
                  </a:lnTo>
                  <a:lnTo>
                    <a:pt x="64" y="11"/>
                  </a:lnTo>
                  <a:lnTo>
                    <a:pt x="68" y="7"/>
                  </a:lnTo>
                  <a:lnTo>
                    <a:pt x="76" y="0"/>
                  </a:lnTo>
                  <a:lnTo>
                    <a:pt x="80" y="7"/>
                  </a:lnTo>
                  <a:lnTo>
                    <a:pt x="84" y="11"/>
                  </a:lnTo>
                  <a:lnTo>
                    <a:pt x="88" y="15"/>
                  </a:lnTo>
                  <a:lnTo>
                    <a:pt x="88" y="19"/>
                  </a:lnTo>
                  <a:lnTo>
                    <a:pt x="92" y="23"/>
                  </a:lnTo>
                  <a:lnTo>
                    <a:pt x="96" y="27"/>
                  </a:lnTo>
                  <a:lnTo>
                    <a:pt x="96" y="31"/>
                  </a:lnTo>
                  <a:lnTo>
                    <a:pt x="100" y="35"/>
                  </a:lnTo>
                  <a:lnTo>
                    <a:pt x="103" y="39"/>
                  </a:lnTo>
                  <a:lnTo>
                    <a:pt x="103" y="39"/>
                  </a:lnTo>
                  <a:lnTo>
                    <a:pt x="103" y="43"/>
                  </a:lnTo>
                  <a:lnTo>
                    <a:pt x="103" y="47"/>
                  </a:lnTo>
                  <a:lnTo>
                    <a:pt x="103" y="51"/>
                  </a:lnTo>
                  <a:lnTo>
                    <a:pt x="103" y="59"/>
                  </a:lnTo>
                  <a:lnTo>
                    <a:pt x="103" y="63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67"/>
                  </a:lnTo>
                  <a:lnTo>
                    <a:pt x="103" y="71"/>
                  </a:lnTo>
                  <a:lnTo>
                    <a:pt x="100" y="75"/>
                  </a:lnTo>
                  <a:lnTo>
                    <a:pt x="100" y="79"/>
                  </a:lnTo>
                  <a:lnTo>
                    <a:pt x="100" y="83"/>
                  </a:lnTo>
                  <a:close/>
                  <a:moveTo>
                    <a:pt x="12" y="43"/>
                  </a:move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lnTo>
                    <a:pt x="12" y="43"/>
                  </a:lnTo>
                  <a:close/>
                  <a:moveTo>
                    <a:pt x="4" y="35"/>
                  </a:move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lnTo>
                    <a:pt x="4" y="35"/>
                  </a:lnTo>
                  <a:close/>
                  <a:moveTo>
                    <a:pt x="8" y="35"/>
                  </a:move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close/>
                  <a:moveTo>
                    <a:pt x="0" y="63"/>
                  </a:move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8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2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67"/>
                  </a:lnTo>
                  <a:lnTo>
                    <a:pt x="16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20" y="71"/>
                  </a:lnTo>
                  <a:lnTo>
                    <a:pt x="16" y="75"/>
                  </a:lnTo>
                  <a:lnTo>
                    <a:pt x="16" y="75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20" y="79"/>
                  </a:lnTo>
                  <a:lnTo>
                    <a:pt x="16" y="79"/>
                  </a:lnTo>
                  <a:lnTo>
                    <a:pt x="16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12" y="79"/>
                  </a:lnTo>
                  <a:lnTo>
                    <a:pt x="8" y="79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8" y="75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71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4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3"/>
                  </a:lnTo>
                  <a:lnTo>
                    <a:pt x="0" y="6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6" name="Freeform 7">
              <a:extLst>
                <a:ext uri="{FF2B5EF4-FFF2-40B4-BE49-F238E27FC236}">
                  <a16:creationId xmlns:a16="http://schemas.microsoft.com/office/drawing/2014/main" id="{22ACA827-D9D6-CF4D-92E2-0F7386EFB0D9}"/>
                </a:ext>
              </a:extLst>
            </p:cNvPr>
            <p:cNvSpPr>
              <a:spLocks noEditPoints="1"/>
            </p:cNvSpPr>
            <p:nvPr>
              <p:custDataLst>
                <p:tags r:id="rId6"/>
              </p:custDataLst>
            </p:nvPr>
          </p:nvSpPr>
          <p:spPr bwMode="gray">
            <a:xfrm>
              <a:off x="4753604" y="5349226"/>
              <a:ext cx="10085" cy="15127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12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close/>
                  <a:moveTo>
                    <a:pt x="8" y="12"/>
                  </a:move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7" name="Freeform 8">
              <a:extLst>
                <a:ext uri="{FF2B5EF4-FFF2-40B4-BE49-F238E27FC236}">
                  <a16:creationId xmlns:a16="http://schemas.microsoft.com/office/drawing/2014/main" id="{363DE32D-28BA-C64A-8BF6-79439B3D549A}"/>
                </a:ext>
              </a:extLst>
            </p:cNvPr>
            <p:cNvSpPr>
              <a:spLocks noEditPoints="1"/>
            </p:cNvSpPr>
            <p:nvPr>
              <p:custDataLst>
                <p:tags r:id="rId7"/>
              </p:custDataLst>
            </p:nvPr>
          </p:nvSpPr>
          <p:spPr bwMode="gray">
            <a:xfrm>
              <a:off x="5472148" y="5339142"/>
              <a:ext cx="90764" cy="141188"/>
            </a:xfrm>
            <a:custGeom>
              <a:avLst/>
              <a:gdLst/>
              <a:ahLst/>
              <a:cxnLst>
                <a:cxn ang="0">
                  <a:pos x="40" y="80"/>
                </a:cxn>
                <a:cxn ang="0">
                  <a:pos x="36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32" y="80"/>
                </a:cxn>
                <a:cxn ang="0">
                  <a:pos x="28" y="92"/>
                </a:cxn>
                <a:cxn ang="0">
                  <a:pos x="24" y="88"/>
                </a:cxn>
                <a:cxn ang="0">
                  <a:pos x="24" y="88"/>
                </a:cxn>
                <a:cxn ang="0">
                  <a:pos x="24" y="92"/>
                </a:cxn>
                <a:cxn ang="0">
                  <a:pos x="20" y="9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52"/>
                </a:cxn>
                <a:cxn ang="0">
                  <a:pos x="8" y="48"/>
                </a:cxn>
                <a:cxn ang="0">
                  <a:pos x="0" y="36"/>
                </a:cxn>
                <a:cxn ang="0">
                  <a:pos x="4" y="36"/>
                </a:cxn>
                <a:cxn ang="0">
                  <a:pos x="12" y="28"/>
                </a:cxn>
                <a:cxn ang="0">
                  <a:pos x="8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4" y="12"/>
                </a:cxn>
                <a:cxn ang="0">
                  <a:pos x="28" y="16"/>
                </a:cxn>
                <a:cxn ang="0">
                  <a:pos x="32" y="28"/>
                </a:cxn>
                <a:cxn ang="0">
                  <a:pos x="48" y="28"/>
                </a:cxn>
                <a:cxn ang="0">
                  <a:pos x="64" y="28"/>
                </a:cxn>
                <a:cxn ang="0">
                  <a:pos x="64" y="36"/>
                </a:cxn>
                <a:cxn ang="0">
                  <a:pos x="60" y="48"/>
                </a:cxn>
                <a:cxn ang="0">
                  <a:pos x="52" y="48"/>
                </a:cxn>
                <a:cxn ang="0">
                  <a:pos x="48" y="64"/>
                </a:cxn>
                <a:cxn ang="0">
                  <a:pos x="52" y="72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68"/>
                </a:cxn>
                <a:cxn ang="0">
                  <a:pos x="68" y="80"/>
                </a:cxn>
                <a:cxn ang="0">
                  <a:pos x="68" y="96"/>
                </a:cxn>
                <a:cxn ang="0">
                  <a:pos x="68" y="104"/>
                </a:cxn>
                <a:cxn ang="0">
                  <a:pos x="64" y="108"/>
                </a:cxn>
                <a:cxn ang="0">
                  <a:pos x="60" y="104"/>
                </a:cxn>
                <a:cxn ang="0">
                  <a:pos x="60" y="96"/>
                </a:cxn>
                <a:cxn ang="0">
                  <a:pos x="56" y="84"/>
                </a:cxn>
                <a:cxn ang="0">
                  <a:pos x="48" y="80"/>
                </a:cxn>
                <a:cxn ang="0">
                  <a:pos x="40" y="72"/>
                </a:cxn>
                <a:cxn ang="0">
                  <a:pos x="36" y="60"/>
                </a:cxn>
                <a:cxn ang="0">
                  <a:pos x="40" y="64"/>
                </a:cxn>
                <a:cxn ang="0">
                  <a:pos x="36" y="76"/>
                </a:cxn>
                <a:cxn ang="0">
                  <a:pos x="40" y="92"/>
                </a:cxn>
                <a:cxn ang="0">
                  <a:pos x="40" y="92"/>
                </a:cxn>
                <a:cxn ang="0">
                  <a:pos x="40" y="80"/>
                </a:cxn>
                <a:cxn ang="0">
                  <a:pos x="44" y="88"/>
                </a:cxn>
                <a:cxn ang="0">
                  <a:pos x="52" y="80"/>
                </a:cxn>
                <a:cxn ang="0">
                  <a:pos x="48" y="84"/>
                </a:cxn>
                <a:cxn ang="0">
                  <a:pos x="44" y="88"/>
                </a:cxn>
              </a:cxnLst>
              <a:rect l="0" t="0" r="r" b="b"/>
              <a:pathLst>
                <a:path w="72" h="112">
                  <a:moveTo>
                    <a:pt x="36" y="68"/>
                  </a:moveTo>
                  <a:lnTo>
                    <a:pt x="36" y="72"/>
                  </a:lnTo>
                  <a:lnTo>
                    <a:pt x="36" y="76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6" y="88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4" y="88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52" y="28"/>
                  </a:lnTo>
                  <a:lnTo>
                    <a:pt x="56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4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4" y="112"/>
                  </a:lnTo>
                  <a:lnTo>
                    <a:pt x="64" y="108"/>
                  </a:lnTo>
                  <a:lnTo>
                    <a:pt x="60" y="108"/>
                  </a:lnTo>
                  <a:lnTo>
                    <a:pt x="60" y="104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56" y="88"/>
                  </a:lnTo>
                  <a:lnTo>
                    <a:pt x="56" y="84"/>
                  </a:lnTo>
                  <a:lnTo>
                    <a:pt x="56" y="80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80"/>
                  </a:lnTo>
                  <a:lnTo>
                    <a:pt x="44" y="80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36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36" y="68"/>
                  </a:lnTo>
                  <a:close/>
                  <a:moveTo>
                    <a:pt x="40" y="76"/>
                  </a:move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close/>
                  <a:moveTo>
                    <a:pt x="40" y="92"/>
                  </a:moveTo>
                  <a:lnTo>
                    <a:pt x="36" y="92"/>
                  </a:lnTo>
                  <a:lnTo>
                    <a:pt x="36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40" y="92"/>
                  </a:moveTo>
                  <a:lnTo>
                    <a:pt x="40" y="88"/>
                  </a:lnTo>
                  <a:lnTo>
                    <a:pt x="40" y="84"/>
                  </a:lnTo>
                  <a:lnTo>
                    <a:pt x="40" y="80"/>
                  </a:lnTo>
                  <a:lnTo>
                    <a:pt x="40" y="76"/>
                  </a:lnTo>
                  <a:lnTo>
                    <a:pt x="44" y="80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0" y="88"/>
                  </a:lnTo>
                  <a:lnTo>
                    <a:pt x="40" y="92"/>
                  </a:lnTo>
                  <a:close/>
                  <a:moveTo>
                    <a:pt x="52" y="84"/>
                  </a:moveTo>
                  <a:lnTo>
                    <a:pt x="52" y="80"/>
                  </a:lnTo>
                  <a:lnTo>
                    <a:pt x="52" y="84"/>
                  </a:lnTo>
                  <a:close/>
                  <a:moveTo>
                    <a:pt x="44" y="88"/>
                  </a:moveTo>
                  <a:lnTo>
                    <a:pt x="48" y="88"/>
                  </a:lnTo>
                  <a:lnTo>
                    <a:pt x="48" y="84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4" y="88"/>
                  </a:lnTo>
                  <a:close/>
                  <a:moveTo>
                    <a:pt x="60" y="100"/>
                  </a:moveTo>
                  <a:lnTo>
                    <a:pt x="60" y="96"/>
                  </a:lnTo>
                  <a:lnTo>
                    <a:pt x="60" y="100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8" name="Freeform 9">
              <a:extLst>
                <a:ext uri="{FF2B5EF4-FFF2-40B4-BE49-F238E27FC236}">
                  <a16:creationId xmlns:a16="http://schemas.microsoft.com/office/drawing/2014/main" id="{50C443E9-8617-5D46-88A6-11E25CCFE7A9}"/>
                </a:ext>
              </a:extLst>
            </p:cNvPr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5487275" y="5298802"/>
              <a:ext cx="65551" cy="40339"/>
            </a:xfrm>
            <a:custGeom>
              <a:avLst/>
              <a:gdLst/>
              <a:ahLst/>
              <a:cxnLst>
                <a:cxn ang="0">
                  <a:pos x="48" y="28"/>
                </a:cxn>
                <a:cxn ang="0">
                  <a:pos x="40" y="28"/>
                </a:cxn>
                <a:cxn ang="0">
                  <a:pos x="40" y="28"/>
                </a:cxn>
                <a:cxn ang="0">
                  <a:pos x="40" y="32"/>
                </a:cxn>
                <a:cxn ang="0">
                  <a:pos x="36" y="28"/>
                </a:cxn>
                <a:cxn ang="0">
                  <a:pos x="32" y="32"/>
                </a:cxn>
                <a:cxn ang="0">
                  <a:pos x="28" y="32"/>
                </a:cxn>
                <a:cxn ang="0">
                  <a:pos x="24" y="28"/>
                </a:cxn>
                <a:cxn ang="0">
                  <a:pos x="20" y="28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8" y="4"/>
                </a:cxn>
                <a:cxn ang="0">
                  <a:pos x="32" y="4"/>
                </a:cxn>
                <a:cxn ang="0">
                  <a:pos x="32" y="8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0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4" y="12"/>
                </a:cxn>
                <a:cxn ang="0">
                  <a:pos x="44" y="12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52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28"/>
                </a:cxn>
              </a:cxnLst>
              <a:rect l="0" t="0" r="r" b="b"/>
              <a:pathLst>
                <a:path w="52" h="32">
                  <a:moveTo>
                    <a:pt x="48" y="28"/>
                  </a:move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28"/>
                  </a:lnTo>
                  <a:lnTo>
                    <a:pt x="48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9" name="Freeform 13">
              <a:extLst>
                <a:ext uri="{FF2B5EF4-FFF2-40B4-BE49-F238E27FC236}">
                  <a16:creationId xmlns:a16="http://schemas.microsoft.com/office/drawing/2014/main" id="{129D3FE0-2861-BB41-AB14-38F936F127AD}"/>
                </a:ext>
              </a:extLst>
            </p:cNvPr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4405677" y="5117275"/>
              <a:ext cx="45382" cy="25212"/>
            </a:xfrm>
            <a:custGeom>
              <a:avLst/>
              <a:gdLst/>
              <a:ahLst/>
              <a:cxnLst>
                <a:cxn ang="0">
                  <a:pos x="16" y="16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6" y="0"/>
                </a:cxn>
                <a:cxn ang="0">
                  <a:pos x="36" y="0"/>
                </a:cxn>
                <a:cxn ang="0">
                  <a:pos x="32" y="4"/>
                </a:cxn>
                <a:cxn ang="0">
                  <a:pos x="28" y="4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0" y="16"/>
                </a:cxn>
              </a:cxnLst>
              <a:rect l="0" t="0" r="r" b="b"/>
              <a:pathLst>
                <a:path w="36" h="20">
                  <a:moveTo>
                    <a:pt x="16" y="16"/>
                  </a:move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0" name="Freeform 14">
              <a:extLst>
                <a:ext uri="{FF2B5EF4-FFF2-40B4-BE49-F238E27FC236}">
                  <a16:creationId xmlns:a16="http://schemas.microsoft.com/office/drawing/2014/main" id="{7462D841-B0CF-2B40-B4B2-243F05B29C70}"/>
                </a:ext>
              </a:extLst>
            </p:cNvPr>
            <p:cNvSpPr>
              <a:spLocks/>
            </p:cNvSpPr>
            <p:nvPr>
              <p:custDataLst>
                <p:tags r:id="rId10"/>
              </p:custDataLst>
            </p:nvPr>
          </p:nvSpPr>
          <p:spPr bwMode="gray">
            <a:xfrm>
              <a:off x="4446016" y="5218124"/>
              <a:ext cx="5042" cy="10085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4" h="8">
                  <a:moveTo>
                    <a:pt x="4" y="0"/>
                  </a:move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1" name="Freeform 15">
              <a:extLst>
                <a:ext uri="{FF2B5EF4-FFF2-40B4-BE49-F238E27FC236}">
                  <a16:creationId xmlns:a16="http://schemas.microsoft.com/office/drawing/2014/main" id="{3E39BFFF-24A1-F246-939D-6EC4E0DFDA8D}"/>
                </a:ext>
              </a:extLst>
            </p:cNvPr>
            <p:cNvSpPr>
              <a:spLocks/>
            </p:cNvSpPr>
            <p:nvPr>
              <p:custDataLst>
                <p:tags r:id="rId11"/>
              </p:custDataLst>
            </p:nvPr>
          </p:nvSpPr>
          <p:spPr bwMode="gray">
            <a:xfrm>
              <a:off x="4556949" y="4911797"/>
              <a:ext cx="126060" cy="64290"/>
            </a:xfrm>
            <a:custGeom>
              <a:avLst/>
              <a:gdLst/>
              <a:ahLst/>
              <a:cxnLst>
                <a:cxn ang="0">
                  <a:pos x="36" y="43"/>
                </a:cxn>
                <a:cxn ang="0">
                  <a:pos x="32" y="43"/>
                </a:cxn>
                <a:cxn ang="0">
                  <a:pos x="28" y="43"/>
                </a:cxn>
                <a:cxn ang="0">
                  <a:pos x="24" y="39"/>
                </a:cxn>
                <a:cxn ang="0">
                  <a:pos x="28" y="35"/>
                </a:cxn>
                <a:cxn ang="0">
                  <a:pos x="24" y="27"/>
                </a:cxn>
                <a:cxn ang="0">
                  <a:pos x="24" y="23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2" y="8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4" y="8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60" y="20"/>
                </a:cxn>
                <a:cxn ang="0">
                  <a:pos x="68" y="16"/>
                </a:cxn>
                <a:cxn ang="0">
                  <a:pos x="68" y="16"/>
                </a:cxn>
                <a:cxn ang="0">
                  <a:pos x="72" y="16"/>
                </a:cxn>
                <a:cxn ang="0">
                  <a:pos x="76" y="16"/>
                </a:cxn>
                <a:cxn ang="0">
                  <a:pos x="76" y="16"/>
                </a:cxn>
                <a:cxn ang="0">
                  <a:pos x="80" y="20"/>
                </a:cxn>
                <a:cxn ang="0">
                  <a:pos x="80" y="20"/>
                </a:cxn>
                <a:cxn ang="0">
                  <a:pos x="84" y="20"/>
                </a:cxn>
                <a:cxn ang="0">
                  <a:pos x="84" y="23"/>
                </a:cxn>
                <a:cxn ang="0">
                  <a:pos x="92" y="31"/>
                </a:cxn>
                <a:cxn ang="0">
                  <a:pos x="96" y="35"/>
                </a:cxn>
                <a:cxn ang="0">
                  <a:pos x="96" y="35"/>
                </a:cxn>
                <a:cxn ang="0">
                  <a:pos x="92" y="35"/>
                </a:cxn>
                <a:cxn ang="0">
                  <a:pos x="96" y="43"/>
                </a:cxn>
                <a:cxn ang="0">
                  <a:pos x="100" y="47"/>
                </a:cxn>
                <a:cxn ang="0">
                  <a:pos x="100" y="51"/>
                </a:cxn>
                <a:cxn ang="0">
                  <a:pos x="96" y="47"/>
                </a:cxn>
                <a:cxn ang="0">
                  <a:pos x="92" y="47"/>
                </a:cxn>
                <a:cxn ang="0">
                  <a:pos x="88" y="47"/>
                </a:cxn>
                <a:cxn ang="0">
                  <a:pos x="84" y="47"/>
                </a:cxn>
                <a:cxn ang="0">
                  <a:pos x="80" y="43"/>
                </a:cxn>
                <a:cxn ang="0">
                  <a:pos x="76" y="47"/>
                </a:cxn>
                <a:cxn ang="0">
                  <a:pos x="72" y="47"/>
                </a:cxn>
                <a:cxn ang="0">
                  <a:pos x="64" y="47"/>
                </a:cxn>
                <a:cxn ang="0">
                  <a:pos x="60" y="47"/>
                </a:cxn>
                <a:cxn ang="0">
                  <a:pos x="56" y="51"/>
                </a:cxn>
                <a:cxn ang="0">
                  <a:pos x="52" y="51"/>
                </a:cxn>
                <a:cxn ang="0">
                  <a:pos x="52" y="47"/>
                </a:cxn>
                <a:cxn ang="0">
                  <a:pos x="44" y="43"/>
                </a:cxn>
                <a:cxn ang="0">
                  <a:pos x="40" y="39"/>
                </a:cxn>
              </a:cxnLst>
              <a:rect l="0" t="0" r="r" b="b"/>
              <a:pathLst>
                <a:path w="100" h="51">
                  <a:moveTo>
                    <a:pt x="40" y="39"/>
                  </a:moveTo>
                  <a:lnTo>
                    <a:pt x="40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6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32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8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8" y="35"/>
                  </a:lnTo>
                  <a:lnTo>
                    <a:pt x="24" y="31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7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3"/>
                  </a:lnTo>
                  <a:lnTo>
                    <a:pt x="84" y="23"/>
                  </a:lnTo>
                  <a:lnTo>
                    <a:pt x="84" y="23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84" y="27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2" y="31"/>
                  </a:lnTo>
                  <a:lnTo>
                    <a:pt x="96" y="31"/>
                  </a:lnTo>
                  <a:lnTo>
                    <a:pt x="96" y="31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6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5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2" y="39"/>
                  </a:lnTo>
                  <a:lnTo>
                    <a:pt x="96" y="43"/>
                  </a:lnTo>
                  <a:lnTo>
                    <a:pt x="96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3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47"/>
                  </a:lnTo>
                  <a:lnTo>
                    <a:pt x="100" y="51"/>
                  </a:lnTo>
                  <a:lnTo>
                    <a:pt x="100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51"/>
                  </a:lnTo>
                  <a:lnTo>
                    <a:pt x="96" y="47"/>
                  </a:lnTo>
                  <a:lnTo>
                    <a:pt x="96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92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8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76" y="43"/>
                  </a:lnTo>
                  <a:lnTo>
                    <a:pt x="76" y="43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6" y="47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51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52" y="47"/>
                  </a:lnTo>
                  <a:lnTo>
                    <a:pt x="48" y="47"/>
                  </a:lnTo>
                  <a:lnTo>
                    <a:pt x="48" y="47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lnTo>
                    <a:pt x="40" y="3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2" name="Freeform 16">
              <a:extLst>
                <a:ext uri="{FF2B5EF4-FFF2-40B4-BE49-F238E27FC236}">
                  <a16:creationId xmlns:a16="http://schemas.microsoft.com/office/drawing/2014/main" id="{FE4678BC-E003-8A42-845D-88672879A004}"/>
                </a:ext>
              </a:extLst>
            </p:cNvPr>
            <p:cNvSpPr>
              <a:spLocks noEditPoints="1"/>
            </p:cNvSpPr>
            <p:nvPr>
              <p:custDataLst>
                <p:tags r:id="rId12"/>
              </p:custDataLst>
            </p:nvPr>
          </p:nvSpPr>
          <p:spPr bwMode="gray">
            <a:xfrm>
              <a:off x="5096545" y="5116313"/>
              <a:ext cx="559219" cy="694592"/>
            </a:xfrm>
            <a:custGeom>
              <a:avLst/>
              <a:gdLst/>
              <a:ahLst/>
              <a:cxnLst>
                <a:cxn ang="0">
                  <a:pos x="32" y="220"/>
                </a:cxn>
                <a:cxn ang="0">
                  <a:pos x="36" y="196"/>
                </a:cxn>
                <a:cxn ang="0">
                  <a:pos x="28" y="160"/>
                </a:cxn>
                <a:cxn ang="0">
                  <a:pos x="56" y="148"/>
                </a:cxn>
                <a:cxn ang="0">
                  <a:pos x="88" y="104"/>
                </a:cxn>
                <a:cxn ang="0">
                  <a:pos x="99" y="72"/>
                </a:cxn>
                <a:cxn ang="0">
                  <a:pos x="88" y="40"/>
                </a:cxn>
                <a:cxn ang="0">
                  <a:pos x="103" y="20"/>
                </a:cxn>
                <a:cxn ang="0">
                  <a:pos x="139" y="8"/>
                </a:cxn>
                <a:cxn ang="0">
                  <a:pos x="163" y="24"/>
                </a:cxn>
                <a:cxn ang="0">
                  <a:pos x="167" y="64"/>
                </a:cxn>
                <a:cxn ang="0">
                  <a:pos x="159" y="84"/>
                </a:cxn>
                <a:cxn ang="0">
                  <a:pos x="195" y="108"/>
                </a:cxn>
                <a:cxn ang="0">
                  <a:pos x="187" y="140"/>
                </a:cxn>
                <a:cxn ang="0">
                  <a:pos x="227" y="160"/>
                </a:cxn>
                <a:cxn ang="0">
                  <a:pos x="255" y="176"/>
                </a:cxn>
                <a:cxn ang="0">
                  <a:pos x="291" y="180"/>
                </a:cxn>
                <a:cxn ang="0">
                  <a:pos x="303" y="152"/>
                </a:cxn>
                <a:cxn ang="0">
                  <a:pos x="331" y="176"/>
                </a:cxn>
                <a:cxn ang="0">
                  <a:pos x="363" y="164"/>
                </a:cxn>
                <a:cxn ang="0">
                  <a:pos x="379" y="140"/>
                </a:cxn>
                <a:cxn ang="0">
                  <a:pos x="415" y="124"/>
                </a:cxn>
                <a:cxn ang="0">
                  <a:pos x="427" y="144"/>
                </a:cxn>
                <a:cxn ang="0">
                  <a:pos x="435" y="164"/>
                </a:cxn>
                <a:cxn ang="0">
                  <a:pos x="403" y="196"/>
                </a:cxn>
                <a:cxn ang="0">
                  <a:pos x="379" y="228"/>
                </a:cxn>
                <a:cxn ang="0">
                  <a:pos x="379" y="260"/>
                </a:cxn>
                <a:cxn ang="0">
                  <a:pos x="367" y="240"/>
                </a:cxn>
                <a:cxn ang="0">
                  <a:pos x="351" y="244"/>
                </a:cxn>
                <a:cxn ang="0">
                  <a:pos x="367" y="212"/>
                </a:cxn>
                <a:cxn ang="0">
                  <a:pos x="327" y="196"/>
                </a:cxn>
                <a:cxn ang="0">
                  <a:pos x="311" y="180"/>
                </a:cxn>
                <a:cxn ang="0">
                  <a:pos x="315" y="204"/>
                </a:cxn>
                <a:cxn ang="0">
                  <a:pos x="307" y="220"/>
                </a:cxn>
                <a:cxn ang="0">
                  <a:pos x="315" y="268"/>
                </a:cxn>
                <a:cxn ang="0">
                  <a:pos x="307" y="276"/>
                </a:cxn>
                <a:cxn ang="0">
                  <a:pos x="299" y="260"/>
                </a:cxn>
                <a:cxn ang="0">
                  <a:pos x="279" y="295"/>
                </a:cxn>
                <a:cxn ang="0">
                  <a:pos x="259" y="307"/>
                </a:cxn>
                <a:cxn ang="0">
                  <a:pos x="239" y="335"/>
                </a:cxn>
                <a:cxn ang="0">
                  <a:pos x="215" y="363"/>
                </a:cxn>
                <a:cxn ang="0">
                  <a:pos x="191" y="379"/>
                </a:cxn>
                <a:cxn ang="0">
                  <a:pos x="179" y="423"/>
                </a:cxn>
                <a:cxn ang="0">
                  <a:pos x="175" y="455"/>
                </a:cxn>
                <a:cxn ang="0">
                  <a:pos x="163" y="491"/>
                </a:cxn>
                <a:cxn ang="0">
                  <a:pos x="139" y="523"/>
                </a:cxn>
                <a:cxn ang="0">
                  <a:pos x="119" y="491"/>
                </a:cxn>
                <a:cxn ang="0">
                  <a:pos x="111" y="459"/>
                </a:cxn>
                <a:cxn ang="0">
                  <a:pos x="92" y="411"/>
                </a:cxn>
                <a:cxn ang="0">
                  <a:pos x="80" y="383"/>
                </a:cxn>
                <a:cxn ang="0">
                  <a:pos x="72" y="331"/>
                </a:cxn>
                <a:cxn ang="0">
                  <a:pos x="68" y="307"/>
                </a:cxn>
                <a:cxn ang="0">
                  <a:pos x="68" y="272"/>
                </a:cxn>
                <a:cxn ang="0">
                  <a:pos x="68" y="260"/>
                </a:cxn>
                <a:cxn ang="0">
                  <a:pos x="56" y="284"/>
                </a:cxn>
                <a:cxn ang="0">
                  <a:pos x="12" y="264"/>
                </a:cxn>
                <a:cxn ang="0">
                  <a:pos x="36" y="244"/>
                </a:cxn>
                <a:cxn ang="0">
                  <a:pos x="8" y="232"/>
                </a:cxn>
                <a:cxn ang="0">
                  <a:pos x="367" y="463"/>
                </a:cxn>
                <a:cxn ang="0">
                  <a:pos x="387" y="539"/>
                </a:cxn>
                <a:cxn ang="0">
                  <a:pos x="371" y="435"/>
                </a:cxn>
                <a:cxn ang="0">
                  <a:pos x="371" y="459"/>
                </a:cxn>
                <a:cxn ang="0">
                  <a:pos x="367" y="475"/>
                </a:cxn>
              </a:cxnLst>
              <a:rect l="0" t="0" r="r" b="b"/>
              <a:pathLst>
                <a:path w="443" h="551">
                  <a:moveTo>
                    <a:pt x="0" y="232"/>
                  </a:moveTo>
                  <a:lnTo>
                    <a:pt x="0" y="228"/>
                  </a:lnTo>
                  <a:lnTo>
                    <a:pt x="4" y="228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12" y="220"/>
                  </a:lnTo>
                  <a:lnTo>
                    <a:pt x="12" y="224"/>
                  </a:lnTo>
                  <a:lnTo>
                    <a:pt x="16" y="224"/>
                  </a:lnTo>
                  <a:lnTo>
                    <a:pt x="20" y="224"/>
                  </a:lnTo>
                  <a:lnTo>
                    <a:pt x="24" y="224"/>
                  </a:lnTo>
                  <a:lnTo>
                    <a:pt x="28" y="224"/>
                  </a:lnTo>
                  <a:lnTo>
                    <a:pt x="28" y="220"/>
                  </a:lnTo>
                  <a:lnTo>
                    <a:pt x="32" y="220"/>
                  </a:lnTo>
                  <a:lnTo>
                    <a:pt x="36" y="220"/>
                  </a:lnTo>
                  <a:lnTo>
                    <a:pt x="36" y="224"/>
                  </a:lnTo>
                  <a:lnTo>
                    <a:pt x="40" y="224"/>
                  </a:lnTo>
                  <a:lnTo>
                    <a:pt x="40" y="220"/>
                  </a:lnTo>
                  <a:lnTo>
                    <a:pt x="44" y="220"/>
                  </a:lnTo>
                  <a:lnTo>
                    <a:pt x="40" y="220"/>
                  </a:lnTo>
                  <a:lnTo>
                    <a:pt x="40" y="216"/>
                  </a:lnTo>
                  <a:lnTo>
                    <a:pt x="44" y="216"/>
                  </a:lnTo>
                  <a:lnTo>
                    <a:pt x="40" y="212"/>
                  </a:lnTo>
                  <a:lnTo>
                    <a:pt x="40" y="208"/>
                  </a:lnTo>
                  <a:lnTo>
                    <a:pt x="40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2" y="196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6"/>
                  </a:lnTo>
                  <a:lnTo>
                    <a:pt x="20" y="172"/>
                  </a:lnTo>
                  <a:lnTo>
                    <a:pt x="20" y="168"/>
                  </a:lnTo>
                  <a:lnTo>
                    <a:pt x="20" y="164"/>
                  </a:lnTo>
                  <a:lnTo>
                    <a:pt x="24" y="164"/>
                  </a:lnTo>
                  <a:lnTo>
                    <a:pt x="24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36" y="152"/>
                  </a:lnTo>
                  <a:lnTo>
                    <a:pt x="36" y="156"/>
                  </a:lnTo>
                  <a:lnTo>
                    <a:pt x="40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8" y="152"/>
                  </a:lnTo>
                  <a:lnTo>
                    <a:pt x="52" y="152"/>
                  </a:lnTo>
                  <a:lnTo>
                    <a:pt x="56" y="152"/>
                  </a:lnTo>
                  <a:lnTo>
                    <a:pt x="56" y="148"/>
                  </a:lnTo>
                  <a:lnTo>
                    <a:pt x="60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2" y="128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80" y="112"/>
                  </a:lnTo>
                  <a:lnTo>
                    <a:pt x="84" y="112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8" y="100"/>
                  </a:lnTo>
                  <a:lnTo>
                    <a:pt x="92" y="96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9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88"/>
                  </a:lnTo>
                  <a:lnTo>
                    <a:pt x="96" y="84"/>
                  </a:lnTo>
                  <a:lnTo>
                    <a:pt x="96" y="80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9" y="72"/>
                  </a:lnTo>
                  <a:lnTo>
                    <a:pt x="103" y="72"/>
                  </a:lnTo>
                  <a:lnTo>
                    <a:pt x="107" y="72"/>
                  </a:lnTo>
                  <a:lnTo>
                    <a:pt x="107" y="68"/>
                  </a:lnTo>
                  <a:lnTo>
                    <a:pt x="107" y="64"/>
                  </a:lnTo>
                  <a:lnTo>
                    <a:pt x="103" y="64"/>
                  </a:lnTo>
                  <a:lnTo>
                    <a:pt x="99" y="64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0"/>
                  </a:lnTo>
                  <a:lnTo>
                    <a:pt x="88" y="40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88" y="28"/>
                  </a:lnTo>
                  <a:lnTo>
                    <a:pt x="88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92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5" y="20"/>
                  </a:lnTo>
                  <a:lnTo>
                    <a:pt x="119" y="20"/>
                  </a:lnTo>
                  <a:lnTo>
                    <a:pt x="123" y="16"/>
                  </a:lnTo>
                  <a:lnTo>
                    <a:pt x="127" y="16"/>
                  </a:lnTo>
                  <a:lnTo>
                    <a:pt x="127" y="20"/>
                  </a:lnTo>
                  <a:lnTo>
                    <a:pt x="131" y="20"/>
                  </a:lnTo>
                  <a:lnTo>
                    <a:pt x="131" y="16"/>
                  </a:lnTo>
                  <a:lnTo>
                    <a:pt x="131" y="12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7" y="4"/>
                  </a:lnTo>
                  <a:lnTo>
                    <a:pt x="147" y="0"/>
                  </a:lnTo>
                  <a:lnTo>
                    <a:pt x="147" y="4"/>
                  </a:lnTo>
                  <a:lnTo>
                    <a:pt x="147" y="8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1" y="20"/>
                  </a:lnTo>
                  <a:lnTo>
                    <a:pt x="155" y="20"/>
                  </a:lnTo>
                  <a:lnTo>
                    <a:pt x="159" y="20"/>
                  </a:lnTo>
                  <a:lnTo>
                    <a:pt x="163" y="24"/>
                  </a:lnTo>
                  <a:lnTo>
                    <a:pt x="163" y="28"/>
                  </a:lnTo>
                  <a:lnTo>
                    <a:pt x="159" y="28"/>
                  </a:lnTo>
                  <a:lnTo>
                    <a:pt x="159" y="32"/>
                  </a:lnTo>
                  <a:lnTo>
                    <a:pt x="159" y="36"/>
                  </a:lnTo>
                  <a:lnTo>
                    <a:pt x="159" y="40"/>
                  </a:lnTo>
                  <a:lnTo>
                    <a:pt x="159" y="44"/>
                  </a:lnTo>
                  <a:lnTo>
                    <a:pt x="163" y="44"/>
                  </a:lnTo>
                  <a:lnTo>
                    <a:pt x="163" y="48"/>
                  </a:lnTo>
                  <a:lnTo>
                    <a:pt x="167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71" y="56"/>
                  </a:lnTo>
                  <a:lnTo>
                    <a:pt x="171" y="60"/>
                  </a:lnTo>
                  <a:lnTo>
                    <a:pt x="167" y="64"/>
                  </a:lnTo>
                  <a:lnTo>
                    <a:pt x="167" y="60"/>
                  </a:lnTo>
                  <a:lnTo>
                    <a:pt x="163" y="64"/>
                  </a:lnTo>
                  <a:lnTo>
                    <a:pt x="159" y="64"/>
                  </a:lnTo>
                  <a:lnTo>
                    <a:pt x="159" y="60"/>
                  </a:lnTo>
                  <a:lnTo>
                    <a:pt x="155" y="60"/>
                  </a:lnTo>
                  <a:lnTo>
                    <a:pt x="155" y="64"/>
                  </a:lnTo>
                  <a:lnTo>
                    <a:pt x="155" y="68"/>
                  </a:lnTo>
                  <a:lnTo>
                    <a:pt x="155" y="72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9" y="84"/>
                  </a:lnTo>
                  <a:lnTo>
                    <a:pt x="159" y="88"/>
                  </a:lnTo>
                  <a:lnTo>
                    <a:pt x="159" y="84"/>
                  </a:lnTo>
                  <a:lnTo>
                    <a:pt x="163" y="84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71" y="92"/>
                  </a:lnTo>
                  <a:lnTo>
                    <a:pt x="175" y="92"/>
                  </a:lnTo>
                  <a:lnTo>
                    <a:pt x="179" y="96"/>
                  </a:lnTo>
                  <a:lnTo>
                    <a:pt x="183" y="96"/>
                  </a:lnTo>
                  <a:lnTo>
                    <a:pt x="179" y="100"/>
                  </a:lnTo>
                  <a:lnTo>
                    <a:pt x="183" y="100"/>
                  </a:lnTo>
                  <a:lnTo>
                    <a:pt x="187" y="104"/>
                  </a:lnTo>
                  <a:lnTo>
                    <a:pt x="191" y="104"/>
                  </a:lnTo>
                  <a:lnTo>
                    <a:pt x="191" y="108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87" y="112"/>
                  </a:lnTo>
                  <a:lnTo>
                    <a:pt x="187" y="116"/>
                  </a:lnTo>
                  <a:lnTo>
                    <a:pt x="183" y="116"/>
                  </a:lnTo>
                  <a:lnTo>
                    <a:pt x="183" y="120"/>
                  </a:lnTo>
                  <a:lnTo>
                    <a:pt x="179" y="124"/>
                  </a:lnTo>
                  <a:lnTo>
                    <a:pt x="183" y="124"/>
                  </a:lnTo>
                  <a:lnTo>
                    <a:pt x="183" y="128"/>
                  </a:lnTo>
                  <a:lnTo>
                    <a:pt x="179" y="128"/>
                  </a:lnTo>
                  <a:lnTo>
                    <a:pt x="179" y="132"/>
                  </a:lnTo>
                  <a:lnTo>
                    <a:pt x="179" y="136"/>
                  </a:lnTo>
                  <a:lnTo>
                    <a:pt x="183" y="136"/>
                  </a:lnTo>
                  <a:lnTo>
                    <a:pt x="183" y="140"/>
                  </a:lnTo>
                  <a:lnTo>
                    <a:pt x="187" y="140"/>
                  </a:lnTo>
                  <a:lnTo>
                    <a:pt x="187" y="136"/>
                  </a:lnTo>
                  <a:lnTo>
                    <a:pt x="187" y="140"/>
                  </a:lnTo>
                  <a:lnTo>
                    <a:pt x="191" y="140"/>
                  </a:lnTo>
                  <a:lnTo>
                    <a:pt x="195" y="144"/>
                  </a:lnTo>
                  <a:lnTo>
                    <a:pt x="199" y="148"/>
                  </a:lnTo>
                  <a:lnTo>
                    <a:pt x="203" y="152"/>
                  </a:lnTo>
                  <a:lnTo>
                    <a:pt x="207" y="152"/>
                  </a:lnTo>
                  <a:lnTo>
                    <a:pt x="211" y="152"/>
                  </a:lnTo>
                  <a:lnTo>
                    <a:pt x="211" y="156"/>
                  </a:lnTo>
                  <a:lnTo>
                    <a:pt x="215" y="156"/>
                  </a:lnTo>
                  <a:lnTo>
                    <a:pt x="219" y="156"/>
                  </a:lnTo>
                  <a:lnTo>
                    <a:pt x="219" y="160"/>
                  </a:lnTo>
                  <a:lnTo>
                    <a:pt x="223" y="160"/>
                  </a:lnTo>
                  <a:lnTo>
                    <a:pt x="227" y="160"/>
                  </a:lnTo>
                  <a:lnTo>
                    <a:pt x="227" y="164"/>
                  </a:lnTo>
                  <a:lnTo>
                    <a:pt x="227" y="160"/>
                  </a:lnTo>
                  <a:lnTo>
                    <a:pt x="231" y="160"/>
                  </a:lnTo>
                  <a:lnTo>
                    <a:pt x="235" y="160"/>
                  </a:lnTo>
                  <a:lnTo>
                    <a:pt x="235" y="164"/>
                  </a:lnTo>
                  <a:lnTo>
                    <a:pt x="235" y="160"/>
                  </a:lnTo>
                  <a:lnTo>
                    <a:pt x="239" y="160"/>
                  </a:lnTo>
                  <a:lnTo>
                    <a:pt x="243" y="164"/>
                  </a:lnTo>
                  <a:lnTo>
                    <a:pt x="247" y="164"/>
                  </a:lnTo>
                  <a:lnTo>
                    <a:pt x="247" y="168"/>
                  </a:lnTo>
                  <a:lnTo>
                    <a:pt x="251" y="168"/>
                  </a:lnTo>
                  <a:lnTo>
                    <a:pt x="251" y="172"/>
                  </a:lnTo>
                  <a:lnTo>
                    <a:pt x="255" y="172"/>
                  </a:lnTo>
                  <a:lnTo>
                    <a:pt x="255" y="176"/>
                  </a:lnTo>
                  <a:lnTo>
                    <a:pt x="259" y="176"/>
                  </a:lnTo>
                  <a:lnTo>
                    <a:pt x="259" y="172"/>
                  </a:lnTo>
                  <a:lnTo>
                    <a:pt x="263" y="172"/>
                  </a:lnTo>
                  <a:lnTo>
                    <a:pt x="263" y="176"/>
                  </a:lnTo>
                  <a:lnTo>
                    <a:pt x="267" y="180"/>
                  </a:lnTo>
                  <a:lnTo>
                    <a:pt x="267" y="176"/>
                  </a:lnTo>
                  <a:lnTo>
                    <a:pt x="271" y="176"/>
                  </a:lnTo>
                  <a:lnTo>
                    <a:pt x="275" y="176"/>
                  </a:lnTo>
                  <a:lnTo>
                    <a:pt x="275" y="180"/>
                  </a:lnTo>
                  <a:lnTo>
                    <a:pt x="279" y="180"/>
                  </a:lnTo>
                  <a:lnTo>
                    <a:pt x="283" y="180"/>
                  </a:lnTo>
                  <a:lnTo>
                    <a:pt x="287" y="180"/>
                  </a:lnTo>
                  <a:lnTo>
                    <a:pt x="287" y="184"/>
                  </a:lnTo>
                  <a:lnTo>
                    <a:pt x="291" y="180"/>
                  </a:lnTo>
                  <a:lnTo>
                    <a:pt x="295" y="180"/>
                  </a:lnTo>
                  <a:lnTo>
                    <a:pt x="299" y="180"/>
                  </a:lnTo>
                  <a:lnTo>
                    <a:pt x="299" y="184"/>
                  </a:lnTo>
                  <a:lnTo>
                    <a:pt x="299" y="180"/>
                  </a:lnTo>
                  <a:lnTo>
                    <a:pt x="303" y="176"/>
                  </a:lnTo>
                  <a:lnTo>
                    <a:pt x="303" y="172"/>
                  </a:lnTo>
                  <a:lnTo>
                    <a:pt x="299" y="172"/>
                  </a:lnTo>
                  <a:lnTo>
                    <a:pt x="299" y="168"/>
                  </a:lnTo>
                  <a:lnTo>
                    <a:pt x="299" y="164"/>
                  </a:lnTo>
                  <a:lnTo>
                    <a:pt x="299" y="160"/>
                  </a:lnTo>
                  <a:lnTo>
                    <a:pt x="303" y="156"/>
                  </a:lnTo>
                  <a:lnTo>
                    <a:pt x="303" y="152"/>
                  </a:lnTo>
                  <a:lnTo>
                    <a:pt x="299" y="152"/>
                  </a:lnTo>
                  <a:lnTo>
                    <a:pt x="303" y="152"/>
                  </a:lnTo>
                  <a:lnTo>
                    <a:pt x="307" y="148"/>
                  </a:lnTo>
                  <a:lnTo>
                    <a:pt x="311" y="148"/>
                  </a:lnTo>
                  <a:lnTo>
                    <a:pt x="311" y="152"/>
                  </a:lnTo>
                  <a:lnTo>
                    <a:pt x="311" y="156"/>
                  </a:lnTo>
                  <a:lnTo>
                    <a:pt x="311" y="160"/>
                  </a:lnTo>
                  <a:lnTo>
                    <a:pt x="311" y="164"/>
                  </a:lnTo>
                  <a:lnTo>
                    <a:pt x="311" y="168"/>
                  </a:lnTo>
                  <a:lnTo>
                    <a:pt x="311" y="172"/>
                  </a:lnTo>
                  <a:lnTo>
                    <a:pt x="315" y="172"/>
                  </a:lnTo>
                  <a:lnTo>
                    <a:pt x="319" y="172"/>
                  </a:lnTo>
                  <a:lnTo>
                    <a:pt x="323" y="172"/>
                  </a:lnTo>
                  <a:lnTo>
                    <a:pt x="323" y="176"/>
                  </a:lnTo>
                  <a:lnTo>
                    <a:pt x="327" y="176"/>
                  </a:lnTo>
                  <a:lnTo>
                    <a:pt x="331" y="176"/>
                  </a:lnTo>
                  <a:lnTo>
                    <a:pt x="331" y="172"/>
                  </a:lnTo>
                  <a:lnTo>
                    <a:pt x="335" y="172"/>
                  </a:lnTo>
                  <a:lnTo>
                    <a:pt x="339" y="172"/>
                  </a:lnTo>
                  <a:lnTo>
                    <a:pt x="339" y="176"/>
                  </a:lnTo>
                  <a:lnTo>
                    <a:pt x="343" y="176"/>
                  </a:lnTo>
                  <a:lnTo>
                    <a:pt x="347" y="172"/>
                  </a:lnTo>
                  <a:lnTo>
                    <a:pt x="347" y="176"/>
                  </a:lnTo>
                  <a:lnTo>
                    <a:pt x="351" y="176"/>
                  </a:lnTo>
                  <a:lnTo>
                    <a:pt x="351" y="172"/>
                  </a:lnTo>
                  <a:lnTo>
                    <a:pt x="355" y="172"/>
                  </a:lnTo>
                  <a:lnTo>
                    <a:pt x="359" y="172"/>
                  </a:lnTo>
                  <a:lnTo>
                    <a:pt x="363" y="172"/>
                  </a:lnTo>
                  <a:lnTo>
                    <a:pt x="359" y="168"/>
                  </a:lnTo>
                  <a:lnTo>
                    <a:pt x="363" y="164"/>
                  </a:lnTo>
                  <a:lnTo>
                    <a:pt x="359" y="164"/>
                  </a:lnTo>
                  <a:lnTo>
                    <a:pt x="359" y="160"/>
                  </a:lnTo>
                  <a:lnTo>
                    <a:pt x="355" y="160"/>
                  </a:lnTo>
                  <a:lnTo>
                    <a:pt x="355" y="156"/>
                  </a:lnTo>
                  <a:lnTo>
                    <a:pt x="359" y="156"/>
                  </a:lnTo>
                  <a:lnTo>
                    <a:pt x="363" y="156"/>
                  </a:lnTo>
                  <a:lnTo>
                    <a:pt x="363" y="152"/>
                  </a:lnTo>
                  <a:lnTo>
                    <a:pt x="363" y="156"/>
                  </a:lnTo>
                  <a:lnTo>
                    <a:pt x="367" y="152"/>
                  </a:lnTo>
                  <a:lnTo>
                    <a:pt x="371" y="152"/>
                  </a:lnTo>
                  <a:lnTo>
                    <a:pt x="371" y="148"/>
                  </a:lnTo>
                  <a:lnTo>
                    <a:pt x="375" y="144"/>
                  </a:lnTo>
                  <a:lnTo>
                    <a:pt x="379" y="144"/>
                  </a:lnTo>
                  <a:lnTo>
                    <a:pt x="379" y="140"/>
                  </a:lnTo>
                  <a:lnTo>
                    <a:pt x="383" y="136"/>
                  </a:lnTo>
                  <a:lnTo>
                    <a:pt x="387" y="136"/>
                  </a:lnTo>
                  <a:lnTo>
                    <a:pt x="391" y="136"/>
                  </a:lnTo>
                  <a:lnTo>
                    <a:pt x="391" y="132"/>
                  </a:lnTo>
                  <a:lnTo>
                    <a:pt x="395" y="128"/>
                  </a:lnTo>
                  <a:lnTo>
                    <a:pt x="399" y="128"/>
                  </a:lnTo>
                  <a:lnTo>
                    <a:pt x="399" y="124"/>
                  </a:lnTo>
                  <a:lnTo>
                    <a:pt x="403" y="124"/>
                  </a:lnTo>
                  <a:lnTo>
                    <a:pt x="403" y="128"/>
                  </a:lnTo>
                  <a:lnTo>
                    <a:pt x="407" y="128"/>
                  </a:lnTo>
                  <a:lnTo>
                    <a:pt x="411" y="132"/>
                  </a:lnTo>
                  <a:lnTo>
                    <a:pt x="411" y="128"/>
                  </a:lnTo>
                  <a:lnTo>
                    <a:pt x="415" y="128"/>
                  </a:lnTo>
                  <a:lnTo>
                    <a:pt x="415" y="124"/>
                  </a:lnTo>
                  <a:lnTo>
                    <a:pt x="419" y="124"/>
                  </a:lnTo>
                  <a:lnTo>
                    <a:pt x="423" y="120"/>
                  </a:lnTo>
                  <a:lnTo>
                    <a:pt x="423" y="124"/>
                  </a:lnTo>
                  <a:lnTo>
                    <a:pt x="423" y="128"/>
                  </a:lnTo>
                  <a:lnTo>
                    <a:pt x="427" y="124"/>
                  </a:lnTo>
                  <a:lnTo>
                    <a:pt x="427" y="128"/>
                  </a:lnTo>
                  <a:lnTo>
                    <a:pt x="423" y="128"/>
                  </a:lnTo>
                  <a:lnTo>
                    <a:pt x="423" y="132"/>
                  </a:lnTo>
                  <a:lnTo>
                    <a:pt x="427" y="132"/>
                  </a:lnTo>
                  <a:lnTo>
                    <a:pt x="427" y="128"/>
                  </a:lnTo>
                  <a:lnTo>
                    <a:pt x="427" y="132"/>
                  </a:lnTo>
                  <a:lnTo>
                    <a:pt x="431" y="136"/>
                  </a:lnTo>
                  <a:lnTo>
                    <a:pt x="427" y="140"/>
                  </a:lnTo>
                  <a:lnTo>
                    <a:pt x="427" y="144"/>
                  </a:lnTo>
                  <a:lnTo>
                    <a:pt x="431" y="140"/>
                  </a:lnTo>
                  <a:lnTo>
                    <a:pt x="431" y="144"/>
                  </a:lnTo>
                  <a:lnTo>
                    <a:pt x="435" y="144"/>
                  </a:lnTo>
                  <a:lnTo>
                    <a:pt x="439" y="144"/>
                  </a:lnTo>
                  <a:lnTo>
                    <a:pt x="439" y="148"/>
                  </a:lnTo>
                  <a:lnTo>
                    <a:pt x="443" y="152"/>
                  </a:lnTo>
                  <a:lnTo>
                    <a:pt x="439" y="152"/>
                  </a:lnTo>
                  <a:lnTo>
                    <a:pt x="439" y="156"/>
                  </a:lnTo>
                  <a:lnTo>
                    <a:pt x="435" y="156"/>
                  </a:lnTo>
                  <a:lnTo>
                    <a:pt x="435" y="160"/>
                  </a:lnTo>
                  <a:lnTo>
                    <a:pt x="435" y="164"/>
                  </a:lnTo>
                  <a:lnTo>
                    <a:pt x="439" y="168"/>
                  </a:lnTo>
                  <a:lnTo>
                    <a:pt x="435" y="168"/>
                  </a:lnTo>
                  <a:lnTo>
                    <a:pt x="435" y="164"/>
                  </a:lnTo>
                  <a:lnTo>
                    <a:pt x="431" y="164"/>
                  </a:lnTo>
                  <a:lnTo>
                    <a:pt x="427" y="164"/>
                  </a:lnTo>
                  <a:lnTo>
                    <a:pt x="423" y="164"/>
                  </a:lnTo>
                  <a:lnTo>
                    <a:pt x="419" y="168"/>
                  </a:lnTo>
                  <a:lnTo>
                    <a:pt x="415" y="172"/>
                  </a:lnTo>
                  <a:lnTo>
                    <a:pt x="411" y="172"/>
                  </a:lnTo>
                  <a:lnTo>
                    <a:pt x="411" y="176"/>
                  </a:lnTo>
                  <a:lnTo>
                    <a:pt x="407" y="176"/>
                  </a:lnTo>
                  <a:lnTo>
                    <a:pt x="407" y="180"/>
                  </a:lnTo>
                  <a:lnTo>
                    <a:pt x="407" y="184"/>
                  </a:lnTo>
                  <a:lnTo>
                    <a:pt x="407" y="188"/>
                  </a:lnTo>
                  <a:lnTo>
                    <a:pt x="407" y="192"/>
                  </a:lnTo>
                  <a:lnTo>
                    <a:pt x="407" y="196"/>
                  </a:lnTo>
                  <a:lnTo>
                    <a:pt x="403" y="196"/>
                  </a:lnTo>
                  <a:lnTo>
                    <a:pt x="403" y="200"/>
                  </a:lnTo>
                  <a:lnTo>
                    <a:pt x="399" y="200"/>
                  </a:lnTo>
                  <a:lnTo>
                    <a:pt x="399" y="204"/>
                  </a:lnTo>
                  <a:lnTo>
                    <a:pt x="403" y="208"/>
                  </a:lnTo>
                  <a:lnTo>
                    <a:pt x="399" y="212"/>
                  </a:lnTo>
                  <a:lnTo>
                    <a:pt x="399" y="216"/>
                  </a:lnTo>
                  <a:lnTo>
                    <a:pt x="395" y="220"/>
                  </a:lnTo>
                  <a:lnTo>
                    <a:pt x="395" y="224"/>
                  </a:lnTo>
                  <a:lnTo>
                    <a:pt x="395" y="228"/>
                  </a:lnTo>
                  <a:lnTo>
                    <a:pt x="391" y="232"/>
                  </a:lnTo>
                  <a:lnTo>
                    <a:pt x="391" y="228"/>
                  </a:lnTo>
                  <a:lnTo>
                    <a:pt x="387" y="228"/>
                  </a:lnTo>
                  <a:lnTo>
                    <a:pt x="383" y="228"/>
                  </a:lnTo>
                  <a:lnTo>
                    <a:pt x="379" y="228"/>
                  </a:lnTo>
                  <a:lnTo>
                    <a:pt x="379" y="224"/>
                  </a:lnTo>
                  <a:lnTo>
                    <a:pt x="379" y="228"/>
                  </a:lnTo>
                  <a:lnTo>
                    <a:pt x="379" y="232"/>
                  </a:lnTo>
                  <a:lnTo>
                    <a:pt x="383" y="236"/>
                  </a:lnTo>
                  <a:lnTo>
                    <a:pt x="379" y="240"/>
                  </a:lnTo>
                  <a:lnTo>
                    <a:pt x="379" y="244"/>
                  </a:lnTo>
                  <a:lnTo>
                    <a:pt x="379" y="248"/>
                  </a:lnTo>
                  <a:lnTo>
                    <a:pt x="379" y="244"/>
                  </a:lnTo>
                  <a:lnTo>
                    <a:pt x="375" y="244"/>
                  </a:lnTo>
                  <a:lnTo>
                    <a:pt x="375" y="248"/>
                  </a:lnTo>
                  <a:lnTo>
                    <a:pt x="375" y="252"/>
                  </a:lnTo>
                  <a:lnTo>
                    <a:pt x="375" y="256"/>
                  </a:lnTo>
                  <a:lnTo>
                    <a:pt x="379" y="256"/>
                  </a:lnTo>
                  <a:lnTo>
                    <a:pt x="379" y="260"/>
                  </a:lnTo>
                  <a:lnTo>
                    <a:pt x="379" y="264"/>
                  </a:lnTo>
                  <a:lnTo>
                    <a:pt x="375" y="264"/>
                  </a:lnTo>
                  <a:lnTo>
                    <a:pt x="375" y="260"/>
                  </a:lnTo>
                  <a:lnTo>
                    <a:pt x="375" y="264"/>
                  </a:lnTo>
                  <a:lnTo>
                    <a:pt x="371" y="264"/>
                  </a:lnTo>
                  <a:lnTo>
                    <a:pt x="367" y="268"/>
                  </a:lnTo>
                  <a:lnTo>
                    <a:pt x="367" y="264"/>
                  </a:lnTo>
                  <a:lnTo>
                    <a:pt x="367" y="260"/>
                  </a:lnTo>
                  <a:lnTo>
                    <a:pt x="367" y="256"/>
                  </a:lnTo>
                  <a:lnTo>
                    <a:pt x="367" y="252"/>
                  </a:lnTo>
                  <a:lnTo>
                    <a:pt x="367" y="248"/>
                  </a:lnTo>
                  <a:lnTo>
                    <a:pt x="363" y="244"/>
                  </a:lnTo>
                  <a:lnTo>
                    <a:pt x="367" y="244"/>
                  </a:lnTo>
                  <a:lnTo>
                    <a:pt x="367" y="240"/>
                  </a:lnTo>
                  <a:lnTo>
                    <a:pt x="363" y="240"/>
                  </a:lnTo>
                  <a:lnTo>
                    <a:pt x="363" y="236"/>
                  </a:lnTo>
                  <a:lnTo>
                    <a:pt x="363" y="232"/>
                  </a:lnTo>
                  <a:lnTo>
                    <a:pt x="359" y="236"/>
                  </a:lnTo>
                  <a:lnTo>
                    <a:pt x="359" y="232"/>
                  </a:lnTo>
                  <a:lnTo>
                    <a:pt x="359" y="236"/>
                  </a:lnTo>
                  <a:lnTo>
                    <a:pt x="359" y="240"/>
                  </a:lnTo>
                  <a:lnTo>
                    <a:pt x="355" y="240"/>
                  </a:lnTo>
                  <a:lnTo>
                    <a:pt x="355" y="244"/>
                  </a:lnTo>
                  <a:lnTo>
                    <a:pt x="355" y="248"/>
                  </a:lnTo>
                  <a:lnTo>
                    <a:pt x="351" y="248"/>
                  </a:lnTo>
                  <a:lnTo>
                    <a:pt x="351" y="244"/>
                  </a:lnTo>
                  <a:lnTo>
                    <a:pt x="351" y="240"/>
                  </a:lnTo>
                  <a:lnTo>
                    <a:pt x="351" y="244"/>
                  </a:lnTo>
                  <a:lnTo>
                    <a:pt x="347" y="240"/>
                  </a:lnTo>
                  <a:lnTo>
                    <a:pt x="347" y="236"/>
                  </a:lnTo>
                  <a:lnTo>
                    <a:pt x="347" y="232"/>
                  </a:lnTo>
                  <a:lnTo>
                    <a:pt x="347" y="228"/>
                  </a:lnTo>
                  <a:lnTo>
                    <a:pt x="351" y="224"/>
                  </a:lnTo>
                  <a:lnTo>
                    <a:pt x="351" y="228"/>
                  </a:lnTo>
                  <a:lnTo>
                    <a:pt x="351" y="224"/>
                  </a:lnTo>
                  <a:lnTo>
                    <a:pt x="355" y="224"/>
                  </a:lnTo>
                  <a:lnTo>
                    <a:pt x="359" y="224"/>
                  </a:lnTo>
                  <a:lnTo>
                    <a:pt x="359" y="220"/>
                  </a:lnTo>
                  <a:lnTo>
                    <a:pt x="363" y="220"/>
                  </a:lnTo>
                  <a:lnTo>
                    <a:pt x="363" y="216"/>
                  </a:lnTo>
                  <a:lnTo>
                    <a:pt x="363" y="212"/>
                  </a:lnTo>
                  <a:lnTo>
                    <a:pt x="367" y="212"/>
                  </a:lnTo>
                  <a:lnTo>
                    <a:pt x="367" y="208"/>
                  </a:lnTo>
                  <a:lnTo>
                    <a:pt x="363" y="208"/>
                  </a:lnTo>
                  <a:lnTo>
                    <a:pt x="363" y="204"/>
                  </a:lnTo>
                  <a:lnTo>
                    <a:pt x="359" y="204"/>
                  </a:lnTo>
                  <a:lnTo>
                    <a:pt x="355" y="204"/>
                  </a:lnTo>
                  <a:lnTo>
                    <a:pt x="351" y="204"/>
                  </a:lnTo>
                  <a:lnTo>
                    <a:pt x="347" y="204"/>
                  </a:lnTo>
                  <a:lnTo>
                    <a:pt x="343" y="204"/>
                  </a:lnTo>
                  <a:lnTo>
                    <a:pt x="339" y="204"/>
                  </a:lnTo>
                  <a:lnTo>
                    <a:pt x="335" y="204"/>
                  </a:lnTo>
                  <a:lnTo>
                    <a:pt x="331" y="204"/>
                  </a:lnTo>
                  <a:lnTo>
                    <a:pt x="327" y="204"/>
                  </a:lnTo>
                  <a:lnTo>
                    <a:pt x="327" y="200"/>
                  </a:lnTo>
                  <a:lnTo>
                    <a:pt x="327" y="196"/>
                  </a:lnTo>
                  <a:lnTo>
                    <a:pt x="327" y="192"/>
                  </a:lnTo>
                  <a:lnTo>
                    <a:pt x="327" y="188"/>
                  </a:lnTo>
                  <a:lnTo>
                    <a:pt x="323" y="188"/>
                  </a:lnTo>
                  <a:lnTo>
                    <a:pt x="323" y="184"/>
                  </a:lnTo>
                  <a:lnTo>
                    <a:pt x="323" y="188"/>
                  </a:lnTo>
                  <a:lnTo>
                    <a:pt x="319" y="188"/>
                  </a:lnTo>
                  <a:lnTo>
                    <a:pt x="315" y="188"/>
                  </a:lnTo>
                  <a:lnTo>
                    <a:pt x="315" y="184"/>
                  </a:lnTo>
                  <a:lnTo>
                    <a:pt x="315" y="180"/>
                  </a:lnTo>
                  <a:lnTo>
                    <a:pt x="311" y="180"/>
                  </a:lnTo>
                  <a:lnTo>
                    <a:pt x="311" y="184"/>
                  </a:lnTo>
                  <a:lnTo>
                    <a:pt x="315" y="184"/>
                  </a:lnTo>
                  <a:lnTo>
                    <a:pt x="311" y="184"/>
                  </a:lnTo>
                  <a:lnTo>
                    <a:pt x="311" y="180"/>
                  </a:lnTo>
                  <a:lnTo>
                    <a:pt x="307" y="180"/>
                  </a:lnTo>
                  <a:lnTo>
                    <a:pt x="307" y="176"/>
                  </a:lnTo>
                  <a:lnTo>
                    <a:pt x="303" y="180"/>
                  </a:lnTo>
                  <a:lnTo>
                    <a:pt x="307" y="180"/>
                  </a:lnTo>
                  <a:lnTo>
                    <a:pt x="307" y="184"/>
                  </a:lnTo>
                  <a:lnTo>
                    <a:pt x="303" y="184"/>
                  </a:lnTo>
                  <a:lnTo>
                    <a:pt x="303" y="188"/>
                  </a:lnTo>
                  <a:lnTo>
                    <a:pt x="299" y="192"/>
                  </a:lnTo>
                  <a:lnTo>
                    <a:pt x="303" y="192"/>
                  </a:lnTo>
                  <a:lnTo>
                    <a:pt x="307" y="196"/>
                  </a:lnTo>
                  <a:lnTo>
                    <a:pt x="307" y="200"/>
                  </a:lnTo>
                  <a:lnTo>
                    <a:pt x="311" y="200"/>
                  </a:lnTo>
                  <a:lnTo>
                    <a:pt x="311" y="204"/>
                  </a:lnTo>
                  <a:lnTo>
                    <a:pt x="315" y="204"/>
                  </a:lnTo>
                  <a:lnTo>
                    <a:pt x="311" y="204"/>
                  </a:lnTo>
                  <a:lnTo>
                    <a:pt x="307" y="204"/>
                  </a:lnTo>
                  <a:lnTo>
                    <a:pt x="307" y="208"/>
                  </a:lnTo>
                  <a:lnTo>
                    <a:pt x="303" y="208"/>
                  </a:lnTo>
                  <a:lnTo>
                    <a:pt x="303" y="212"/>
                  </a:lnTo>
                  <a:lnTo>
                    <a:pt x="303" y="208"/>
                  </a:lnTo>
                  <a:lnTo>
                    <a:pt x="299" y="212"/>
                  </a:lnTo>
                  <a:lnTo>
                    <a:pt x="303" y="212"/>
                  </a:lnTo>
                  <a:lnTo>
                    <a:pt x="299" y="212"/>
                  </a:lnTo>
                  <a:lnTo>
                    <a:pt x="299" y="216"/>
                  </a:lnTo>
                  <a:lnTo>
                    <a:pt x="303" y="220"/>
                  </a:lnTo>
                  <a:lnTo>
                    <a:pt x="307" y="220"/>
                  </a:lnTo>
                  <a:lnTo>
                    <a:pt x="307" y="224"/>
                  </a:lnTo>
                  <a:lnTo>
                    <a:pt x="307" y="220"/>
                  </a:lnTo>
                  <a:lnTo>
                    <a:pt x="311" y="220"/>
                  </a:lnTo>
                  <a:lnTo>
                    <a:pt x="311" y="224"/>
                  </a:lnTo>
                  <a:lnTo>
                    <a:pt x="311" y="228"/>
                  </a:lnTo>
                  <a:lnTo>
                    <a:pt x="307" y="232"/>
                  </a:lnTo>
                  <a:lnTo>
                    <a:pt x="307" y="236"/>
                  </a:lnTo>
                  <a:lnTo>
                    <a:pt x="311" y="236"/>
                  </a:lnTo>
                  <a:lnTo>
                    <a:pt x="311" y="240"/>
                  </a:lnTo>
                  <a:lnTo>
                    <a:pt x="311" y="244"/>
                  </a:lnTo>
                  <a:lnTo>
                    <a:pt x="315" y="244"/>
                  </a:lnTo>
                  <a:lnTo>
                    <a:pt x="311" y="244"/>
                  </a:lnTo>
                  <a:lnTo>
                    <a:pt x="311" y="248"/>
                  </a:lnTo>
                  <a:lnTo>
                    <a:pt x="315" y="260"/>
                  </a:lnTo>
                  <a:lnTo>
                    <a:pt x="315" y="264"/>
                  </a:lnTo>
                  <a:lnTo>
                    <a:pt x="315" y="268"/>
                  </a:lnTo>
                  <a:lnTo>
                    <a:pt x="315" y="272"/>
                  </a:lnTo>
                  <a:lnTo>
                    <a:pt x="311" y="272"/>
                  </a:lnTo>
                  <a:lnTo>
                    <a:pt x="311" y="276"/>
                  </a:lnTo>
                  <a:lnTo>
                    <a:pt x="311" y="272"/>
                  </a:lnTo>
                  <a:lnTo>
                    <a:pt x="311" y="268"/>
                  </a:lnTo>
                  <a:lnTo>
                    <a:pt x="311" y="264"/>
                  </a:lnTo>
                  <a:lnTo>
                    <a:pt x="311" y="268"/>
                  </a:lnTo>
                  <a:lnTo>
                    <a:pt x="307" y="268"/>
                  </a:lnTo>
                  <a:lnTo>
                    <a:pt x="307" y="264"/>
                  </a:lnTo>
                  <a:lnTo>
                    <a:pt x="311" y="264"/>
                  </a:lnTo>
                  <a:lnTo>
                    <a:pt x="307" y="264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7" y="276"/>
                  </a:lnTo>
                  <a:lnTo>
                    <a:pt x="307" y="272"/>
                  </a:lnTo>
                  <a:lnTo>
                    <a:pt x="307" y="268"/>
                  </a:lnTo>
                  <a:lnTo>
                    <a:pt x="307" y="272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303" y="272"/>
                  </a:lnTo>
                  <a:lnTo>
                    <a:pt x="303" y="276"/>
                  </a:lnTo>
                  <a:lnTo>
                    <a:pt x="303" y="272"/>
                  </a:lnTo>
                  <a:lnTo>
                    <a:pt x="303" y="268"/>
                  </a:lnTo>
                  <a:lnTo>
                    <a:pt x="299" y="268"/>
                  </a:lnTo>
                  <a:lnTo>
                    <a:pt x="303" y="264"/>
                  </a:lnTo>
                  <a:lnTo>
                    <a:pt x="299" y="260"/>
                  </a:lnTo>
                  <a:lnTo>
                    <a:pt x="299" y="256"/>
                  </a:lnTo>
                  <a:lnTo>
                    <a:pt x="299" y="260"/>
                  </a:lnTo>
                  <a:lnTo>
                    <a:pt x="299" y="264"/>
                  </a:lnTo>
                  <a:lnTo>
                    <a:pt x="303" y="264"/>
                  </a:lnTo>
                  <a:lnTo>
                    <a:pt x="299" y="264"/>
                  </a:lnTo>
                  <a:lnTo>
                    <a:pt x="299" y="268"/>
                  </a:lnTo>
                  <a:lnTo>
                    <a:pt x="295" y="272"/>
                  </a:lnTo>
                  <a:lnTo>
                    <a:pt x="291" y="272"/>
                  </a:lnTo>
                  <a:lnTo>
                    <a:pt x="287" y="276"/>
                  </a:lnTo>
                  <a:lnTo>
                    <a:pt x="283" y="276"/>
                  </a:lnTo>
                  <a:lnTo>
                    <a:pt x="283" y="280"/>
                  </a:lnTo>
                  <a:lnTo>
                    <a:pt x="283" y="284"/>
                  </a:lnTo>
                  <a:lnTo>
                    <a:pt x="283" y="288"/>
                  </a:lnTo>
                  <a:lnTo>
                    <a:pt x="283" y="292"/>
                  </a:lnTo>
                  <a:lnTo>
                    <a:pt x="279" y="292"/>
                  </a:lnTo>
                  <a:lnTo>
                    <a:pt x="279" y="295"/>
                  </a:lnTo>
                  <a:lnTo>
                    <a:pt x="279" y="299"/>
                  </a:lnTo>
                  <a:lnTo>
                    <a:pt x="275" y="299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5" y="303"/>
                  </a:lnTo>
                  <a:lnTo>
                    <a:pt x="271" y="303"/>
                  </a:lnTo>
                  <a:lnTo>
                    <a:pt x="271" y="307"/>
                  </a:lnTo>
                  <a:lnTo>
                    <a:pt x="267" y="307"/>
                  </a:lnTo>
                  <a:lnTo>
                    <a:pt x="263" y="307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63" y="307"/>
                  </a:lnTo>
                  <a:lnTo>
                    <a:pt x="259" y="303"/>
                  </a:lnTo>
                  <a:lnTo>
                    <a:pt x="259" y="307"/>
                  </a:lnTo>
                  <a:lnTo>
                    <a:pt x="255" y="307"/>
                  </a:lnTo>
                  <a:lnTo>
                    <a:pt x="255" y="311"/>
                  </a:lnTo>
                  <a:lnTo>
                    <a:pt x="259" y="311"/>
                  </a:lnTo>
                  <a:lnTo>
                    <a:pt x="259" y="307"/>
                  </a:lnTo>
                  <a:lnTo>
                    <a:pt x="259" y="311"/>
                  </a:lnTo>
                  <a:lnTo>
                    <a:pt x="255" y="311"/>
                  </a:lnTo>
                  <a:lnTo>
                    <a:pt x="255" y="315"/>
                  </a:lnTo>
                  <a:lnTo>
                    <a:pt x="251" y="319"/>
                  </a:lnTo>
                  <a:lnTo>
                    <a:pt x="247" y="319"/>
                  </a:lnTo>
                  <a:lnTo>
                    <a:pt x="251" y="319"/>
                  </a:lnTo>
                  <a:lnTo>
                    <a:pt x="247" y="323"/>
                  </a:lnTo>
                  <a:lnTo>
                    <a:pt x="247" y="327"/>
                  </a:lnTo>
                  <a:lnTo>
                    <a:pt x="243" y="331"/>
                  </a:lnTo>
                  <a:lnTo>
                    <a:pt x="239" y="335"/>
                  </a:lnTo>
                  <a:lnTo>
                    <a:pt x="235" y="335"/>
                  </a:lnTo>
                  <a:lnTo>
                    <a:pt x="235" y="339"/>
                  </a:lnTo>
                  <a:lnTo>
                    <a:pt x="231" y="339"/>
                  </a:lnTo>
                  <a:lnTo>
                    <a:pt x="231" y="343"/>
                  </a:lnTo>
                  <a:lnTo>
                    <a:pt x="227" y="343"/>
                  </a:lnTo>
                  <a:lnTo>
                    <a:pt x="227" y="347"/>
                  </a:lnTo>
                  <a:lnTo>
                    <a:pt x="223" y="351"/>
                  </a:lnTo>
                  <a:lnTo>
                    <a:pt x="219" y="351"/>
                  </a:lnTo>
                  <a:lnTo>
                    <a:pt x="219" y="355"/>
                  </a:lnTo>
                  <a:lnTo>
                    <a:pt x="215" y="355"/>
                  </a:lnTo>
                  <a:lnTo>
                    <a:pt x="215" y="359"/>
                  </a:lnTo>
                  <a:lnTo>
                    <a:pt x="211" y="359"/>
                  </a:lnTo>
                  <a:lnTo>
                    <a:pt x="211" y="363"/>
                  </a:lnTo>
                  <a:lnTo>
                    <a:pt x="215" y="363"/>
                  </a:lnTo>
                  <a:lnTo>
                    <a:pt x="211" y="363"/>
                  </a:lnTo>
                  <a:lnTo>
                    <a:pt x="211" y="367"/>
                  </a:lnTo>
                  <a:lnTo>
                    <a:pt x="211" y="371"/>
                  </a:lnTo>
                  <a:lnTo>
                    <a:pt x="207" y="371"/>
                  </a:lnTo>
                  <a:lnTo>
                    <a:pt x="203" y="371"/>
                  </a:lnTo>
                  <a:lnTo>
                    <a:pt x="199" y="371"/>
                  </a:lnTo>
                  <a:lnTo>
                    <a:pt x="195" y="371"/>
                  </a:lnTo>
                  <a:lnTo>
                    <a:pt x="195" y="375"/>
                  </a:lnTo>
                  <a:lnTo>
                    <a:pt x="195" y="379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91" y="383"/>
                  </a:lnTo>
                  <a:lnTo>
                    <a:pt x="191" y="379"/>
                  </a:lnTo>
                  <a:lnTo>
                    <a:pt x="187" y="379"/>
                  </a:lnTo>
                  <a:lnTo>
                    <a:pt x="183" y="383"/>
                  </a:lnTo>
                  <a:lnTo>
                    <a:pt x="179" y="387"/>
                  </a:lnTo>
                  <a:lnTo>
                    <a:pt x="179" y="391"/>
                  </a:lnTo>
                  <a:lnTo>
                    <a:pt x="179" y="395"/>
                  </a:lnTo>
                  <a:lnTo>
                    <a:pt x="179" y="399"/>
                  </a:lnTo>
                  <a:lnTo>
                    <a:pt x="179" y="403"/>
                  </a:lnTo>
                  <a:lnTo>
                    <a:pt x="179" y="407"/>
                  </a:lnTo>
                  <a:lnTo>
                    <a:pt x="179" y="411"/>
                  </a:lnTo>
                  <a:lnTo>
                    <a:pt x="179" y="415"/>
                  </a:lnTo>
                  <a:lnTo>
                    <a:pt x="179" y="419"/>
                  </a:lnTo>
                  <a:lnTo>
                    <a:pt x="183" y="419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3"/>
                  </a:lnTo>
                  <a:lnTo>
                    <a:pt x="183" y="427"/>
                  </a:lnTo>
                  <a:lnTo>
                    <a:pt x="183" y="423"/>
                  </a:lnTo>
                  <a:lnTo>
                    <a:pt x="179" y="419"/>
                  </a:lnTo>
                  <a:lnTo>
                    <a:pt x="179" y="423"/>
                  </a:lnTo>
                  <a:lnTo>
                    <a:pt x="183" y="427"/>
                  </a:lnTo>
                  <a:lnTo>
                    <a:pt x="183" y="431"/>
                  </a:lnTo>
                  <a:lnTo>
                    <a:pt x="183" y="435"/>
                  </a:lnTo>
                  <a:lnTo>
                    <a:pt x="183" y="439"/>
                  </a:lnTo>
                  <a:lnTo>
                    <a:pt x="179" y="439"/>
                  </a:lnTo>
                  <a:lnTo>
                    <a:pt x="179" y="443"/>
                  </a:lnTo>
                  <a:lnTo>
                    <a:pt x="179" y="447"/>
                  </a:lnTo>
                  <a:lnTo>
                    <a:pt x="175" y="451"/>
                  </a:lnTo>
                  <a:lnTo>
                    <a:pt x="175" y="455"/>
                  </a:lnTo>
                  <a:lnTo>
                    <a:pt x="175" y="459"/>
                  </a:lnTo>
                  <a:lnTo>
                    <a:pt x="175" y="463"/>
                  </a:lnTo>
                  <a:lnTo>
                    <a:pt x="175" y="467"/>
                  </a:lnTo>
                  <a:lnTo>
                    <a:pt x="175" y="471"/>
                  </a:lnTo>
                  <a:lnTo>
                    <a:pt x="175" y="475"/>
                  </a:lnTo>
                  <a:lnTo>
                    <a:pt x="175" y="479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75" y="483"/>
                  </a:lnTo>
                  <a:lnTo>
                    <a:pt x="171" y="483"/>
                  </a:lnTo>
                  <a:lnTo>
                    <a:pt x="167" y="483"/>
                  </a:lnTo>
                  <a:lnTo>
                    <a:pt x="167" y="487"/>
                  </a:lnTo>
                  <a:lnTo>
                    <a:pt x="167" y="491"/>
                  </a:lnTo>
                  <a:lnTo>
                    <a:pt x="163" y="491"/>
                  </a:lnTo>
                  <a:lnTo>
                    <a:pt x="163" y="495"/>
                  </a:lnTo>
                  <a:lnTo>
                    <a:pt x="159" y="499"/>
                  </a:lnTo>
                  <a:lnTo>
                    <a:pt x="163" y="499"/>
                  </a:lnTo>
                  <a:lnTo>
                    <a:pt x="163" y="503"/>
                  </a:lnTo>
                  <a:lnTo>
                    <a:pt x="167" y="503"/>
                  </a:lnTo>
                  <a:lnTo>
                    <a:pt x="163" y="503"/>
                  </a:lnTo>
                  <a:lnTo>
                    <a:pt x="159" y="503"/>
                  </a:lnTo>
                  <a:lnTo>
                    <a:pt x="155" y="507"/>
                  </a:lnTo>
                  <a:lnTo>
                    <a:pt x="151" y="507"/>
                  </a:lnTo>
                  <a:lnTo>
                    <a:pt x="151" y="511"/>
                  </a:lnTo>
                  <a:lnTo>
                    <a:pt x="151" y="515"/>
                  </a:lnTo>
                  <a:lnTo>
                    <a:pt x="147" y="519"/>
                  </a:lnTo>
                  <a:lnTo>
                    <a:pt x="143" y="523"/>
                  </a:lnTo>
                  <a:lnTo>
                    <a:pt x="139" y="523"/>
                  </a:lnTo>
                  <a:lnTo>
                    <a:pt x="135" y="523"/>
                  </a:lnTo>
                  <a:lnTo>
                    <a:pt x="135" y="519"/>
                  </a:lnTo>
                  <a:lnTo>
                    <a:pt x="131" y="519"/>
                  </a:lnTo>
                  <a:lnTo>
                    <a:pt x="131" y="515"/>
                  </a:lnTo>
                  <a:lnTo>
                    <a:pt x="127" y="515"/>
                  </a:lnTo>
                  <a:lnTo>
                    <a:pt x="127" y="511"/>
                  </a:lnTo>
                  <a:lnTo>
                    <a:pt x="127" y="507"/>
                  </a:lnTo>
                  <a:lnTo>
                    <a:pt x="123" y="507"/>
                  </a:lnTo>
                  <a:lnTo>
                    <a:pt x="123" y="503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19" y="491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23" y="495"/>
                  </a:lnTo>
                  <a:lnTo>
                    <a:pt x="123" y="499"/>
                  </a:lnTo>
                  <a:lnTo>
                    <a:pt x="123" y="495"/>
                  </a:lnTo>
                  <a:lnTo>
                    <a:pt x="123" y="491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91"/>
                  </a:lnTo>
                  <a:lnTo>
                    <a:pt x="119" y="487"/>
                  </a:lnTo>
                  <a:lnTo>
                    <a:pt x="119" y="483"/>
                  </a:lnTo>
                  <a:lnTo>
                    <a:pt x="119" y="479"/>
                  </a:lnTo>
                  <a:lnTo>
                    <a:pt x="115" y="475"/>
                  </a:lnTo>
                  <a:lnTo>
                    <a:pt x="115" y="471"/>
                  </a:lnTo>
                  <a:lnTo>
                    <a:pt x="111" y="463"/>
                  </a:lnTo>
                  <a:lnTo>
                    <a:pt x="111" y="459"/>
                  </a:lnTo>
                  <a:lnTo>
                    <a:pt x="107" y="455"/>
                  </a:lnTo>
                  <a:lnTo>
                    <a:pt x="107" y="451"/>
                  </a:lnTo>
                  <a:lnTo>
                    <a:pt x="103" y="451"/>
                  </a:lnTo>
                  <a:lnTo>
                    <a:pt x="103" y="447"/>
                  </a:lnTo>
                  <a:lnTo>
                    <a:pt x="103" y="443"/>
                  </a:lnTo>
                  <a:lnTo>
                    <a:pt x="99" y="439"/>
                  </a:lnTo>
                  <a:lnTo>
                    <a:pt x="99" y="435"/>
                  </a:lnTo>
                  <a:lnTo>
                    <a:pt x="99" y="431"/>
                  </a:lnTo>
                  <a:lnTo>
                    <a:pt x="99" y="427"/>
                  </a:lnTo>
                  <a:lnTo>
                    <a:pt x="96" y="423"/>
                  </a:lnTo>
                  <a:lnTo>
                    <a:pt x="96" y="419"/>
                  </a:lnTo>
                  <a:lnTo>
                    <a:pt x="96" y="415"/>
                  </a:lnTo>
                  <a:lnTo>
                    <a:pt x="96" y="411"/>
                  </a:lnTo>
                  <a:lnTo>
                    <a:pt x="92" y="411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92" y="407"/>
                  </a:lnTo>
                  <a:lnTo>
                    <a:pt x="92" y="403"/>
                  </a:lnTo>
                  <a:lnTo>
                    <a:pt x="88" y="403"/>
                  </a:lnTo>
                  <a:lnTo>
                    <a:pt x="88" y="399"/>
                  </a:lnTo>
                  <a:lnTo>
                    <a:pt x="88" y="395"/>
                  </a:lnTo>
                  <a:lnTo>
                    <a:pt x="84" y="391"/>
                  </a:lnTo>
                  <a:lnTo>
                    <a:pt x="84" y="387"/>
                  </a:lnTo>
                  <a:lnTo>
                    <a:pt x="88" y="391"/>
                  </a:lnTo>
                  <a:lnTo>
                    <a:pt x="88" y="387"/>
                  </a:lnTo>
                  <a:lnTo>
                    <a:pt x="84" y="387"/>
                  </a:lnTo>
                  <a:lnTo>
                    <a:pt x="84" y="383"/>
                  </a:lnTo>
                  <a:lnTo>
                    <a:pt x="80" y="383"/>
                  </a:lnTo>
                  <a:lnTo>
                    <a:pt x="80" y="379"/>
                  </a:lnTo>
                  <a:lnTo>
                    <a:pt x="80" y="375"/>
                  </a:lnTo>
                  <a:lnTo>
                    <a:pt x="76" y="371"/>
                  </a:lnTo>
                  <a:lnTo>
                    <a:pt x="76" y="367"/>
                  </a:lnTo>
                  <a:lnTo>
                    <a:pt x="76" y="363"/>
                  </a:lnTo>
                  <a:lnTo>
                    <a:pt x="76" y="359"/>
                  </a:lnTo>
                  <a:lnTo>
                    <a:pt x="76" y="355"/>
                  </a:lnTo>
                  <a:lnTo>
                    <a:pt x="76" y="351"/>
                  </a:lnTo>
                  <a:lnTo>
                    <a:pt x="76" y="347"/>
                  </a:lnTo>
                  <a:lnTo>
                    <a:pt x="72" y="347"/>
                  </a:lnTo>
                  <a:lnTo>
                    <a:pt x="72" y="343"/>
                  </a:lnTo>
                  <a:lnTo>
                    <a:pt x="72" y="339"/>
                  </a:lnTo>
                  <a:lnTo>
                    <a:pt x="72" y="335"/>
                  </a:lnTo>
                  <a:lnTo>
                    <a:pt x="72" y="331"/>
                  </a:lnTo>
                  <a:lnTo>
                    <a:pt x="68" y="327"/>
                  </a:lnTo>
                  <a:lnTo>
                    <a:pt x="72" y="327"/>
                  </a:lnTo>
                  <a:lnTo>
                    <a:pt x="72" y="323"/>
                  </a:lnTo>
                  <a:lnTo>
                    <a:pt x="72" y="319"/>
                  </a:lnTo>
                  <a:lnTo>
                    <a:pt x="72" y="323"/>
                  </a:lnTo>
                  <a:lnTo>
                    <a:pt x="68" y="323"/>
                  </a:lnTo>
                  <a:lnTo>
                    <a:pt x="68" y="319"/>
                  </a:lnTo>
                  <a:lnTo>
                    <a:pt x="68" y="315"/>
                  </a:lnTo>
                  <a:lnTo>
                    <a:pt x="72" y="315"/>
                  </a:lnTo>
                  <a:lnTo>
                    <a:pt x="72" y="319"/>
                  </a:lnTo>
                  <a:lnTo>
                    <a:pt x="72" y="315"/>
                  </a:lnTo>
                  <a:lnTo>
                    <a:pt x="68" y="315"/>
                  </a:lnTo>
                  <a:lnTo>
                    <a:pt x="68" y="311"/>
                  </a:lnTo>
                  <a:lnTo>
                    <a:pt x="68" y="307"/>
                  </a:lnTo>
                  <a:lnTo>
                    <a:pt x="68" y="303"/>
                  </a:lnTo>
                  <a:lnTo>
                    <a:pt x="68" y="299"/>
                  </a:lnTo>
                  <a:lnTo>
                    <a:pt x="68" y="295"/>
                  </a:lnTo>
                  <a:lnTo>
                    <a:pt x="72" y="295"/>
                  </a:lnTo>
                  <a:lnTo>
                    <a:pt x="72" y="288"/>
                  </a:lnTo>
                  <a:lnTo>
                    <a:pt x="68" y="288"/>
                  </a:lnTo>
                  <a:lnTo>
                    <a:pt x="68" y="284"/>
                  </a:lnTo>
                  <a:lnTo>
                    <a:pt x="68" y="280"/>
                  </a:lnTo>
                  <a:lnTo>
                    <a:pt x="64" y="280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4" y="276"/>
                  </a:lnTo>
                  <a:lnTo>
                    <a:pt x="68" y="276"/>
                  </a:lnTo>
                  <a:lnTo>
                    <a:pt x="68" y="272"/>
                  </a:lnTo>
                  <a:lnTo>
                    <a:pt x="72" y="272"/>
                  </a:lnTo>
                  <a:lnTo>
                    <a:pt x="76" y="272"/>
                  </a:lnTo>
                  <a:lnTo>
                    <a:pt x="72" y="272"/>
                  </a:lnTo>
                  <a:lnTo>
                    <a:pt x="68" y="272"/>
                  </a:lnTo>
                  <a:lnTo>
                    <a:pt x="64" y="272"/>
                  </a:lnTo>
                  <a:lnTo>
                    <a:pt x="64" y="268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4" y="264"/>
                  </a:lnTo>
                  <a:lnTo>
                    <a:pt x="68" y="260"/>
                  </a:lnTo>
                  <a:lnTo>
                    <a:pt x="68" y="264"/>
                  </a:lnTo>
                  <a:lnTo>
                    <a:pt x="68" y="260"/>
                  </a:lnTo>
                  <a:lnTo>
                    <a:pt x="72" y="260"/>
                  </a:lnTo>
                  <a:lnTo>
                    <a:pt x="68" y="260"/>
                  </a:lnTo>
                  <a:lnTo>
                    <a:pt x="64" y="260"/>
                  </a:lnTo>
                  <a:lnTo>
                    <a:pt x="60" y="260"/>
                  </a:lnTo>
                  <a:lnTo>
                    <a:pt x="60" y="264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60" y="268"/>
                  </a:lnTo>
                  <a:lnTo>
                    <a:pt x="56" y="268"/>
                  </a:lnTo>
                  <a:lnTo>
                    <a:pt x="56" y="272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60" y="276"/>
                  </a:lnTo>
                  <a:lnTo>
                    <a:pt x="60" y="280"/>
                  </a:lnTo>
                  <a:lnTo>
                    <a:pt x="56" y="280"/>
                  </a:lnTo>
                  <a:lnTo>
                    <a:pt x="56" y="284"/>
                  </a:lnTo>
                  <a:lnTo>
                    <a:pt x="52" y="284"/>
                  </a:lnTo>
                  <a:lnTo>
                    <a:pt x="48" y="288"/>
                  </a:lnTo>
                  <a:lnTo>
                    <a:pt x="44" y="288"/>
                  </a:lnTo>
                  <a:lnTo>
                    <a:pt x="40" y="292"/>
                  </a:lnTo>
                  <a:lnTo>
                    <a:pt x="36" y="288"/>
                  </a:lnTo>
                  <a:lnTo>
                    <a:pt x="32" y="288"/>
                  </a:lnTo>
                  <a:lnTo>
                    <a:pt x="32" y="284"/>
                  </a:lnTo>
                  <a:lnTo>
                    <a:pt x="28" y="284"/>
                  </a:lnTo>
                  <a:lnTo>
                    <a:pt x="28" y="280"/>
                  </a:lnTo>
                  <a:lnTo>
                    <a:pt x="24" y="280"/>
                  </a:lnTo>
                  <a:lnTo>
                    <a:pt x="24" y="276"/>
                  </a:lnTo>
                  <a:lnTo>
                    <a:pt x="20" y="272"/>
                  </a:lnTo>
                  <a:lnTo>
                    <a:pt x="16" y="268"/>
                  </a:lnTo>
                  <a:lnTo>
                    <a:pt x="12" y="264"/>
                  </a:lnTo>
                  <a:lnTo>
                    <a:pt x="12" y="260"/>
                  </a:lnTo>
                  <a:lnTo>
                    <a:pt x="12" y="256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12" y="260"/>
                  </a:lnTo>
                  <a:lnTo>
                    <a:pt x="16" y="260"/>
                  </a:lnTo>
                  <a:lnTo>
                    <a:pt x="20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8" y="256"/>
                  </a:lnTo>
                  <a:lnTo>
                    <a:pt x="32" y="252"/>
                  </a:lnTo>
                  <a:lnTo>
                    <a:pt x="32" y="248"/>
                  </a:lnTo>
                  <a:lnTo>
                    <a:pt x="36" y="248"/>
                  </a:lnTo>
                  <a:lnTo>
                    <a:pt x="36" y="244"/>
                  </a:lnTo>
                  <a:lnTo>
                    <a:pt x="32" y="244"/>
                  </a:lnTo>
                  <a:lnTo>
                    <a:pt x="32" y="248"/>
                  </a:lnTo>
                  <a:lnTo>
                    <a:pt x="24" y="248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44"/>
                  </a:lnTo>
                  <a:lnTo>
                    <a:pt x="4" y="240"/>
                  </a:lnTo>
                  <a:lnTo>
                    <a:pt x="4" y="236"/>
                  </a:lnTo>
                  <a:lnTo>
                    <a:pt x="4" y="232"/>
                  </a:lnTo>
                  <a:lnTo>
                    <a:pt x="8" y="232"/>
                  </a:lnTo>
                  <a:lnTo>
                    <a:pt x="4" y="232"/>
                  </a:lnTo>
                  <a:lnTo>
                    <a:pt x="0" y="236"/>
                  </a:lnTo>
                  <a:lnTo>
                    <a:pt x="0" y="232"/>
                  </a:lnTo>
                  <a:close/>
                  <a:moveTo>
                    <a:pt x="303" y="268"/>
                  </a:moveTo>
                  <a:lnTo>
                    <a:pt x="303" y="272"/>
                  </a:lnTo>
                  <a:lnTo>
                    <a:pt x="299" y="272"/>
                  </a:lnTo>
                  <a:lnTo>
                    <a:pt x="299" y="268"/>
                  </a:lnTo>
                  <a:lnTo>
                    <a:pt x="303" y="268"/>
                  </a:lnTo>
                  <a:close/>
                  <a:moveTo>
                    <a:pt x="371" y="451"/>
                  </a:moveTo>
                  <a:lnTo>
                    <a:pt x="371" y="447"/>
                  </a:lnTo>
                  <a:lnTo>
                    <a:pt x="375" y="447"/>
                  </a:lnTo>
                  <a:lnTo>
                    <a:pt x="371" y="451"/>
                  </a:lnTo>
                  <a:close/>
                  <a:moveTo>
                    <a:pt x="371" y="463"/>
                  </a:moveTo>
                  <a:lnTo>
                    <a:pt x="367" y="463"/>
                  </a:lnTo>
                  <a:lnTo>
                    <a:pt x="371" y="463"/>
                  </a:lnTo>
                  <a:close/>
                  <a:moveTo>
                    <a:pt x="371" y="503"/>
                  </a:moveTo>
                  <a:lnTo>
                    <a:pt x="371" y="507"/>
                  </a:lnTo>
                  <a:lnTo>
                    <a:pt x="371" y="503"/>
                  </a:lnTo>
                  <a:close/>
                  <a:moveTo>
                    <a:pt x="72" y="519"/>
                  </a:moveTo>
                  <a:lnTo>
                    <a:pt x="72" y="523"/>
                  </a:lnTo>
                  <a:lnTo>
                    <a:pt x="72" y="519"/>
                  </a:lnTo>
                  <a:close/>
                  <a:moveTo>
                    <a:pt x="383" y="523"/>
                  </a:moveTo>
                  <a:lnTo>
                    <a:pt x="383" y="527"/>
                  </a:lnTo>
                  <a:lnTo>
                    <a:pt x="383" y="523"/>
                  </a:lnTo>
                  <a:close/>
                  <a:moveTo>
                    <a:pt x="379" y="527"/>
                  </a:moveTo>
                  <a:lnTo>
                    <a:pt x="383" y="527"/>
                  </a:lnTo>
                  <a:lnTo>
                    <a:pt x="379" y="527"/>
                  </a:lnTo>
                  <a:close/>
                  <a:moveTo>
                    <a:pt x="387" y="539"/>
                  </a:moveTo>
                  <a:lnTo>
                    <a:pt x="383" y="539"/>
                  </a:lnTo>
                  <a:lnTo>
                    <a:pt x="387" y="539"/>
                  </a:lnTo>
                  <a:lnTo>
                    <a:pt x="387" y="535"/>
                  </a:lnTo>
                  <a:lnTo>
                    <a:pt x="387" y="539"/>
                  </a:lnTo>
                  <a:close/>
                  <a:moveTo>
                    <a:pt x="371" y="435"/>
                  </a:moveTo>
                  <a:lnTo>
                    <a:pt x="371" y="431"/>
                  </a:lnTo>
                  <a:lnTo>
                    <a:pt x="371" y="427"/>
                  </a:lnTo>
                  <a:lnTo>
                    <a:pt x="375" y="427"/>
                  </a:lnTo>
                  <a:lnTo>
                    <a:pt x="375" y="423"/>
                  </a:lnTo>
                  <a:lnTo>
                    <a:pt x="375" y="427"/>
                  </a:lnTo>
                  <a:lnTo>
                    <a:pt x="375" y="431"/>
                  </a:lnTo>
                  <a:lnTo>
                    <a:pt x="375" y="435"/>
                  </a:lnTo>
                  <a:lnTo>
                    <a:pt x="375" y="431"/>
                  </a:lnTo>
                  <a:lnTo>
                    <a:pt x="371" y="435"/>
                  </a:lnTo>
                  <a:close/>
                  <a:moveTo>
                    <a:pt x="371" y="447"/>
                  </a:moveTo>
                  <a:lnTo>
                    <a:pt x="371" y="443"/>
                  </a:lnTo>
                  <a:lnTo>
                    <a:pt x="371" y="439"/>
                  </a:lnTo>
                  <a:lnTo>
                    <a:pt x="371" y="435"/>
                  </a:lnTo>
                  <a:lnTo>
                    <a:pt x="375" y="435"/>
                  </a:lnTo>
                  <a:lnTo>
                    <a:pt x="375" y="439"/>
                  </a:lnTo>
                  <a:lnTo>
                    <a:pt x="375" y="443"/>
                  </a:lnTo>
                  <a:lnTo>
                    <a:pt x="371" y="443"/>
                  </a:lnTo>
                  <a:lnTo>
                    <a:pt x="371" y="447"/>
                  </a:lnTo>
                  <a:lnTo>
                    <a:pt x="375" y="447"/>
                  </a:lnTo>
                  <a:lnTo>
                    <a:pt x="371" y="447"/>
                  </a:lnTo>
                  <a:close/>
                  <a:moveTo>
                    <a:pt x="371" y="451"/>
                  </a:moveTo>
                  <a:lnTo>
                    <a:pt x="371" y="455"/>
                  </a:lnTo>
                  <a:lnTo>
                    <a:pt x="371" y="459"/>
                  </a:lnTo>
                  <a:lnTo>
                    <a:pt x="371" y="463"/>
                  </a:lnTo>
                  <a:lnTo>
                    <a:pt x="367" y="459"/>
                  </a:lnTo>
                  <a:lnTo>
                    <a:pt x="367" y="455"/>
                  </a:lnTo>
                  <a:lnTo>
                    <a:pt x="371" y="455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lnTo>
                    <a:pt x="371" y="447"/>
                  </a:lnTo>
                  <a:lnTo>
                    <a:pt x="371" y="451"/>
                  </a:lnTo>
                  <a:close/>
                  <a:moveTo>
                    <a:pt x="367" y="475"/>
                  </a:moveTo>
                  <a:lnTo>
                    <a:pt x="367" y="479"/>
                  </a:lnTo>
                  <a:lnTo>
                    <a:pt x="363" y="479"/>
                  </a:lnTo>
                  <a:lnTo>
                    <a:pt x="363" y="475"/>
                  </a:lnTo>
                  <a:lnTo>
                    <a:pt x="367" y="475"/>
                  </a:lnTo>
                  <a:lnTo>
                    <a:pt x="367" y="471"/>
                  </a:lnTo>
                  <a:lnTo>
                    <a:pt x="367" y="475"/>
                  </a:lnTo>
                  <a:close/>
                  <a:moveTo>
                    <a:pt x="387" y="543"/>
                  </a:moveTo>
                  <a:lnTo>
                    <a:pt x="387" y="547"/>
                  </a:lnTo>
                  <a:lnTo>
                    <a:pt x="387" y="551"/>
                  </a:lnTo>
                  <a:lnTo>
                    <a:pt x="387" y="547"/>
                  </a:lnTo>
                  <a:lnTo>
                    <a:pt x="387" y="543"/>
                  </a:lnTo>
                  <a:lnTo>
                    <a:pt x="383" y="543"/>
                  </a:lnTo>
                  <a:lnTo>
                    <a:pt x="387" y="539"/>
                  </a:lnTo>
                  <a:lnTo>
                    <a:pt x="387" y="543"/>
                  </a:lnTo>
                  <a:close/>
                </a:path>
              </a:pathLst>
            </a:custGeom>
            <a:solidFill>
              <a:srgbClr val="EBE717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3" name="Freeform 18">
              <a:extLst>
                <a:ext uri="{FF2B5EF4-FFF2-40B4-BE49-F238E27FC236}">
                  <a16:creationId xmlns:a16="http://schemas.microsoft.com/office/drawing/2014/main" id="{91220190-4C30-F040-BC08-050BE6337293}"/>
                </a:ext>
              </a:extLst>
            </p:cNvPr>
            <p:cNvSpPr>
              <a:spLocks noEditPoints="1"/>
            </p:cNvSpPr>
            <p:nvPr>
              <p:custDataLst>
                <p:tags r:id="rId13"/>
              </p:custDataLst>
            </p:nvPr>
          </p:nvSpPr>
          <p:spPr bwMode="gray">
            <a:xfrm>
              <a:off x="4632586" y="5011384"/>
              <a:ext cx="366835" cy="368096"/>
            </a:xfrm>
            <a:custGeom>
              <a:avLst/>
              <a:gdLst/>
              <a:ahLst/>
              <a:cxnLst>
                <a:cxn ang="0">
                  <a:pos x="267" y="168"/>
                </a:cxn>
                <a:cxn ang="0">
                  <a:pos x="259" y="192"/>
                </a:cxn>
                <a:cxn ang="0">
                  <a:pos x="263" y="212"/>
                </a:cxn>
                <a:cxn ang="0">
                  <a:pos x="283" y="228"/>
                </a:cxn>
                <a:cxn ang="0">
                  <a:pos x="287" y="248"/>
                </a:cxn>
                <a:cxn ang="0">
                  <a:pos x="283" y="260"/>
                </a:cxn>
                <a:cxn ang="0">
                  <a:pos x="275" y="268"/>
                </a:cxn>
                <a:cxn ang="0">
                  <a:pos x="267" y="284"/>
                </a:cxn>
                <a:cxn ang="0">
                  <a:pos x="255" y="288"/>
                </a:cxn>
                <a:cxn ang="0">
                  <a:pos x="243" y="284"/>
                </a:cxn>
                <a:cxn ang="0">
                  <a:pos x="219" y="280"/>
                </a:cxn>
                <a:cxn ang="0">
                  <a:pos x="203" y="276"/>
                </a:cxn>
                <a:cxn ang="0">
                  <a:pos x="195" y="252"/>
                </a:cxn>
                <a:cxn ang="0">
                  <a:pos x="175" y="256"/>
                </a:cxn>
                <a:cxn ang="0">
                  <a:pos x="155" y="260"/>
                </a:cxn>
                <a:cxn ang="0">
                  <a:pos x="135" y="252"/>
                </a:cxn>
                <a:cxn ang="0">
                  <a:pos x="123" y="240"/>
                </a:cxn>
                <a:cxn ang="0">
                  <a:pos x="108" y="224"/>
                </a:cxn>
                <a:cxn ang="0">
                  <a:pos x="100" y="208"/>
                </a:cxn>
                <a:cxn ang="0">
                  <a:pos x="92" y="192"/>
                </a:cxn>
                <a:cxn ang="0">
                  <a:pos x="80" y="188"/>
                </a:cxn>
                <a:cxn ang="0">
                  <a:pos x="72" y="196"/>
                </a:cxn>
                <a:cxn ang="0">
                  <a:pos x="60" y="176"/>
                </a:cxn>
                <a:cxn ang="0">
                  <a:pos x="56" y="160"/>
                </a:cxn>
                <a:cxn ang="0">
                  <a:pos x="48" y="144"/>
                </a:cxn>
                <a:cxn ang="0">
                  <a:pos x="32" y="128"/>
                </a:cxn>
                <a:cxn ang="0">
                  <a:pos x="20" y="116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32" y="80"/>
                </a:cxn>
                <a:cxn ang="0">
                  <a:pos x="20" y="72"/>
                </a:cxn>
                <a:cxn ang="0">
                  <a:pos x="12" y="56"/>
                </a:cxn>
                <a:cxn ang="0">
                  <a:pos x="4" y="36"/>
                </a:cxn>
                <a:cxn ang="0">
                  <a:pos x="4" y="16"/>
                </a:cxn>
                <a:cxn ang="0">
                  <a:pos x="4" y="4"/>
                </a:cxn>
                <a:cxn ang="0">
                  <a:pos x="16" y="8"/>
                </a:cxn>
                <a:cxn ang="0">
                  <a:pos x="36" y="16"/>
                </a:cxn>
                <a:cxn ang="0">
                  <a:pos x="52" y="4"/>
                </a:cxn>
                <a:cxn ang="0">
                  <a:pos x="64" y="12"/>
                </a:cxn>
                <a:cxn ang="0">
                  <a:pos x="68" y="28"/>
                </a:cxn>
                <a:cxn ang="0">
                  <a:pos x="96" y="28"/>
                </a:cxn>
                <a:cxn ang="0">
                  <a:pos x="115" y="28"/>
                </a:cxn>
                <a:cxn ang="0">
                  <a:pos x="131" y="40"/>
                </a:cxn>
                <a:cxn ang="0">
                  <a:pos x="151" y="48"/>
                </a:cxn>
                <a:cxn ang="0">
                  <a:pos x="167" y="36"/>
                </a:cxn>
                <a:cxn ang="0">
                  <a:pos x="187" y="32"/>
                </a:cxn>
                <a:cxn ang="0">
                  <a:pos x="199" y="28"/>
                </a:cxn>
                <a:cxn ang="0">
                  <a:pos x="223" y="40"/>
                </a:cxn>
                <a:cxn ang="0">
                  <a:pos x="231" y="48"/>
                </a:cxn>
                <a:cxn ang="0">
                  <a:pos x="251" y="64"/>
                </a:cxn>
                <a:cxn ang="0">
                  <a:pos x="259" y="80"/>
                </a:cxn>
                <a:cxn ang="0">
                  <a:pos x="259" y="100"/>
                </a:cxn>
                <a:cxn ang="0">
                  <a:pos x="251" y="116"/>
                </a:cxn>
                <a:cxn ang="0">
                  <a:pos x="251" y="132"/>
                </a:cxn>
                <a:cxn ang="0">
                  <a:pos x="255" y="156"/>
                </a:cxn>
                <a:cxn ang="0">
                  <a:pos x="187" y="256"/>
                </a:cxn>
                <a:cxn ang="0">
                  <a:pos x="171" y="260"/>
                </a:cxn>
                <a:cxn ang="0">
                  <a:pos x="187" y="256"/>
                </a:cxn>
              </a:cxnLst>
              <a:rect l="0" t="0" r="r" b="b"/>
              <a:pathLst>
                <a:path w="291" h="292">
                  <a:moveTo>
                    <a:pt x="255" y="156"/>
                  </a:moveTo>
                  <a:lnTo>
                    <a:pt x="255" y="160"/>
                  </a:lnTo>
                  <a:lnTo>
                    <a:pt x="255" y="164"/>
                  </a:lnTo>
                  <a:lnTo>
                    <a:pt x="259" y="168"/>
                  </a:lnTo>
                  <a:lnTo>
                    <a:pt x="263" y="168"/>
                  </a:lnTo>
                  <a:lnTo>
                    <a:pt x="267" y="168"/>
                  </a:lnTo>
                  <a:lnTo>
                    <a:pt x="267" y="172"/>
                  </a:lnTo>
                  <a:lnTo>
                    <a:pt x="271" y="172"/>
                  </a:lnTo>
                  <a:lnTo>
                    <a:pt x="271" y="176"/>
                  </a:lnTo>
                  <a:lnTo>
                    <a:pt x="267" y="180"/>
                  </a:lnTo>
                  <a:lnTo>
                    <a:pt x="263" y="188"/>
                  </a:lnTo>
                  <a:lnTo>
                    <a:pt x="259" y="192"/>
                  </a:lnTo>
                  <a:lnTo>
                    <a:pt x="259" y="196"/>
                  </a:lnTo>
                  <a:lnTo>
                    <a:pt x="255" y="196"/>
                  </a:lnTo>
                  <a:lnTo>
                    <a:pt x="255" y="200"/>
                  </a:lnTo>
                  <a:lnTo>
                    <a:pt x="259" y="200"/>
                  </a:lnTo>
                  <a:lnTo>
                    <a:pt x="263" y="208"/>
                  </a:lnTo>
                  <a:lnTo>
                    <a:pt x="263" y="212"/>
                  </a:lnTo>
                  <a:lnTo>
                    <a:pt x="267" y="216"/>
                  </a:lnTo>
                  <a:lnTo>
                    <a:pt x="267" y="220"/>
                  </a:lnTo>
                  <a:lnTo>
                    <a:pt x="271" y="224"/>
                  </a:lnTo>
                  <a:lnTo>
                    <a:pt x="275" y="224"/>
                  </a:lnTo>
                  <a:lnTo>
                    <a:pt x="279" y="228"/>
                  </a:lnTo>
                  <a:lnTo>
                    <a:pt x="283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3" y="248"/>
                  </a:lnTo>
                  <a:lnTo>
                    <a:pt x="287" y="248"/>
                  </a:lnTo>
                  <a:lnTo>
                    <a:pt x="291" y="248"/>
                  </a:lnTo>
                  <a:lnTo>
                    <a:pt x="291" y="252"/>
                  </a:lnTo>
                  <a:lnTo>
                    <a:pt x="291" y="256"/>
                  </a:lnTo>
                  <a:lnTo>
                    <a:pt x="291" y="260"/>
                  </a:lnTo>
                  <a:lnTo>
                    <a:pt x="287" y="260"/>
                  </a:lnTo>
                  <a:lnTo>
                    <a:pt x="283" y="260"/>
                  </a:lnTo>
                  <a:lnTo>
                    <a:pt x="283" y="264"/>
                  </a:lnTo>
                  <a:lnTo>
                    <a:pt x="279" y="264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5" y="264"/>
                  </a:lnTo>
                  <a:lnTo>
                    <a:pt x="275" y="268"/>
                  </a:lnTo>
                  <a:lnTo>
                    <a:pt x="271" y="268"/>
                  </a:lnTo>
                  <a:lnTo>
                    <a:pt x="271" y="272"/>
                  </a:lnTo>
                  <a:lnTo>
                    <a:pt x="271" y="276"/>
                  </a:lnTo>
                  <a:lnTo>
                    <a:pt x="267" y="276"/>
                  </a:lnTo>
                  <a:lnTo>
                    <a:pt x="267" y="280"/>
                  </a:lnTo>
                  <a:lnTo>
                    <a:pt x="267" y="284"/>
                  </a:lnTo>
                  <a:lnTo>
                    <a:pt x="267" y="288"/>
                  </a:lnTo>
                  <a:lnTo>
                    <a:pt x="263" y="288"/>
                  </a:lnTo>
                  <a:lnTo>
                    <a:pt x="263" y="292"/>
                  </a:lnTo>
                  <a:lnTo>
                    <a:pt x="259" y="292"/>
                  </a:lnTo>
                  <a:lnTo>
                    <a:pt x="259" y="288"/>
                  </a:lnTo>
                  <a:lnTo>
                    <a:pt x="255" y="288"/>
                  </a:lnTo>
                  <a:lnTo>
                    <a:pt x="251" y="288"/>
                  </a:lnTo>
                  <a:lnTo>
                    <a:pt x="251" y="284"/>
                  </a:lnTo>
                  <a:lnTo>
                    <a:pt x="247" y="284"/>
                  </a:lnTo>
                  <a:lnTo>
                    <a:pt x="247" y="288"/>
                  </a:lnTo>
                  <a:lnTo>
                    <a:pt x="247" y="284"/>
                  </a:lnTo>
                  <a:lnTo>
                    <a:pt x="243" y="284"/>
                  </a:lnTo>
                  <a:lnTo>
                    <a:pt x="239" y="284"/>
                  </a:lnTo>
                  <a:lnTo>
                    <a:pt x="235" y="284"/>
                  </a:lnTo>
                  <a:lnTo>
                    <a:pt x="231" y="284"/>
                  </a:lnTo>
                  <a:lnTo>
                    <a:pt x="227" y="284"/>
                  </a:lnTo>
                  <a:lnTo>
                    <a:pt x="223" y="280"/>
                  </a:lnTo>
                  <a:lnTo>
                    <a:pt x="219" y="280"/>
                  </a:lnTo>
                  <a:lnTo>
                    <a:pt x="215" y="280"/>
                  </a:lnTo>
                  <a:lnTo>
                    <a:pt x="215" y="284"/>
                  </a:lnTo>
                  <a:lnTo>
                    <a:pt x="211" y="280"/>
                  </a:lnTo>
                  <a:lnTo>
                    <a:pt x="207" y="280"/>
                  </a:lnTo>
                  <a:lnTo>
                    <a:pt x="203" y="280"/>
                  </a:lnTo>
                  <a:lnTo>
                    <a:pt x="203" y="276"/>
                  </a:lnTo>
                  <a:lnTo>
                    <a:pt x="199" y="276"/>
                  </a:lnTo>
                  <a:lnTo>
                    <a:pt x="199" y="272"/>
                  </a:lnTo>
                  <a:lnTo>
                    <a:pt x="199" y="264"/>
                  </a:lnTo>
                  <a:lnTo>
                    <a:pt x="199" y="260"/>
                  </a:lnTo>
                  <a:lnTo>
                    <a:pt x="195" y="256"/>
                  </a:lnTo>
                  <a:lnTo>
                    <a:pt x="195" y="252"/>
                  </a:lnTo>
                  <a:lnTo>
                    <a:pt x="191" y="252"/>
                  </a:lnTo>
                  <a:lnTo>
                    <a:pt x="187" y="252"/>
                  </a:lnTo>
                  <a:lnTo>
                    <a:pt x="183" y="252"/>
                  </a:lnTo>
                  <a:lnTo>
                    <a:pt x="179" y="252"/>
                  </a:lnTo>
                  <a:lnTo>
                    <a:pt x="175" y="252"/>
                  </a:lnTo>
                  <a:lnTo>
                    <a:pt x="175" y="256"/>
                  </a:lnTo>
                  <a:lnTo>
                    <a:pt x="175" y="260"/>
                  </a:lnTo>
                  <a:lnTo>
                    <a:pt x="171" y="260"/>
                  </a:lnTo>
                  <a:lnTo>
                    <a:pt x="167" y="260"/>
                  </a:lnTo>
                  <a:lnTo>
                    <a:pt x="163" y="264"/>
                  </a:lnTo>
                  <a:lnTo>
                    <a:pt x="159" y="260"/>
                  </a:lnTo>
                  <a:lnTo>
                    <a:pt x="155" y="260"/>
                  </a:lnTo>
                  <a:lnTo>
                    <a:pt x="151" y="260"/>
                  </a:lnTo>
                  <a:lnTo>
                    <a:pt x="147" y="260"/>
                  </a:lnTo>
                  <a:lnTo>
                    <a:pt x="143" y="256"/>
                  </a:lnTo>
                  <a:lnTo>
                    <a:pt x="143" y="252"/>
                  </a:lnTo>
                  <a:lnTo>
                    <a:pt x="139" y="252"/>
                  </a:lnTo>
                  <a:lnTo>
                    <a:pt x="135" y="252"/>
                  </a:lnTo>
                  <a:lnTo>
                    <a:pt x="135" y="248"/>
                  </a:lnTo>
                  <a:lnTo>
                    <a:pt x="131" y="248"/>
                  </a:lnTo>
                  <a:lnTo>
                    <a:pt x="131" y="244"/>
                  </a:lnTo>
                  <a:lnTo>
                    <a:pt x="127" y="244"/>
                  </a:lnTo>
                  <a:lnTo>
                    <a:pt x="127" y="240"/>
                  </a:lnTo>
                  <a:lnTo>
                    <a:pt x="123" y="240"/>
                  </a:lnTo>
                  <a:lnTo>
                    <a:pt x="119" y="236"/>
                  </a:lnTo>
                  <a:lnTo>
                    <a:pt x="115" y="236"/>
                  </a:lnTo>
                  <a:lnTo>
                    <a:pt x="112" y="236"/>
                  </a:lnTo>
                  <a:lnTo>
                    <a:pt x="112" y="232"/>
                  </a:lnTo>
                  <a:lnTo>
                    <a:pt x="108" y="228"/>
                  </a:lnTo>
                  <a:lnTo>
                    <a:pt x="108" y="224"/>
                  </a:lnTo>
                  <a:lnTo>
                    <a:pt x="108" y="220"/>
                  </a:lnTo>
                  <a:lnTo>
                    <a:pt x="104" y="220"/>
                  </a:lnTo>
                  <a:lnTo>
                    <a:pt x="104" y="216"/>
                  </a:lnTo>
                  <a:lnTo>
                    <a:pt x="104" y="212"/>
                  </a:lnTo>
                  <a:lnTo>
                    <a:pt x="100" y="212"/>
                  </a:lnTo>
                  <a:lnTo>
                    <a:pt x="100" y="208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6" y="200"/>
                  </a:lnTo>
                  <a:lnTo>
                    <a:pt x="96" y="196"/>
                  </a:lnTo>
                  <a:lnTo>
                    <a:pt x="92" y="196"/>
                  </a:lnTo>
                  <a:lnTo>
                    <a:pt x="92" y="192"/>
                  </a:lnTo>
                  <a:lnTo>
                    <a:pt x="88" y="192"/>
                  </a:lnTo>
                  <a:lnTo>
                    <a:pt x="84" y="196"/>
                  </a:lnTo>
                  <a:lnTo>
                    <a:pt x="84" y="192"/>
                  </a:lnTo>
                  <a:lnTo>
                    <a:pt x="80" y="192"/>
                  </a:lnTo>
                  <a:lnTo>
                    <a:pt x="76" y="188"/>
                  </a:lnTo>
                  <a:lnTo>
                    <a:pt x="80" y="188"/>
                  </a:lnTo>
                  <a:lnTo>
                    <a:pt x="80" y="184"/>
                  </a:lnTo>
                  <a:lnTo>
                    <a:pt x="76" y="184"/>
                  </a:lnTo>
                  <a:lnTo>
                    <a:pt x="72" y="188"/>
                  </a:lnTo>
                  <a:lnTo>
                    <a:pt x="76" y="192"/>
                  </a:lnTo>
                  <a:lnTo>
                    <a:pt x="76" y="196"/>
                  </a:lnTo>
                  <a:lnTo>
                    <a:pt x="72" y="196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60" y="184"/>
                  </a:lnTo>
                  <a:lnTo>
                    <a:pt x="60" y="176"/>
                  </a:lnTo>
                  <a:lnTo>
                    <a:pt x="56" y="176"/>
                  </a:lnTo>
                  <a:lnTo>
                    <a:pt x="56" y="172"/>
                  </a:lnTo>
                  <a:lnTo>
                    <a:pt x="56" y="168"/>
                  </a:lnTo>
                  <a:lnTo>
                    <a:pt x="56" y="164"/>
                  </a:lnTo>
                  <a:lnTo>
                    <a:pt x="60" y="160"/>
                  </a:lnTo>
                  <a:lnTo>
                    <a:pt x="56" y="160"/>
                  </a:lnTo>
                  <a:lnTo>
                    <a:pt x="56" y="156"/>
                  </a:lnTo>
                  <a:lnTo>
                    <a:pt x="56" y="152"/>
                  </a:lnTo>
                  <a:lnTo>
                    <a:pt x="52" y="152"/>
                  </a:lnTo>
                  <a:lnTo>
                    <a:pt x="52" y="148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0" y="140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4" y="124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4" y="112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32" y="96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28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4"/>
                  </a:lnTo>
                  <a:lnTo>
                    <a:pt x="68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0" y="16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72" y="28"/>
                  </a:lnTo>
                  <a:lnTo>
                    <a:pt x="72" y="24"/>
                  </a:lnTo>
                  <a:lnTo>
                    <a:pt x="76" y="24"/>
                  </a:lnTo>
                  <a:lnTo>
                    <a:pt x="88" y="28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15" y="28"/>
                  </a:lnTo>
                  <a:lnTo>
                    <a:pt x="119" y="32"/>
                  </a:lnTo>
                  <a:lnTo>
                    <a:pt x="119" y="36"/>
                  </a:lnTo>
                  <a:lnTo>
                    <a:pt x="123" y="36"/>
                  </a:lnTo>
                  <a:lnTo>
                    <a:pt x="123" y="40"/>
                  </a:lnTo>
                  <a:lnTo>
                    <a:pt x="127" y="40"/>
                  </a:lnTo>
                  <a:lnTo>
                    <a:pt x="131" y="40"/>
                  </a:lnTo>
                  <a:lnTo>
                    <a:pt x="135" y="40"/>
                  </a:lnTo>
                  <a:lnTo>
                    <a:pt x="135" y="44"/>
                  </a:lnTo>
                  <a:lnTo>
                    <a:pt x="139" y="44"/>
                  </a:lnTo>
                  <a:lnTo>
                    <a:pt x="143" y="48"/>
                  </a:lnTo>
                  <a:lnTo>
                    <a:pt x="147" y="48"/>
                  </a:lnTo>
                  <a:lnTo>
                    <a:pt x="151" y="48"/>
                  </a:lnTo>
                  <a:lnTo>
                    <a:pt x="155" y="48"/>
                  </a:lnTo>
                  <a:lnTo>
                    <a:pt x="159" y="48"/>
                  </a:lnTo>
                  <a:lnTo>
                    <a:pt x="163" y="44"/>
                  </a:lnTo>
                  <a:lnTo>
                    <a:pt x="163" y="40"/>
                  </a:lnTo>
                  <a:lnTo>
                    <a:pt x="167" y="40"/>
                  </a:lnTo>
                  <a:lnTo>
                    <a:pt x="167" y="36"/>
                  </a:lnTo>
                  <a:lnTo>
                    <a:pt x="171" y="36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7" y="32"/>
                  </a:lnTo>
                  <a:lnTo>
                    <a:pt x="187" y="28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5" y="32"/>
                  </a:lnTo>
                  <a:lnTo>
                    <a:pt x="199" y="32"/>
                  </a:lnTo>
                  <a:lnTo>
                    <a:pt x="199" y="28"/>
                  </a:lnTo>
                  <a:lnTo>
                    <a:pt x="203" y="32"/>
                  </a:lnTo>
                  <a:lnTo>
                    <a:pt x="203" y="36"/>
                  </a:lnTo>
                  <a:lnTo>
                    <a:pt x="207" y="36"/>
                  </a:lnTo>
                  <a:lnTo>
                    <a:pt x="215" y="40"/>
                  </a:lnTo>
                  <a:lnTo>
                    <a:pt x="219" y="44"/>
                  </a:lnTo>
                  <a:lnTo>
                    <a:pt x="223" y="40"/>
                  </a:lnTo>
                  <a:lnTo>
                    <a:pt x="223" y="44"/>
                  </a:lnTo>
                  <a:lnTo>
                    <a:pt x="223" y="40"/>
                  </a:lnTo>
                  <a:lnTo>
                    <a:pt x="227" y="40"/>
                  </a:lnTo>
                  <a:lnTo>
                    <a:pt x="227" y="44"/>
                  </a:lnTo>
                  <a:lnTo>
                    <a:pt x="231" y="44"/>
                  </a:lnTo>
                  <a:lnTo>
                    <a:pt x="231" y="48"/>
                  </a:lnTo>
                  <a:lnTo>
                    <a:pt x="235" y="52"/>
                  </a:lnTo>
                  <a:lnTo>
                    <a:pt x="239" y="52"/>
                  </a:lnTo>
                  <a:lnTo>
                    <a:pt x="243" y="56"/>
                  </a:lnTo>
                  <a:lnTo>
                    <a:pt x="243" y="60"/>
                  </a:lnTo>
                  <a:lnTo>
                    <a:pt x="247" y="64"/>
                  </a:lnTo>
                  <a:lnTo>
                    <a:pt x="251" y="64"/>
                  </a:lnTo>
                  <a:lnTo>
                    <a:pt x="255" y="64"/>
                  </a:lnTo>
                  <a:lnTo>
                    <a:pt x="259" y="64"/>
                  </a:lnTo>
                  <a:lnTo>
                    <a:pt x="259" y="68"/>
                  </a:lnTo>
                  <a:lnTo>
                    <a:pt x="259" y="72"/>
                  </a:lnTo>
                  <a:lnTo>
                    <a:pt x="259" y="76"/>
                  </a:lnTo>
                  <a:lnTo>
                    <a:pt x="259" y="80"/>
                  </a:lnTo>
                  <a:lnTo>
                    <a:pt x="259" y="84"/>
                  </a:lnTo>
                  <a:lnTo>
                    <a:pt x="263" y="84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59" y="100"/>
                  </a:lnTo>
                  <a:lnTo>
                    <a:pt x="255" y="104"/>
                  </a:lnTo>
                  <a:lnTo>
                    <a:pt x="251" y="104"/>
                  </a:lnTo>
                  <a:lnTo>
                    <a:pt x="255" y="108"/>
                  </a:lnTo>
                  <a:lnTo>
                    <a:pt x="251" y="108"/>
                  </a:lnTo>
                  <a:lnTo>
                    <a:pt x="251" y="112"/>
                  </a:lnTo>
                  <a:lnTo>
                    <a:pt x="251" y="116"/>
                  </a:lnTo>
                  <a:lnTo>
                    <a:pt x="251" y="120"/>
                  </a:lnTo>
                  <a:lnTo>
                    <a:pt x="251" y="124"/>
                  </a:lnTo>
                  <a:lnTo>
                    <a:pt x="255" y="124"/>
                  </a:lnTo>
                  <a:lnTo>
                    <a:pt x="255" y="128"/>
                  </a:lnTo>
                  <a:lnTo>
                    <a:pt x="251" y="128"/>
                  </a:lnTo>
                  <a:lnTo>
                    <a:pt x="251" y="132"/>
                  </a:lnTo>
                  <a:lnTo>
                    <a:pt x="251" y="136"/>
                  </a:lnTo>
                  <a:lnTo>
                    <a:pt x="251" y="140"/>
                  </a:lnTo>
                  <a:lnTo>
                    <a:pt x="251" y="144"/>
                  </a:lnTo>
                  <a:lnTo>
                    <a:pt x="255" y="148"/>
                  </a:lnTo>
                  <a:lnTo>
                    <a:pt x="255" y="152"/>
                  </a:lnTo>
                  <a:lnTo>
                    <a:pt x="255" y="156"/>
                  </a:lnTo>
                  <a:close/>
                  <a:moveTo>
                    <a:pt x="175" y="256"/>
                  </a:moveTo>
                  <a:lnTo>
                    <a:pt x="175" y="260"/>
                  </a:lnTo>
                  <a:lnTo>
                    <a:pt x="175" y="256"/>
                  </a:lnTo>
                  <a:lnTo>
                    <a:pt x="179" y="256"/>
                  </a:lnTo>
                  <a:lnTo>
                    <a:pt x="175" y="256"/>
                  </a:lnTo>
                  <a:close/>
                  <a:moveTo>
                    <a:pt x="187" y="256"/>
                  </a:moveTo>
                  <a:lnTo>
                    <a:pt x="183" y="256"/>
                  </a:lnTo>
                  <a:lnTo>
                    <a:pt x="183" y="260"/>
                  </a:lnTo>
                  <a:lnTo>
                    <a:pt x="179" y="260"/>
                  </a:lnTo>
                  <a:lnTo>
                    <a:pt x="175" y="260"/>
                  </a:lnTo>
                  <a:lnTo>
                    <a:pt x="171" y="264"/>
                  </a:lnTo>
                  <a:lnTo>
                    <a:pt x="171" y="260"/>
                  </a:lnTo>
                  <a:lnTo>
                    <a:pt x="175" y="260"/>
                  </a:lnTo>
                  <a:lnTo>
                    <a:pt x="179" y="260"/>
                  </a:lnTo>
                  <a:lnTo>
                    <a:pt x="179" y="256"/>
                  </a:lnTo>
                  <a:lnTo>
                    <a:pt x="183" y="256"/>
                  </a:lnTo>
                  <a:lnTo>
                    <a:pt x="183" y="252"/>
                  </a:lnTo>
                  <a:lnTo>
                    <a:pt x="187" y="25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4" name="Freeform 19">
              <a:extLst>
                <a:ext uri="{FF2B5EF4-FFF2-40B4-BE49-F238E27FC236}">
                  <a16:creationId xmlns:a16="http://schemas.microsoft.com/office/drawing/2014/main" id="{D2850D6E-183C-9242-994E-9045B0F80329}"/>
                </a:ext>
              </a:extLst>
            </p:cNvPr>
            <p:cNvSpPr>
              <a:spLocks/>
            </p:cNvSpPr>
            <p:nvPr>
              <p:custDataLst>
                <p:tags r:id="rId14"/>
              </p:custDataLst>
            </p:nvPr>
          </p:nvSpPr>
          <p:spPr bwMode="gray">
            <a:xfrm>
              <a:off x="4531737" y="5071893"/>
              <a:ext cx="186569" cy="206739"/>
            </a:xfrm>
            <a:custGeom>
              <a:avLst/>
              <a:gdLst/>
              <a:ahLst/>
              <a:cxnLst>
                <a:cxn ang="0">
                  <a:pos x="4" y="96"/>
                </a:cxn>
                <a:cxn ang="0">
                  <a:pos x="16" y="72"/>
                </a:cxn>
                <a:cxn ang="0">
                  <a:pos x="36" y="60"/>
                </a:cxn>
                <a:cxn ang="0">
                  <a:pos x="36" y="44"/>
                </a:cxn>
                <a:cxn ang="0">
                  <a:pos x="40" y="40"/>
                </a:cxn>
                <a:cxn ang="0">
                  <a:pos x="40" y="36"/>
                </a:cxn>
                <a:cxn ang="0">
                  <a:pos x="40" y="20"/>
                </a:cxn>
                <a:cxn ang="0">
                  <a:pos x="56" y="4"/>
                </a:cxn>
                <a:cxn ang="0">
                  <a:pos x="60" y="0"/>
                </a:cxn>
                <a:cxn ang="0">
                  <a:pos x="64" y="0"/>
                </a:cxn>
                <a:cxn ang="0">
                  <a:pos x="80" y="4"/>
                </a:cxn>
                <a:cxn ang="0">
                  <a:pos x="80" y="0"/>
                </a:cxn>
                <a:cxn ang="0">
                  <a:pos x="84" y="4"/>
                </a:cxn>
                <a:cxn ang="0">
                  <a:pos x="88" y="4"/>
                </a:cxn>
                <a:cxn ang="0">
                  <a:pos x="92" y="4"/>
                </a:cxn>
                <a:cxn ang="0">
                  <a:pos x="92" y="8"/>
                </a:cxn>
                <a:cxn ang="0">
                  <a:pos x="92" y="12"/>
                </a:cxn>
                <a:cxn ang="0">
                  <a:pos x="96" y="16"/>
                </a:cxn>
                <a:cxn ang="0">
                  <a:pos x="96" y="20"/>
                </a:cxn>
                <a:cxn ang="0">
                  <a:pos x="100" y="20"/>
                </a:cxn>
                <a:cxn ang="0">
                  <a:pos x="104" y="28"/>
                </a:cxn>
                <a:cxn ang="0">
                  <a:pos x="108" y="32"/>
                </a:cxn>
                <a:cxn ang="0">
                  <a:pos x="112" y="32"/>
                </a:cxn>
                <a:cxn ang="0">
                  <a:pos x="116" y="32"/>
                </a:cxn>
                <a:cxn ang="0">
                  <a:pos x="112" y="32"/>
                </a:cxn>
                <a:cxn ang="0">
                  <a:pos x="112" y="40"/>
                </a:cxn>
                <a:cxn ang="0">
                  <a:pos x="112" y="44"/>
                </a:cxn>
                <a:cxn ang="0">
                  <a:pos x="108" y="48"/>
                </a:cxn>
                <a:cxn ang="0">
                  <a:pos x="104" y="52"/>
                </a:cxn>
                <a:cxn ang="0">
                  <a:pos x="108" y="56"/>
                </a:cxn>
                <a:cxn ang="0">
                  <a:pos x="104" y="60"/>
                </a:cxn>
                <a:cxn ang="0">
                  <a:pos x="104" y="64"/>
                </a:cxn>
                <a:cxn ang="0">
                  <a:pos x="104" y="68"/>
                </a:cxn>
                <a:cxn ang="0">
                  <a:pos x="108" y="76"/>
                </a:cxn>
                <a:cxn ang="0">
                  <a:pos x="108" y="80"/>
                </a:cxn>
                <a:cxn ang="0">
                  <a:pos x="112" y="80"/>
                </a:cxn>
                <a:cxn ang="0">
                  <a:pos x="112" y="84"/>
                </a:cxn>
                <a:cxn ang="0">
                  <a:pos x="112" y="88"/>
                </a:cxn>
                <a:cxn ang="0">
                  <a:pos x="116" y="88"/>
                </a:cxn>
                <a:cxn ang="0">
                  <a:pos x="120" y="92"/>
                </a:cxn>
                <a:cxn ang="0">
                  <a:pos x="124" y="96"/>
                </a:cxn>
                <a:cxn ang="0">
                  <a:pos x="128" y="100"/>
                </a:cxn>
                <a:cxn ang="0">
                  <a:pos x="136" y="104"/>
                </a:cxn>
                <a:cxn ang="0">
                  <a:pos x="140" y="112"/>
                </a:cxn>
                <a:cxn ang="0">
                  <a:pos x="136" y="124"/>
                </a:cxn>
                <a:cxn ang="0">
                  <a:pos x="140" y="128"/>
                </a:cxn>
                <a:cxn ang="0">
                  <a:pos x="140" y="140"/>
                </a:cxn>
                <a:cxn ang="0">
                  <a:pos x="148" y="144"/>
                </a:cxn>
                <a:cxn ang="0">
                  <a:pos x="148" y="148"/>
                </a:cxn>
                <a:cxn ang="0">
                  <a:pos x="144" y="148"/>
                </a:cxn>
                <a:cxn ang="0">
                  <a:pos x="140" y="148"/>
                </a:cxn>
                <a:cxn ang="0">
                  <a:pos x="132" y="144"/>
                </a:cxn>
                <a:cxn ang="0">
                  <a:pos x="128" y="148"/>
                </a:cxn>
                <a:cxn ang="0">
                  <a:pos x="124" y="160"/>
                </a:cxn>
                <a:cxn ang="0">
                  <a:pos x="120" y="164"/>
                </a:cxn>
                <a:cxn ang="0">
                  <a:pos x="112" y="164"/>
                </a:cxn>
                <a:cxn ang="0">
                  <a:pos x="40" y="120"/>
                </a:cxn>
              </a:cxnLst>
              <a:rect l="0" t="0" r="r" b="b"/>
              <a:pathLst>
                <a:path w="148" h="164">
                  <a:moveTo>
                    <a:pt x="8" y="104"/>
                  </a:moveTo>
                  <a:lnTo>
                    <a:pt x="8" y="104"/>
                  </a:lnTo>
                  <a:lnTo>
                    <a:pt x="8" y="100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20" y="68"/>
                  </a:lnTo>
                  <a:lnTo>
                    <a:pt x="20" y="68"/>
                  </a:lnTo>
                  <a:lnTo>
                    <a:pt x="24" y="68"/>
                  </a:lnTo>
                  <a:lnTo>
                    <a:pt x="28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16"/>
                  </a:lnTo>
                  <a:lnTo>
                    <a:pt x="48" y="16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4" y="28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12" y="36"/>
                  </a:lnTo>
                  <a:lnTo>
                    <a:pt x="108" y="36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0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4" y="56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0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4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4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2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0" y="92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4" y="96"/>
                  </a:lnTo>
                  <a:lnTo>
                    <a:pt x="128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28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0"/>
                  </a:lnTo>
                  <a:lnTo>
                    <a:pt x="132" y="104"/>
                  </a:lnTo>
                  <a:lnTo>
                    <a:pt x="136" y="104"/>
                  </a:lnTo>
                  <a:lnTo>
                    <a:pt x="136" y="108"/>
                  </a:lnTo>
                  <a:lnTo>
                    <a:pt x="136" y="108"/>
                  </a:lnTo>
                  <a:lnTo>
                    <a:pt x="136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6" y="116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0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4"/>
                  </a:lnTo>
                  <a:lnTo>
                    <a:pt x="136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28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36"/>
                  </a:lnTo>
                  <a:lnTo>
                    <a:pt x="140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4" y="140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4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8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4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40" y="148"/>
                  </a:lnTo>
                  <a:lnTo>
                    <a:pt x="136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32" y="144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56"/>
                  </a:lnTo>
                  <a:lnTo>
                    <a:pt x="124" y="160"/>
                  </a:lnTo>
                  <a:lnTo>
                    <a:pt x="124" y="160"/>
                  </a:lnTo>
                  <a:lnTo>
                    <a:pt x="120" y="160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20" y="164"/>
                  </a:lnTo>
                  <a:lnTo>
                    <a:pt x="116" y="164"/>
                  </a:lnTo>
                  <a:lnTo>
                    <a:pt x="112" y="164"/>
                  </a:lnTo>
                  <a:lnTo>
                    <a:pt x="92" y="164"/>
                  </a:lnTo>
                  <a:lnTo>
                    <a:pt x="76" y="148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52" y="124"/>
                  </a:lnTo>
                  <a:lnTo>
                    <a:pt x="40" y="120"/>
                  </a:lnTo>
                  <a:lnTo>
                    <a:pt x="24" y="108"/>
                  </a:lnTo>
                  <a:lnTo>
                    <a:pt x="20" y="108"/>
                  </a:lnTo>
                  <a:lnTo>
                    <a:pt x="12" y="104"/>
                  </a:lnTo>
                  <a:lnTo>
                    <a:pt x="8" y="1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5" name="Freeform 20">
              <a:extLst>
                <a:ext uri="{FF2B5EF4-FFF2-40B4-BE49-F238E27FC236}">
                  <a16:creationId xmlns:a16="http://schemas.microsoft.com/office/drawing/2014/main" id="{8350CEFB-CDA8-B74E-BA4A-46B616CBC2ED}"/>
                </a:ext>
              </a:extLst>
            </p:cNvPr>
            <p:cNvSpPr>
              <a:spLocks noEditPoints="1"/>
            </p:cNvSpPr>
            <p:nvPr>
              <p:custDataLst>
                <p:tags r:id="rId15"/>
              </p:custDataLst>
            </p:nvPr>
          </p:nvSpPr>
          <p:spPr bwMode="gray">
            <a:xfrm>
              <a:off x="4446016" y="5177784"/>
              <a:ext cx="25212" cy="90763"/>
            </a:xfrm>
            <a:custGeom>
              <a:avLst/>
              <a:gdLst/>
              <a:ahLst/>
              <a:cxnLst>
                <a:cxn ang="0">
                  <a:pos x="16" y="48"/>
                </a:cxn>
                <a:cxn ang="0">
                  <a:pos x="16" y="52"/>
                </a:cxn>
                <a:cxn ang="0">
                  <a:pos x="12" y="60"/>
                </a:cxn>
                <a:cxn ang="0">
                  <a:pos x="12" y="64"/>
                </a:cxn>
                <a:cxn ang="0">
                  <a:pos x="12" y="64"/>
                </a:cxn>
                <a:cxn ang="0">
                  <a:pos x="12" y="72"/>
                </a:cxn>
                <a:cxn ang="0">
                  <a:pos x="8" y="72"/>
                </a:cxn>
                <a:cxn ang="0">
                  <a:pos x="8" y="72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0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4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32"/>
                </a:cxn>
                <a:cxn ang="0">
                  <a:pos x="8" y="36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2"/>
                </a:cxn>
                <a:cxn ang="0">
                  <a:pos x="20" y="36"/>
                </a:cxn>
                <a:cxn ang="0">
                  <a:pos x="20" y="40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6" y="28"/>
                </a:cxn>
              </a:cxnLst>
              <a:rect l="0" t="0" r="r" b="b"/>
              <a:pathLst>
                <a:path w="20" h="72">
                  <a:moveTo>
                    <a:pt x="16" y="44"/>
                  </a:moveTo>
                  <a:lnTo>
                    <a:pt x="16" y="44"/>
                  </a:lnTo>
                  <a:lnTo>
                    <a:pt x="16" y="44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16" y="44"/>
                  </a:lnTo>
                  <a:lnTo>
                    <a:pt x="16" y="44"/>
                  </a:lnTo>
                  <a:close/>
                  <a:moveTo>
                    <a:pt x="16" y="28"/>
                  </a:move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6" name="Freeform 22">
              <a:extLst>
                <a:ext uri="{FF2B5EF4-FFF2-40B4-BE49-F238E27FC236}">
                  <a16:creationId xmlns:a16="http://schemas.microsoft.com/office/drawing/2014/main" id="{8C6E8E7F-B867-6B4F-9A77-F29E3A15396B}"/>
                </a:ext>
              </a:extLst>
            </p:cNvPr>
            <p:cNvSpPr>
              <a:spLocks/>
            </p:cNvSpPr>
            <p:nvPr>
              <p:custDataLst>
                <p:tags r:id="rId16"/>
              </p:custDataLst>
            </p:nvPr>
          </p:nvSpPr>
          <p:spPr bwMode="gray">
            <a:xfrm>
              <a:off x="4461144" y="5172742"/>
              <a:ext cx="80679" cy="105891"/>
            </a:xfrm>
            <a:custGeom>
              <a:avLst/>
              <a:gdLst/>
              <a:ahLst/>
              <a:cxnLst>
                <a:cxn ang="0">
                  <a:pos x="8" y="36"/>
                </a:cxn>
                <a:cxn ang="0">
                  <a:pos x="8" y="36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4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0"/>
                </a:cxn>
                <a:cxn ang="0">
                  <a:pos x="28" y="20"/>
                </a:cxn>
                <a:cxn ang="0">
                  <a:pos x="36" y="16"/>
                </a:cxn>
                <a:cxn ang="0">
                  <a:pos x="36" y="16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6" y="0"/>
                </a:cxn>
                <a:cxn ang="0">
                  <a:pos x="60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0" y="28"/>
                </a:cxn>
                <a:cxn ang="0">
                  <a:pos x="44" y="32"/>
                </a:cxn>
                <a:cxn ang="0">
                  <a:pos x="40" y="36"/>
                </a:cxn>
                <a:cxn ang="0">
                  <a:pos x="32" y="36"/>
                </a:cxn>
                <a:cxn ang="0">
                  <a:pos x="36" y="44"/>
                </a:cxn>
                <a:cxn ang="0">
                  <a:pos x="40" y="48"/>
                </a:cxn>
                <a:cxn ang="0">
                  <a:pos x="40" y="60"/>
                </a:cxn>
                <a:cxn ang="0">
                  <a:pos x="36" y="68"/>
                </a:cxn>
                <a:cxn ang="0">
                  <a:pos x="24" y="72"/>
                </a:cxn>
                <a:cxn ang="0">
                  <a:pos x="20" y="80"/>
                </a:cxn>
                <a:cxn ang="0">
                  <a:pos x="8" y="80"/>
                </a:cxn>
                <a:cxn ang="0">
                  <a:pos x="0" y="80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8"/>
                </a:cxn>
                <a:cxn ang="0">
                  <a:pos x="0" y="64"/>
                </a:cxn>
                <a:cxn ang="0">
                  <a:pos x="0" y="60"/>
                </a:cxn>
                <a:cxn ang="0">
                  <a:pos x="0" y="60"/>
                </a:cxn>
                <a:cxn ang="0">
                  <a:pos x="4" y="56"/>
                </a:cxn>
                <a:cxn ang="0">
                  <a:pos x="4" y="52"/>
                </a:cxn>
                <a:cxn ang="0">
                  <a:pos x="4" y="48"/>
                </a:cxn>
                <a:cxn ang="0">
                  <a:pos x="4" y="48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  <a:cxn ang="0">
                  <a:pos x="8" y="40"/>
                </a:cxn>
                <a:cxn ang="0">
                  <a:pos x="8" y="40"/>
                </a:cxn>
              </a:cxnLst>
              <a:rect l="0" t="0" r="r" b="b"/>
              <a:pathLst>
                <a:path w="64" h="84">
                  <a:moveTo>
                    <a:pt x="8" y="36"/>
                  </a:move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52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28" y="36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40" y="48"/>
                  </a:lnTo>
                  <a:lnTo>
                    <a:pt x="44" y="56"/>
                  </a:lnTo>
                  <a:lnTo>
                    <a:pt x="40" y="60"/>
                  </a:lnTo>
                  <a:lnTo>
                    <a:pt x="36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24" y="72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16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0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7" name="Freeform 24">
              <a:extLst>
                <a:ext uri="{FF2B5EF4-FFF2-40B4-BE49-F238E27FC236}">
                  <a16:creationId xmlns:a16="http://schemas.microsoft.com/office/drawing/2014/main" id="{5919970A-3576-7F4A-8129-FDA30234F052}"/>
                </a:ext>
              </a:extLst>
            </p:cNvPr>
            <p:cNvSpPr>
              <a:spLocks noEditPoints="1"/>
            </p:cNvSpPr>
            <p:nvPr>
              <p:custDataLst>
                <p:tags r:id="rId17"/>
              </p:custDataLst>
            </p:nvPr>
          </p:nvSpPr>
          <p:spPr bwMode="gray">
            <a:xfrm>
              <a:off x="4683010" y="5253420"/>
              <a:ext cx="35297" cy="40339"/>
            </a:xfrm>
            <a:custGeom>
              <a:avLst/>
              <a:gdLst/>
              <a:ahLst/>
              <a:cxnLst>
                <a:cxn ang="0">
                  <a:pos x="12" y="24"/>
                </a:cxn>
                <a:cxn ang="0">
                  <a:pos x="4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6" y="0"/>
                </a:cxn>
                <a:cxn ang="0">
                  <a:pos x="20" y="4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16" y="32"/>
                </a:cxn>
                <a:cxn ang="0">
                  <a:pos x="16" y="28"/>
                </a:cxn>
                <a:cxn ang="0">
                  <a:pos x="16" y="28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8"/>
                </a:cxn>
                <a:cxn ang="0">
                  <a:pos x="24" y="8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12"/>
                </a:cxn>
                <a:cxn ang="0">
                  <a:pos x="24" y="4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12" y="24"/>
                  </a:moveTo>
                  <a:lnTo>
                    <a:pt x="12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close/>
                  <a:moveTo>
                    <a:pt x="24" y="4"/>
                  </a:move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0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8" name="Freeform 25">
              <a:extLst>
                <a:ext uri="{FF2B5EF4-FFF2-40B4-BE49-F238E27FC236}">
                  <a16:creationId xmlns:a16="http://schemas.microsoft.com/office/drawing/2014/main" id="{975CDA49-8608-5C43-868D-9B8476184EDC}"/>
                </a:ext>
              </a:extLst>
            </p:cNvPr>
            <p:cNvSpPr>
              <a:spLocks/>
            </p:cNvSpPr>
            <p:nvPr>
              <p:custDataLst>
                <p:tags r:id="rId18"/>
              </p:custDataLst>
            </p:nvPr>
          </p:nvSpPr>
          <p:spPr bwMode="gray">
            <a:xfrm>
              <a:off x="5115398" y="4921882"/>
              <a:ext cx="210521" cy="104630"/>
            </a:xfrm>
            <a:custGeom>
              <a:avLst/>
              <a:gdLst/>
              <a:ahLst/>
              <a:cxnLst>
                <a:cxn ang="0">
                  <a:pos x="80" y="59"/>
                </a:cxn>
                <a:cxn ang="0">
                  <a:pos x="72" y="63"/>
                </a:cxn>
                <a:cxn ang="0">
                  <a:pos x="72" y="71"/>
                </a:cxn>
                <a:cxn ang="0">
                  <a:pos x="64" y="75"/>
                </a:cxn>
                <a:cxn ang="0">
                  <a:pos x="56" y="79"/>
                </a:cxn>
                <a:cxn ang="0">
                  <a:pos x="44" y="79"/>
                </a:cxn>
                <a:cxn ang="0">
                  <a:pos x="40" y="79"/>
                </a:cxn>
                <a:cxn ang="0">
                  <a:pos x="32" y="75"/>
                </a:cxn>
                <a:cxn ang="0">
                  <a:pos x="32" y="75"/>
                </a:cxn>
                <a:cxn ang="0">
                  <a:pos x="24" y="75"/>
                </a:cxn>
                <a:cxn ang="0">
                  <a:pos x="16" y="71"/>
                </a:cxn>
                <a:cxn ang="0">
                  <a:pos x="8" y="75"/>
                </a:cxn>
                <a:cxn ang="0">
                  <a:pos x="0" y="71"/>
                </a:cxn>
                <a:cxn ang="0">
                  <a:pos x="0" y="67"/>
                </a:cxn>
                <a:cxn ang="0">
                  <a:pos x="8" y="63"/>
                </a:cxn>
                <a:cxn ang="0">
                  <a:pos x="20" y="63"/>
                </a:cxn>
                <a:cxn ang="0">
                  <a:pos x="20" y="67"/>
                </a:cxn>
                <a:cxn ang="0">
                  <a:pos x="24" y="59"/>
                </a:cxn>
                <a:cxn ang="0">
                  <a:pos x="36" y="63"/>
                </a:cxn>
                <a:cxn ang="0">
                  <a:pos x="48" y="55"/>
                </a:cxn>
                <a:cxn ang="0">
                  <a:pos x="52" y="55"/>
                </a:cxn>
                <a:cxn ang="0">
                  <a:pos x="56" y="47"/>
                </a:cxn>
                <a:cxn ang="0">
                  <a:pos x="52" y="47"/>
                </a:cxn>
                <a:cxn ang="0">
                  <a:pos x="44" y="39"/>
                </a:cxn>
                <a:cxn ang="0">
                  <a:pos x="36" y="31"/>
                </a:cxn>
                <a:cxn ang="0">
                  <a:pos x="32" y="39"/>
                </a:cxn>
                <a:cxn ang="0">
                  <a:pos x="32" y="43"/>
                </a:cxn>
                <a:cxn ang="0">
                  <a:pos x="24" y="35"/>
                </a:cxn>
                <a:cxn ang="0">
                  <a:pos x="12" y="35"/>
                </a:cxn>
                <a:cxn ang="0">
                  <a:pos x="16" y="27"/>
                </a:cxn>
                <a:cxn ang="0">
                  <a:pos x="24" y="23"/>
                </a:cxn>
                <a:cxn ang="0">
                  <a:pos x="24" y="19"/>
                </a:cxn>
                <a:cxn ang="0">
                  <a:pos x="28" y="8"/>
                </a:cxn>
                <a:cxn ang="0">
                  <a:pos x="40" y="8"/>
                </a:cxn>
                <a:cxn ang="0">
                  <a:pos x="52" y="8"/>
                </a:cxn>
                <a:cxn ang="0">
                  <a:pos x="60" y="12"/>
                </a:cxn>
                <a:cxn ang="0">
                  <a:pos x="64" y="12"/>
                </a:cxn>
                <a:cxn ang="0">
                  <a:pos x="64" y="0"/>
                </a:cxn>
                <a:cxn ang="0">
                  <a:pos x="76" y="0"/>
                </a:cxn>
                <a:cxn ang="0">
                  <a:pos x="87" y="4"/>
                </a:cxn>
                <a:cxn ang="0">
                  <a:pos x="95" y="8"/>
                </a:cxn>
                <a:cxn ang="0">
                  <a:pos x="107" y="4"/>
                </a:cxn>
                <a:cxn ang="0">
                  <a:pos x="119" y="4"/>
                </a:cxn>
                <a:cxn ang="0">
                  <a:pos x="131" y="4"/>
                </a:cxn>
                <a:cxn ang="0">
                  <a:pos x="143" y="8"/>
                </a:cxn>
                <a:cxn ang="0">
                  <a:pos x="151" y="12"/>
                </a:cxn>
                <a:cxn ang="0">
                  <a:pos x="159" y="15"/>
                </a:cxn>
                <a:cxn ang="0">
                  <a:pos x="167" y="19"/>
                </a:cxn>
                <a:cxn ang="0">
                  <a:pos x="159" y="23"/>
                </a:cxn>
                <a:cxn ang="0">
                  <a:pos x="151" y="27"/>
                </a:cxn>
                <a:cxn ang="0">
                  <a:pos x="143" y="31"/>
                </a:cxn>
                <a:cxn ang="0">
                  <a:pos x="135" y="39"/>
                </a:cxn>
                <a:cxn ang="0">
                  <a:pos x="127" y="43"/>
                </a:cxn>
                <a:cxn ang="0">
                  <a:pos x="115" y="43"/>
                </a:cxn>
                <a:cxn ang="0">
                  <a:pos x="111" y="55"/>
                </a:cxn>
                <a:cxn ang="0">
                  <a:pos x="107" y="55"/>
                </a:cxn>
                <a:cxn ang="0">
                  <a:pos x="95" y="59"/>
                </a:cxn>
                <a:cxn ang="0">
                  <a:pos x="91" y="51"/>
                </a:cxn>
                <a:cxn ang="0">
                  <a:pos x="83" y="55"/>
                </a:cxn>
              </a:cxnLst>
              <a:rect l="0" t="0" r="r" b="b"/>
              <a:pathLst>
                <a:path w="167" h="83">
                  <a:moveTo>
                    <a:pt x="83" y="55"/>
                  </a:moveTo>
                  <a:lnTo>
                    <a:pt x="83" y="59"/>
                  </a:lnTo>
                  <a:lnTo>
                    <a:pt x="80" y="59"/>
                  </a:lnTo>
                  <a:lnTo>
                    <a:pt x="80" y="63"/>
                  </a:lnTo>
                  <a:lnTo>
                    <a:pt x="76" y="63"/>
                  </a:lnTo>
                  <a:lnTo>
                    <a:pt x="72" y="63"/>
                  </a:lnTo>
                  <a:lnTo>
                    <a:pt x="68" y="67"/>
                  </a:lnTo>
                  <a:lnTo>
                    <a:pt x="68" y="71"/>
                  </a:lnTo>
                  <a:lnTo>
                    <a:pt x="72" y="71"/>
                  </a:lnTo>
                  <a:lnTo>
                    <a:pt x="72" y="75"/>
                  </a:lnTo>
                  <a:lnTo>
                    <a:pt x="68" y="75"/>
                  </a:lnTo>
                  <a:lnTo>
                    <a:pt x="64" y="75"/>
                  </a:lnTo>
                  <a:lnTo>
                    <a:pt x="60" y="75"/>
                  </a:lnTo>
                  <a:lnTo>
                    <a:pt x="60" y="79"/>
                  </a:lnTo>
                  <a:lnTo>
                    <a:pt x="56" y="79"/>
                  </a:lnTo>
                  <a:lnTo>
                    <a:pt x="52" y="79"/>
                  </a:lnTo>
                  <a:lnTo>
                    <a:pt x="48" y="79"/>
                  </a:lnTo>
                  <a:lnTo>
                    <a:pt x="44" y="79"/>
                  </a:lnTo>
                  <a:lnTo>
                    <a:pt x="44" y="83"/>
                  </a:lnTo>
                  <a:lnTo>
                    <a:pt x="44" y="79"/>
                  </a:lnTo>
                  <a:lnTo>
                    <a:pt x="40" y="79"/>
                  </a:lnTo>
                  <a:lnTo>
                    <a:pt x="36" y="79"/>
                  </a:lnTo>
                  <a:lnTo>
                    <a:pt x="36" y="75"/>
                  </a:lnTo>
                  <a:lnTo>
                    <a:pt x="32" y="75"/>
                  </a:lnTo>
                  <a:lnTo>
                    <a:pt x="36" y="75"/>
                  </a:lnTo>
                  <a:lnTo>
                    <a:pt x="32" y="71"/>
                  </a:lnTo>
                  <a:lnTo>
                    <a:pt x="32" y="75"/>
                  </a:lnTo>
                  <a:lnTo>
                    <a:pt x="28" y="75"/>
                  </a:lnTo>
                  <a:lnTo>
                    <a:pt x="24" y="79"/>
                  </a:lnTo>
                  <a:lnTo>
                    <a:pt x="24" y="75"/>
                  </a:lnTo>
                  <a:lnTo>
                    <a:pt x="20" y="75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8" y="75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0" y="63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63"/>
                  </a:lnTo>
                  <a:lnTo>
                    <a:pt x="20" y="63"/>
                  </a:lnTo>
                  <a:lnTo>
                    <a:pt x="20" y="67"/>
                  </a:lnTo>
                  <a:lnTo>
                    <a:pt x="16" y="67"/>
                  </a:lnTo>
                  <a:lnTo>
                    <a:pt x="20" y="67"/>
                  </a:lnTo>
                  <a:lnTo>
                    <a:pt x="20" y="63"/>
                  </a:lnTo>
                  <a:lnTo>
                    <a:pt x="24" y="63"/>
                  </a:lnTo>
                  <a:lnTo>
                    <a:pt x="24" y="59"/>
                  </a:lnTo>
                  <a:lnTo>
                    <a:pt x="28" y="59"/>
                  </a:lnTo>
                  <a:lnTo>
                    <a:pt x="32" y="59"/>
                  </a:lnTo>
                  <a:lnTo>
                    <a:pt x="36" y="63"/>
                  </a:lnTo>
                  <a:lnTo>
                    <a:pt x="40" y="59"/>
                  </a:lnTo>
                  <a:lnTo>
                    <a:pt x="44" y="55"/>
                  </a:lnTo>
                  <a:lnTo>
                    <a:pt x="48" y="55"/>
                  </a:lnTo>
                  <a:lnTo>
                    <a:pt x="48" y="51"/>
                  </a:lnTo>
                  <a:lnTo>
                    <a:pt x="48" y="55"/>
                  </a:lnTo>
                  <a:lnTo>
                    <a:pt x="52" y="55"/>
                  </a:lnTo>
                  <a:lnTo>
                    <a:pt x="52" y="51"/>
                  </a:lnTo>
                  <a:lnTo>
                    <a:pt x="56" y="51"/>
                  </a:lnTo>
                  <a:lnTo>
                    <a:pt x="56" y="47"/>
                  </a:lnTo>
                  <a:lnTo>
                    <a:pt x="60" y="47"/>
                  </a:lnTo>
                  <a:lnTo>
                    <a:pt x="56" y="47"/>
                  </a:lnTo>
                  <a:lnTo>
                    <a:pt x="52" y="47"/>
                  </a:lnTo>
                  <a:lnTo>
                    <a:pt x="48" y="43"/>
                  </a:lnTo>
                  <a:lnTo>
                    <a:pt x="44" y="43"/>
                  </a:lnTo>
                  <a:lnTo>
                    <a:pt x="44" y="39"/>
                  </a:lnTo>
                  <a:lnTo>
                    <a:pt x="40" y="39"/>
                  </a:lnTo>
                  <a:lnTo>
                    <a:pt x="40" y="35"/>
                  </a:lnTo>
                  <a:lnTo>
                    <a:pt x="36" y="31"/>
                  </a:lnTo>
                  <a:lnTo>
                    <a:pt x="36" y="35"/>
                  </a:lnTo>
                  <a:lnTo>
                    <a:pt x="36" y="39"/>
                  </a:lnTo>
                  <a:lnTo>
                    <a:pt x="32" y="39"/>
                  </a:lnTo>
                  <a:lnTo>
                    <a:pt x="32" y="35"/>
                  </a:lnTo>
                  <a:lnTo>
                    <a:pt x="32" y="39"/>
                  </a:lnTo>
                  <a:lnTo>
                    <a:pt x="32" y="43"/>
                  </a:lnTo>
                  <a:lnTo>
                    <a:pt x="28" y="39"/>
                  </a:lnTo>
                  <a:lnTo>
                    <a:pt x="24" y="39"/>
                  </a:lnTo>
                  <a:lnTo>
                    <a:pt x="24" y="35"/>
                  </a:lnTo>
                  <a:lnTo>
                    <a:pt x="20" y="35"/>
                  </a:lnTo>
                  <a:lnTo>
                    <a:pt x="16" y="35"/>
                  </a:lnTo>
                  <a:lnTo>
                    <a:pt x="12" y="35"/>
                  </a:lnTo>
                  <a:lnTo>
                    <a:pt x="12" y="31"/>
                  </a:lnTo>
                  <a:lnTo>
                    <a:pt x="16" y="31"/>
                  </a:lnTo>
                  <a:lnTo>
                    <a:pt x="16" y="27"/>
                  </a:lnTo>
                  <a:lnTo>
                    <a:pt x="20" y="27"/>
                  </a:lnTo>
                  <a:lnTo>
                    <a:pt x="20" y="23"/>
                  </a:lnTo>
                  <a:lnTo>
                    <a:pt x="24" y="23"/>
                  </a:lnTo>
                  <a:lnTo>
                    <a:pt x="28" y="19"/>
                  </a:lnTo>
                  <a:lnTo>
                    <a:pt x="28" y="15"/>
                  </a:lnTo>
                  <a:lnTo>
                    <a:pt x="24" y="19"/>
                  </a:lnTo>
                  <a:lnTo>
                    <a:pt x="24" y="15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5"/>
                  </a:lnTo>
                  <a:lnTo>
                    <a:pt x="64" y="15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1" y="8"/>
                  </a:lnTo>
                  <a:lnTo>
                    <a:pt x="95" y="8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51" y="8"/>
                  </a:lnTo>
                  <a:lnTo>
                    <a:pt x="151" y="12"/>
                  </a:lnTo>
                  <a:lnTo>
                    <a:pt x="151" y="15"/>
                  </a:lnTo>
                  <a:lnTo>
                    <a:pt x="155" y="15"/>
                  </a:lnTo>
                  <a:lnTo>
                    <a:pt x="159" y="15"/>
                  </a:lnTo>
                  <a:lnTo>
                    <a:pt x="163" y="15"/>
                  </a:lnTo>
                  <a:lnTo>
                    <a:pt x="163" y="19"/>
                  </a:lnTo>
                  <a:lnTo>
                    <a:pt x="167" y="19"/>
                  </a:lnTo>
                  <a:lnTo>
                    <a:pt x="167" y="23"/>
                  </a:lnTo>
                  <a:lnTo>
                    <a:pt x="163" y="23"/>
                  </a:lnTo>
                  <a:lnTo>
                    <a:pt x="159" y="23"/>
                  </a:lnTo>
                  <a:lnTo>
                    <a:pt x="159" y="27"/>
                  </a:lnTo>
                  <a:lnTo>
                    <a:pt x="155" y="27"/>
                  </a:lnTo>
                  <a:lnTo>
                    <a:pt x="151" y="27"/>
                  </a:lnTo>
                  <a:lnTo>
                    <a:pt x="147" y="27"/>
                  </a:lnTo>
                  <a:lnTo>
                    <a:pt x="147" y="31"/>
                  </a:lnTo>
                  <a:lnTo>
                    <a:pt x="143" y="31"/>
                  </a:lnTo>
                  <a:lnTo>
                    <a:pt x="139" y="35"/>
                  </a:lnTo>
                  <a:lnTo>
                    <a:pt x="135" y="35"/>
                  </a:lnTo>
                  <a:lnTo>
                    <a:pt x="135" y="39"/>
                  </a:lnTo>
                  <a:lnTo>
                    <a:pt x="135" y="43"/>
                  </a:lnTo>
                  <a:lnTo>
                    <a:pt x="131" y="43"/>
                  </a:lnTo>
                  <a:lnTo>
                    <a:pt x="127" y="43"/>
                  </a:lnTo>
                  <a:lnTo>
                    <a:pt x="123" y="43"/>
                  </a:lnTo>
                  <a:lnTo>
                    <a:pt x="119" y="43"/>
                  </a:lnTo>
                  <a:lnTo>
                    <a:pt x="115" y="43"/>
                  </a:lnTo>
                  <a:lnTo>
                    <a:pt x="111" y="43"/>
                  </a:lnTo>
                  <a:lnTo>
                    <a:pt x="111" y="51"/>
                  </a:lnTo>
                  <a:lnTo>
                    <a:pt x="111" y="55"/>
                  </a:lnTo>
                  <a:lnTo>
                    <a:pt x="107" y="55"/>
                  </a:lnTo>
                  <a:lnTo>
                    <a:pt x="107" y="59"/>
                  </a:lnTo>
                  <a:lnTo>
                    <a:pt x="107" y="55"/>
                  </a:lnTo>
                  <a:lnTo>
                    <a:pt x="103" y="55"/>
                  </a:lnTo>
                  <a:lnTo>
                    <a:pt x="99" y="59"/>
                  </a:lnTo>
                  <a:lnTo>
                    <a:pt x="95" y="59"/>
                  </a:lnTo>
                  <a:lnTo>
                    <a:pt x="95" y="55"/>
                  </a:lnTo>
                  <a:lnTo>
                    <a:pt x="95" y="51"/>
                  </a:lnTo>
                  <a:lnTo>
                    <a:pt x="91" y="51"/>
                  </a:lnTo>
                  <a:lnTo>
                    <a:pt x="91" y="55"/>
                  </a:lnTo>
                  <a:lnTo>
                    <a:pt x="87" y="55"/>
                  </a:lnTo>
                  <a:lnTo>
                    <a:pt x="83" y="5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29" name="Freeform 28">
              <a:extLst>
                <a:ext uri="{FF2B5EF4-FFF2-40B4-BE49-F238E27FC236}">
                  <a16:creationId xmlns:a16="http://schemas.microsoft.com/office/drawing/2014/main" id="{532E9129-5542-5D45-B65E-FF81E7995BBE}"/>
                </a:ext>
              </a:extLst>
            </p:cNvPr>
            <p:cNvSpPr>
              <a:spLocks/>
            </p:cNvSpPr>
            <p:nvPr>
              <p:custDataLst>
                <p:tags r:id="rId19"/>
              </p:custDataLst>
            </p:nvPr>
          </p:nvSpPr>
          <p:spPr bwMode="gray">
            <a:xfrm>
              <a:off x="4461144" y="5142487"/>
              <a:ext cx="30255" cy="40339"/>
            </a:xfrm>
            <a:custGeom>
              <a:avLst/>
              <a:gdLst/>
              <a:ahLst/>
              <a:cxnLst>
                <a:cxn ang="0">
                  <a:pos x="16" y="0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12" y="24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4"/>
                </a:cxn>
                <a:cxn ang="0">
                  <a:pos x="16" y="0"/>
                </a:cxn>
                <a:cxn ang="0">
                  <a:pos x="16" y="0"/>
                </a:cxn>
              </a:cxnLst>
              <a:rect l="0" t="0" r="r" b="b"/>
              <a:pathLst>
                <a:path w="24" h="32">
                  <a:moveTo>
                    <a:pt x="16" y="0"/>
                  </a:move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0" name="Freeform 29">
              <a:extLst>
                <a:ext uri="{FF2B5EF4-FFF2-40B4-BE49-F238E27FC236}">
                  <a16:creationId xmlns:a16="http://schemas.microsoft.com/office/drawing/2014/main" id="{CCBC8DAF-78AF-F54C-B18E-9BAB519E612C}"/>
                </a:ext>
              </a:extLst>
            </p:cNvPr>
            <p:cNvSpPr>
              <a:spLocks noEditPoints="1"/>
            </p:cNvSpPr>
            <p:nvPr>
              <p:custDataLst>
                <p:tags r:id="rId20"/>
              </p:custDataLst>
            </p:nvPr>
          </p:nvSpPr>
          <p:spPr bwMode="gray">
            <a:xfrm>
              <a:off x="5185991" y="5801784"/>
              <a:ext cx="10085" cy="17648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0" y="40"/>
                </a:cxn>
                <a:cxn ang="0">
                  <a:pos x="0" y="40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8" y="52"/>
                </a:cxn>
                <a:cxn ang="0">
                  <a:pos x="8" y="52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8" y="68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2"/>
                </a:cxn>
                <a:cxn ang="0">
                  <a:pos x="0" y="76"/>
                </a:cxn>
                <a:cxn ang="0">
                  <a:pos x="0" y="76"/>
                </a:cxn>
                <a:cxn ang="0">
                  <a:pos x="8" y="76"/>
                </a:cxn>
                <a:cxn ang="0">
                  <a:pos x="8" y="76"/>
                </a:cxn>
                <a:cxn ang="0">
                  <a:pos x="4" y="84"/>
                </a:cxn>
                <a:cxn ang="0">
                  <a:pos x="4" y="88"/>
                </a:cxn>
                <a:cxn ang="0">
                  <a:pos x="4" y="84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96"/>
                </a:cxn>
                <a:cxn ang="0">
                  <a:pos x="8" y="124"/>
                </a:cxn>
                <a:cxn ang="0">
                  <a:pos x="8" y="124"/>
                </a:cxn>
                <a:cxn ang="0">
                  <a:pos x="0" y="124"/>
                </a:cxn>
                <a:cxn ang="0">
                  <a:pos x="0" y="124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8" y="136"/>
                </a:cxn>
                <a:cxn ang="0">
                  <a:pos x="0" y="140"/>
                </a:cxn>
                <a:cxn ang="0">
                  <a:pos x="0" y="140"/>
                </a:cxn>
                <a:cxn ang="0">
                  <a:pos x="0" y="140"/>
                </a:cxn>
              </a:cxnLst>
              <a:rect l="0" t="0" r="r" b="b"/>
              <a:pathLst>
                <a:path w="8" h="140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  <a:moveTo>
                    <a:pt x="4" y="4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close/>
                  <a:moveTo>
                    <a:pt x="0" y="12"/>
                  </a:move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close/>
                  <a:moveTo>
                    <a:pt x="0" y="20"/>
                  </a:move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  <a:moveTo>
                    <a:pt x="0" y="40"/>
                  </a:moveTo>
                  <a:lnTo>
                    <a:pt x="0" y="40"/>
                  </a:lnTo>
                  <a:lnTo>
                    <a:pt x="0" y="40"/>
                  </a:lnTo>
                  <a:lnTo>
                    <a:pt x="0" y="40"/>
                  </a:lnTo>
                  <a:close/>
                  <a:moveTo>
                    <a:pt x="0" y="48"/>
                  </a:move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close/>
                  <a:moveTo>
                    <a:pt x="8" y="52"/>
                  </a:move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close/>
                  <a:moveTo>
                    <a:pt x="8" y="68"/>
                  </a:move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close/>
                  <a:moveTo>
                    <a:pt x="0" y="72"/>
                  </a:move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lnTo>
                    <a:pt x="0" y="72"/>
                  </a:lnTo>
                  <a:close/>
                  <a:moveTo>
                    <a:pt x="0" y="76"/>
                  </a:move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close/>
                  <a:moveTo>
                    <a:pt x="8" y="76"/>
                  </a:move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close/>
                  <a:moveTo>
                    <a:pt x="4" y="84"/>
                  </a:moveTo>
                  <a:lnTo>
                    <a:pt x="4" y="84"/>
                  </a:lnTo>
                  <a:lnTo>
                    <a:pt x="4" y="84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4"/>
                  </a:lnTo>
                  <a:close/>
                  <a:moveTo>
                    <a:pt x="8" y="96"/>
                  </a:move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close/>
                  <a:moveTo>
                    <a:pt x="8" y="124"/>
                  </a:moveTo>
                  <a:lnTo>
                    <a:pt x="8" y="124"/>
                  </a:lnTo>
                  <a:lnTo>
                    <a:pt x="8" y="124"/>
                  </a:lnTo>
                  <a:lnTo>
                    <a:pt x="8" y="124"/>
                  </a:lnTo>
                  <a:close/>
                  <a:moveTo>
                    <a:pt x="0" y="124"/>
                  </a:moveTo>
                  <a:lnTo>
                    <a:pt x="0" y="124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4"/>
                  </a:lnTo>
                  <a:close/>
                  <a:moveTo>
                    <a:pt x="8" y="136"/>
                  </a:move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lnTo>
                    <a:pt x="8" y="136"/>
                  </a:lnTo>
                  <a:close/>
                  <a:moveTo>
                    <a:pt x="0" y="140"/>
                  </a:move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lnTo>
                    <a:pt x="0" y="14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1" name="Freeform 32">
              <a:extLst>
                <a:ext uri="{FF2B5EF4-FFF2-40B4-BE49-F238E27FC236}">
                  <a16:creationId xmlns:a16="http://schemas.microsoft.com/office/drawing/2014/main" id="{0DB756C3-8EEE-3641-A620-74672D46DE35}"/>
                </a:ext>
              </a:extLst>
            </p:cNvPr>
            <p:cNvSpPr>
              <a:spLocks/>
            </p:cNvSpPr>
            <p:nvPr>
              <p:custDataLst>
                <p:tags r:id="rId21"/>
              </p:custDataLst>
            </p:nvPr>
          </p:nvSpPr>
          <p:spPr bwMode="gray">
            <a:xfrm>
              <a:off x="5320876" y="5248378"/>
              <a:ext cx="156315" cy="100848"/>
            </a:xfrm>
            <a:custGeom>
              <a:avLst/>
              <a:gdLst/>
              <a:ahLst/>
              <a:cxnLst>
                <a:cxn ang="0">
                  <a:pos x="36" y="52"/>
                </a:cxn>
                <a:cxn ang="0">
                  <a:pos x="32" y="48"/>
                </a:cxn>
                <a:cxn ang="0">
                  <a:pos x="28" y="48"/>
                </a:cxn>
                <a:cxn ang="0">
                  <a:pos x="20" y="44"/>
                </a:cxn>
                <a:cxn ang="0">
                  <a:pos x="16" y="40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0"/>
                </a:cxn>
                <a:cxn ang="0">
                  <a:pos x="20" y="0"/>
                </a:cxn>
                <a:cxn ang="0">
                  <a:pos x="28" y="0"/>
                </a:cxn>
                <a:cxn ang="0">
                  <a:pos x="36" y="8"/>
                </a:cxn>
                <a:cxn ang="0">
                  <a:pos x="44" y="12"/>
                </a:cxn>
                <a:cxn ang="0">
                  <a:pos x="48" y="16"/>
                </a:cxn>
                <a:cxn ang="0">
                  <a:pos x="52" y="24"/>
                </a:cxn>
                <a:cxn ang="0">
                  <a:pos x="56" y="24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8" y="32"/>
                </a:cxn>
                <a:cxn ang="0">
                  <a:pos x="72" y="36"/>
                </a:cxn>
                <a:cxn ang="0">
                  <a:pos x="76" y="36"/>
                </a:cxn>
                <a:cxn ang="0">
                  <a:pos x="76" y="40"/>
                </a:cxn>
                <a:cxn ang="0">
                  <a:pos x="80" y="40"/>
                </a:cxn>
                <a:cxn ang="0">
                  <a:pos x="88" y="44"/>
                </a:cxn>
                <a:cxn ang="0">
                  <a:pos x="88" y="48"/>
                </a:cxn>
                <a:cxn ang="0">
                  <a:pos x="92" y="44"/>
                </a:cxn>
                <a:cxn ang="0">
                  <a:pos x="96" y="48"/>
                </a:cxn>
                <a:cxn ang="0">
                  <a:pos x="100" y="44"/>
                </a:cxn>
                <a:cxn ang="0">
                  <a:pos x="104" y="48"/>
                </a:cxn>
                <a:cxn ang="0">
                  <a:pos x="108" y="48"/>
                </a:cxn>
                <a:cxn ang="0">
                  <a:pos x="116" y="52"/>
                </a:cxn>
                <a:cxn ang="0">
                  <a:pos x="116" y="48"/>
                </a:cxn>
                <a:cxn ang="0">
                  <a:pos x="120" y="48"/>
                </a:cxn>
                <a:cxn ang="0">
                  <a:pos x="124" y="52"/>
                </a:cxn>
                <a:cxn ang="0">
                  <a:pos x="120" y="60"/>
                </a:cxn>
                <a:cxn ang="0">
                  <a:pos x="120" y="68"/>
                </a:cxn>
                <a:cxn ang="0">
                  <a:pos x="120" y="76"/>
                </a:cxn>
                <a:cxn ang="0">
                  <a:pos x="120" y="76"/>
                </a:cxn>
                <a:cxn ang="0">
                  <a:pos x="116" y="76"/>
                </a:cxn>
                <a:cxn ang="0">
                  <a:pos x="112" y="76"/>
                </a:cxn>
                <a:cxn ang="0">
                  <a:pos x="104" y="76"/>
                </a:cxn>
                <a:cxn ang="0">
                  <a:pos x="96" y="76"/>
                </a:cxn>
                <a:cxn ang="0">
                  <a:pos x="92" y="72"/>
                </a:cxn>
                <a:cxn ang="0">
                  <a:pos x="84" y="72"/>
                </a:cxn>
                <a:cxn ang="0">
                  <a:pos x="84" y="68"/>
                </a:cxn>
                <a:cxn ang="0">
                  <a:pos x="80" y="72"/>
                </a:cxn>
                <a:cxn ang="0">
                  <a:pos x="72" y="64"/>
                </a:cxn>
                <a:cxn ang="0">
                  <a:pos x="68" y="64"/>
                </a:cxn>
                <a:cxn ang="0">
                  <a:pos x="68" y="60"/>
                </a:cxn>
                <a:cxn ang="0">
                  <a:pos x="60" y="56"/>
                </a:cxn>
                <a:cxn ang="0">
                  <a:pos x="56" y="60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8" y="56"/>
                </a:cxn>
                <a:cxn ang="0">
                  <a:pos x="40" y="56"/>
                </a:cxn>
              </a:cxnLst>
              <a:rect l="0" t="0" r="r" b="b"/>
              <a:pathLst>
                <a:path w="124" h="80">
                  <a:moveTo>
                    <a:pt x="40" y="52"/>
                  </a:moveTo>
                  <a:lnTo>
                    <a:pt x="40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0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52" y="20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2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4"/>
                  </a:lnTo>
                  <a:lnTo>
                    <a:pt x="56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4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0" y="44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52"/>
                  </a:lnTo>
                  <a:lnTo>
                    <a:pt x="108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0" y="48"/>
                  </a:lnTo>
                  <a:lnTo>
                    <a:pt x="124" y="48"/>
                  </a:lnTo>
                  <a:lnTo>
                    <a:pt x="124" y="48"/>
                  </a:lnTo>
                  <a:lnTo>
                    <a:pt x="124" y="52"/>
                  </a:lnTo>
                  <a:lnTo>
                    <a:pt x="124" y="52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4" y="68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lnTo>
                    <a:pt x="96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92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0" y="68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76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72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2" name="Freeform 31">
              <a:extLst>
                <a:ext uri="{FF2B5EF4-FFF2-40B4-BE49-F238E27FC236}">
                  <a16:creationId xmlns:a16="http://schemas.microsoft.com/office/drawing/2014/main" id="{59610EF7-9B60-DE4C-B599-414E65CB7EA5}"/>
                </a:ext>
              </a:extLst>
            </p:cNvPr>
            <p:cNvSpPr>
              <a:spLocks noEditPoints="1"/>
            </p:cNvSpPr>
            <p:nvPr>
              <p:custDataLst>
                <p:tags r:id="rId22"/>
              </p:custDataLst>
            </p:nvPr>
          </p:nvSpPr>
          <p:spPr bwMode="gray">
            <a:xfrm>
              <a:off x="4782598" y="5349226"/>
              <a:ext cx="151273" cy="230690"/>
            </a:xfrm>
            <a:custGeom>
              <a:avLst/>
              <a:gdLst/>
              <a:ahLst/>
              <a:cxnLst>
                <a:cxn ang="0">
                  <a:pos x="68" y="0"/>
                </a:cxn>
                <a:cxn ang="0">
                  <a:pos x="68" y="8"/>
                </a:cxn>
                <a:cxn ang="0">
                  <a:pos x="64" y="12"/>
                </a:cxn>
                <a:cxn ang="0">
                  <a:pos x="64" y="4"/>
                </a:cxn>
                <a:cxn ang="0">
                  <a:pos x="64" y="0"/>
                </a:cxn>
                <a:cxn ang="0">
                  <a:pos x="68" y="0"/>
                </a:cxn>
                <a:cxn ang="0">
                  <a:pos x="48" y="68"/>
                </a:cxn>
                <a:cxn ang="0">
                  <a:pos x="52" y="60"/>
                </a:cxn>
                <a:cxn ang="0">
                  <a:pos x="56" y="52"/>
                </a:cxn>
                <a:cxn ang="0">
                  <a:pos x="60" y="44"/>
                </a:cxn>
                <a:cxn ang="0">
                  <a:pos x="60" y="40"/>
                </a:cxn>
                <a:cxn ang="0">
                  <a:pos x="60" y="32"/>
                </a:cxn>
                <a:cxn ang="0">
                  <a:pos x="60" y="24"/>
                </a:cxn>
                <a:cxn ang="0">
                  <a:pos x="64" y="28"/>
                </a:cxn>
                <a:cxn ang="0">
                  <a:pos x="64" y="28"/>
                </a:cxn>
                <a:cxn ang="0">
                  <a:pos x="68" y="28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40"/>
                </a:cxn>
                <a:cxn ang="0">
                  <a:pos x="88" y="48"/>
                </a:cxn>
                <a:cxn ang="0">
                  <a:pos x="92" y="48"/>
                </a:cxn>
                <a:cxn ang="0">
                  <a:pos x="96" y="52"/>
                </a:cxn>
                <a:cxn ang="0">
                  <a:pos x="100" y="52"/>
                </a:cxn>
                <a:cxn ang="0">
                  <a:pos x="108" y="60"/>
                </a:cxn>
                <a:cxn ang="0">
                  <a:pos x="112" y="68"/>
                </a:cxn>
                <a:cxn ang="0">
                  <a:pos x="116" y="72"/>
                </a:cxn>
                <a:cxn ang="0">
                  <a:pos x="120" y="80"/>
                </a:cxn>
                <a:cxn ang="0">
                  <a:pos x="116" y="88"/>
                </a:cxn>
                <a:cxn ang="0">
                  <a:pos x="112" y="96"/>
                </a:cxn>
                <a:cxn ang="0">
                  <a:pos x="104" y="104"/>
                </a:cxn>
                <a:cxn ang="0">
                  <a:pos x="100" y="111"/>
                </a:cxn>
                <a:cxn ang="0">
                  <a:pos x="96" y="111"/>
                </a:cxn>
                <a:cxn ang="0">
                  <a:pos x="96" y="108"/>
                </a:cxn>
                <a:cxn ang="0">
                  <a:pos x="88" y="115"/>
                </a:cxn>
                <a:cxn ang="0">
                  <a:pos x="88" y="123"/>
                </a:cxn>
                <a:cxn ang="0">
                  <a:pos x="88" y="131"/>
                </a:cxn>
                <a:cxn ang="0">
                  <a:pos x="88" y="139"/>
                </a:cxn>
                <a:cxn ang="0">
                  <a:pos x="80" y="139"/>
                </a:cxn>
                <a:cxn ang="0">
                  <a:pos x="72" y="143"/>
                </a:cxn>
                <a:cxn ang="0">
                  <a:pos x="72" y="151"/>
                </a:cxn>
                <a:cxn ang="0">
                  <a:pos x="68" y="155"/>
                </a:cxn>
                <a:cxn ang="0">
                  <a:pos x="64" y="159"/>
                </a:cxn>
                <a:cxn ang="0">
                  <a:pos x="52" y="159"/>
                </a:cxn>
                <a:cxn ang="0">
                  <a:pos x="52" y="163"/>
                </a:cxn>
                <a:cxn ang="0">
                  <a:pos x="52" y="167"/>
                </a:cxn>
                <a:cxn ang="0">
                  <a:pos x="44" y="175"/>
                </a:cxn>
                <a:cxn ang="0">
                  <a:pos x="40" y="175"/>
                </a:cxn>
                <a:cxn ang="0">
                  <a:pos x="28" y="179"/>
                </a:cxn>
                <a:cxn ang="0">
                  <a:pos x="24" y="179"/>
                </a:cxn>
                <a:cxn ang="0">
                  <a:pos x="0" y="139"/>
                </a:cxn>
                <a:cxn ang="0">
                  <a:pos x="104" y="115"/>
                </a:cxn>
                <a:cxn ang="0">
                  <a:pos x="104" y="111"/>
                </a:cxn>
                <a:cxn ang="0">
                  <a:pos x="108" y="108"/>
                </a:cxn>
                <a:cxn ang="0">
                  <a:pos x="104" y="111"/>
                </a:cxn>
                <a:cxn ang="0">
                  <a:pos x="104" y="115"/>
                </a:cxn>
              </a:cxnLst>
              <a:rect l="0" t="0" r="r" b="b"/>
              <a:pathLst>
                <a:path w="120" h="183">
                  <a:moveTo>
                    <a:pt x="68" y="0"/>
                  </a:move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close/>
                  <a:moveTo>
                    <a:pt x="52" y="96"/>
                  </a:moveTo>
                  <a:lnTo>
                    <a:pt x="56" y="80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4" y="44"/>
                  </a:lnTo>
                  <a:lnTo>
                    <a:pt x="64" y="44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8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8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0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4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76"/>
                  </a:lnTo>
                  <a:lnTo>
                    <a:pt x="120" y="80"/>
                  </a:lnTo>
                  <a:lnTo>
                    <a:pt x="120" y="80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4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6" y="88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2"/>
                  </a:lnTo>
                  <a:lnTo>
                    <a:pt x="112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4"/>
                  </a:lnTo>
                  <a:lnTo>
                    <a:pt x="104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08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100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11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2" y="108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1"/>
                  </a:lnTo>
                  <a:lnTo>
                    <a:pt x="92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5"/>
                  </a:lnTo>
                  <a:lnTo>
                    <a:pt x="88" y="119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3"/>
                  </a:lnTo>
                  <a:lnTo>
                    <a:pt x="88" y="127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1"/>
                  </a:lnTo>
                  <a:lnTo>
                    <a:pt x="88" y="135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8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4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80" y="139"/>
                  </a:lnTo>
                  <a:lnTo>
                    <a:pt x="76" y="139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6" y="143"/>
                  </a:lnTo>
                  <a:lnTo>
                    <a:pt x="72" y="143"/>
                  </a:lnTo>
                  <a:lnTo>
                    <a:pt x="72" y="143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47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1"/>
                  </a:lnTo>
                  <a:lnTo>
                    <a:pt x="72" y="155"/>
                  </a:lnTo>
                  <a:lnTo>
                    <a:pt x="72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5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4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60" y="159"/>
                  </a:lnTo>
                  <a:lnTo>
                    <a:pt x="56" y="159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59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3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67"/>
                  </a:lnTo>
                  <a:lnTo>
                    <a:pt x="52" y="171"/>
                  </a:lnTo>
                  <a:lnTo>
                    <a:pt x="52" y="171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8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4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40" y="175"/>
                  </a:lnTo>
                  <a:lnTo>
                    <a:pt x="36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32" y="175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8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4" y="179"/>
                  </a:lnTo>
                  <a:lnTo>
                    <a:pt x="20" y="179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20" y="183"/>
                  </a:lnTo>
                  <a:lnTo>
                    <a:pt x="12" y="171"/>
                  </a:lnTo>
                  <a:lnTo>
                    <a:pt x="12" y="167"/>
                  </a:lnTo>
                  <a:lnTo>
                    <a:pt x="0" y="139"/>
                  </a:lnTo>
                  <a:lnTo>
                    <a:pt x="48" y="119"/>
                  </a:lnTo>
                  <a:lnTo>
                    <a:pt x="52" y="96"/>
                  </a:lnTo>
                  <a:close/>
                  <a:moveTo>
                    <a:pt x="104" y="115"/>
                  </a:move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8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1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lnTo>
                    <a:pt x="104" y="115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3" name="Freeform 32">
              <a:extLst>
                <a:ext uri="{FF2B5EF4-FFF2-40B4-BE49-F238E27FC236}">
                  <a16:creationId xmlns:a16="http://schemas.microsoft.com/office/drawing/2014/main" id="{939609C0-1ED0-9746-8D74-4E229FE2AE38}"/>
                </a:ext>
              </a:extLst>
            </p:cNvPr>
            <p:cNvSpPr>
              <a:spLocks/>
            </p:cNvSpPr>
            <p:nvPr>
              <p:custDataLst>
                <p:tags r:id="rId23"/>
              </p:custDataLst>
            </p:nvPr>
          </p:nvSpPr>
          <p:spPr bwMode="gray">
            <a:xfrm>
              <a:off x="4954040" y="5081978"/>
              <a:ext cx="321454" cy="327757"/>
            </a:xfrm>
            <a:custGeom>
              <a:avLst/>
              <a:gdLst/>
              <a:ahLst/>
              <a:cxnLst>
                <a:cxn ang="0">
                  <a:pos x="56" y="148"/>
                </a:cxn>
                <a:cxn ang="0">
                  <a:pos x="80" y="144"/>
                </a:cxn>
                <a:cxn ang="0">
                  <a:pos x="84" y="128"/>
                </a:cxn>
                <a:cxn ang="0">
                  <a:pos x="92" y="116"/>
                </a:cxn>
                <a:cxn ang="0">
                  <a:pos x="104" y="108"/>
                </a:cxn>
                <a:cxn ang="0">
                  <a:pos x="124" y="108"/>
                </a:cxn>
                <a:cxn ang="0">
                  <a:pos x="128" y="88"/>
                </a:cxn>
                <a:cxn ang="0">
                  <a:pos x="136" y="80"/>
                </a:cxn>
                <a:cxn ang="0">
                  <a:pos x="140" y="64"/>
                </a:cxn>
                <a:cxn ang="0">
                  <a:pos x="152" y="60"/>
                </a:cxn>
                <a:cxn ang="0">
                  <a:pos x="156" y="48"/>
                </a:cxn>
                <a:cxn ang="0">
                  <a:pos x="164" y="28"/>
                </a:cxn>
                <a:cxn ang="0">
                  <a:pos x="156" y="16"/>
                </a:cxn>
                <a:cxn ang="0">
                  <a:pos x="176" y="4"/>
                </a:cxn>
                <a:cxn ang="0">
                  <a:pos x="200" y="4"/>
                </a:cxn>
                <a:cxn ang="0">
                  <a:pos x="219" y="4"/>
                </a:cxn>
                <a:cxn ang="0">
                  <a:pos x="227" y="16"/>
                </a:cxn>
                <a:cxn ang="0">
                  <a:pos x="239" y="24"/>
                </a:cxn>
                <a:cxn ang="0">
                  <a:pos x="255" y="28"/>
                </a:cxn>
                <a:cxn ang="0">
                  <a:pos x="243" y="40"/>
                </a:cxn>
                <a:cxn ang="0">
                  <a:pos x="231" y="48"/>
                </a:cxn>
                <a:cxn ang="0">
                  <a:pos x="208" y="48"/>
                </a:cxn>
                <a:cxn ang="0">
                  <a:pos x="200" y="52"/>
                </a:cxn>
                <a:cxn ang="0">
                  <a:pos x="200" y="64"/>
                </a:cxn>
                <a:cxn ang="0">
                  <a:pos x="204" y="84"/>
                </a:cxn>
                <a:cxn ang="0">
                  <a:pos x="219" y="96"/>
                </a:cxn>
                <a:cxn ang="0">
                  <a:pos x="208" y="108"/>
                </a:cxn>
                <a:cxn ang="0">
                  <a:pos x="208" y="120"/>
                </a:cxn>
                <a:cxn ang="0">
                  <a:pos x="200" y="136"/>
                </a:cxn>
                <a:cxn ang="0">
                  <a:pos x="184" y="160"/>
                </a:cxn>
                <a:cxn ang="0">
                  <a:pos x="172" y="172"/>
                </a:cxn>
                <a:cxn ang="0">
                  <a:pos x="156" y="184"/>
                </a:cxn>
                <a:cxn ang="0">
                  <a:pos x="144" y="180"/>
                </a:cxn>
                <a:cxn ang="0">
                  <a:pos x="132" y="192"/>
                </a:cxn>
                <a:cxn ang="0">
                  <a:pos x="140" y="208"/>
                </a:cxn>
                <a:cxn ang="0">
                  <a:pos x="148" y="228"/>
                </a:cxn>
                <a:cxn ang="0">
                  <a:pos x="152" y="244"/>
                </a:cxn>
                <a:cxn ang="0">
                  <a:pos x="148" y="248"/>
                </a:cxn>
                <a:cxn ang="0">
                  <a:pos x="128" y="252"/>
                </a:cxn>
                <a:cxn ang="0">
                  <a:pos x="116" y="256"/>
                </a:cxn>
                <a:cxn ang="0">
                  <a:pos x="108" y="256"/>
                </a:cxn>
                <a:cxn ang="0">
                  <a:pos x="96" y="252"/>
                </a:cxn>
                <a:cxn ang="0">
                  <a:pos x="88" y="236"/>
                </a:cxn>
                <a:cxn ang="0">
                  <a:pos x="84" y="224"/>
                </a:cxn>
                <a:cxn ang="0">
                  <a:pos x="64" y="228"/>
                </a:cxn>
                <a:cxn ang="0">
                  <a:pos x="52" y="232"/>
                </a:cxn>
                <a:cxn ang="0">
                  <a:pos x="40" y="232"/>
                </a:cxn>
                <a:cxn ang="0">
                  <a:pos x="16" y="236"/>
                </a:cxn>
                <a:cxn ang="0">
                  <a:pos x="16" y="220"/>
                </a:cxn>
                <a:cxn ang="0">
                  <a:pos x="20" y="208"/>
                </a:cxn>
                <a:cxn ang="0">
                  <a:pos x="36" y="200"/>
                </a:cxn>
                <a:cxn ang="0">
                  <a:pos x="28" y="184"/>
                </a:cxn>
                <a:cxn ang="0">
                  <a:pos x="16" y="168"/>
                </a:cxn>
                <a:cxn ang="0">
                  <a:pos x="0" y="144"/>
                </a:cxn>
                <a:cxn ang="0">
                  <a:pos x="36" y="148"/>
                </a:cxn>
              </a:cxnLst>
              <a:rect l="0" t="0" r="r" b="b"/>
              <a:pathLst>
                <a:path w="255" h="260">
                  <a:moveTo>
                    <a:pt x="36" y="148"/>
                  </a:moveTo>
                  <a:lnTo>
                    <a:pt x="40" y="148"/>
                  </a:lnTo>
                  <a:lnTo>
                    <a:pt x="44" y="148"/>
                  </a:lnTo>
                  <a:lnTo>
                    <a:pt x="48" y="152"/>
                  </a:lnTo>
                  <a:lnTo>
                    <a:pt x="52" y="148"/>
                  </a:lnTo>
                  <a:lnTo>
                    <a:pt x="56" y="148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8" y="148"/>
                  </a:lnTo>
                  <a:lnTo>
                    <a:pt x="72" y="144"/>
                  </a:lnTo>
                  <a:lnTo>
                    <a:pt x="76" y="144"/>
                  </a:lnTo>
                  <a:lnTo>
                    <a:pt x="80" y="144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80" y="136"/>
                  </a:lnTo>
                  <a:lnTo>
                    <a:pt x="84" y="136"/>
                  </a:lnTo>
                  <a:lnTo>
                    <a:pt x="84" y="132"/>
                  </a:lnTo>
                  <a:lnTo>
                    <a:pt x="84" y="128"/>
                  </a:lnTo>
                  <a:lnTo>
                    <a:pt x="84" y="120"/>
                  </a:lnTo>
                  <a:lnTo>
                    <a:pt x="88" y="120"/>
                  </a:lnTo>
                  <a:lnTo>
                    <a:pt x="88" y="116"/>
                  </a:lnTo>
                  <a:lnTo>
                    <a:pt x="92" y="116"/>
                  </a:lnTo>
                  <a:lnTo>
                    <a:pt x="92" y="112"/>
                  </a:lnTo>
                  <a:lnTo>
                    <a:pt x="92" y="116"/>
                  </a:lnTo>
                  <a:lnTo>
                    <a:pt x="96" y="116"/>
                  </a:lnTo>
                  <a:lnTo>
                    <a:pt x="100" y="116"/>
                  </a:lnTo>
                  <a:lnTo>
                    <a:pt x="104" y="116"/>
                  </a:lnTo>
                  <a:lnTo>
                    <a:pt x="104" y="112"/>
                  </a:lnTo>
                  <a:lnTo>
                    <a:pt x="100" y="108"/>
                  </a:lnTo>
                  <a:lnTo>
                    <a:pt x="104" y="108"/>
                  </a:lnTo>
                  <a:lnTo>
                    <a:pt x="108" y="108"/>
                  </a:lnTo>
                  <a:lnTo>
                    <a:pt x="112" y="104"/>
                  </a:lnTo>
                  <a:lnTo>
                    <a:pt x="116" y="104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24" y="108"/>
                  </a:lnTo>
                  <a:lnTo>
                    <a:pt x="124" y="104"/>
                  </a:lnTo>
                  <a:lnTo>
                    <a:pt x="128" y="104"/>
                  </a:lnTo>
                  <a:lnTo>
                    <a:pt x="128" y="100"/>
                  </a:lnTo>
                  <a:lnTo>
                    <a:pt x="128" y="96"/>
                  </a:lnTo>
                  <a:lnTo>
                    <a:pt x="128" y="92"/>
                  </a:lnTo>
                  <a:lnTo>
                    <a:pt x="128" y="88"/>
                  </a:lnTo>
                  <a:lnTo>
                    <a:pt x="132" y="88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32" y="84"/>
                  </a:lnTo>
                  <a:lnTo>
                    <a:pt x="132" y="80"/>
                  </a:lnTo>
                  <a:lnTo>
                    <a:pt x="136" y="80"/>
                  </a:lnTo>
                  <a:lnTo>
                    <a:pt x="140" y="76"/>
                  </a:lnTo>
                  <a:lnTo>
                    <a:pt x="144" y="76"/>
                  </a:lnTo>
                  <a:lnTo>
                    <a:pt x="144" y="72"/>
                  </a:lnTo>
                  <a:lnTo>
                    <a:pt x="140" y="72"/>
                  </a:lnTo>
                  <a:lnTo>
                    <a:pt x="140" y="68"/>
                  </a:lnTo>
                  <a:lnTo>
                    <a:pt x="140" y="64"/>
                  </a:lnTo>
                  <a:lnTo>
                    <a:pt x="136" y="64"/>
                  </a:lnTo>
                  <a:lnTo>
                    <a:pt x="136" y="60"/>
                  </a:lnTo>
                  <a:lnTo>
                    <a:pt x="140" y="60"/>
                  </a:lnTo>
                  <a:lnTo>
                    <a:pt x="144" y="60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6" y="60"/>
                  </a:lnTo>
                  <a:lnTo>
                    <a:pt x="156" y="56"/>
                  </a:lnTo>
                  <a:lnTo>
                    <a:pt x="156" y="52"/>
                  </a:lnTo>
                  <a:lnTo>
                    <a:pt x="152" y="52"/>
                  </a:lnTo>
                  <a:lnTo>
                    <a:pt x="152" y="48"/>
                  </a:lnTo>
                  <a:lnTo>
                    <a:pt x="156" y="48"/>
                  </a:lnTo>
                  <a:lnTo>
                    <a:pt x="156" y="44"/>
                  </a:lnTo>
                  <a:lnTo>
                    <a:pt x="160" y="44"/>
                  </a:lnTo>
                  <a:lnTo>
                    <a:pt x="160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0" y="24"/>
                  </a:lnTo>
                  <a:lnTo>
                    <a:pt x="160" y="20"/>
                  </a:lnTo>
                  <a:lnTo>
                    <a:pt x="156" y="20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4" y="12"/>
                  </a:lnTo>
                  <a:lnTo>
                    <a:pt x="168" y="8"/>
                  </a:lnTo>
                  <a:lnTo>
                    <a:pt x="172" y="8"/>
                  </a:lnTo>
                  <a:lnTo>
                    <a:pt x="172" y="4"/>
                  </a:lnTo>
                  <a:lnTo>
                    <a:pt x="176" y="4"/>
                  </a:lnTo>
                  <a:lnTo>
                    <a:pt x="180" y="4"/>
                  </a:lnTo>
                  <a:lnTo>
                    <a:pt x="184" y="4"/>
                  </a:lnTo>
                  <a:lnTo>
                    <a:pt x="188" y="0"/>
                  </a:lnTo>
                  <a:lnTo>
                    <a:pt x="192" y="0"/>
                  </a:lnTo>
                  <a:lnTo>
                    <a:pt x="196" y="0"/>
                  </a:lnTo>
                  <a:lnTo>
                    <a:pt x="200" y="4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11" y="0"/>
                  </a:lnTo>
                  <a:lnTo>
                    <a:pt x="215" y="0"/>
                  </a:lnTo>
                  <a:lnTo>
                    <a:pt x="219" y="0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8"/>
                  </a:lnTo>
                  <a:lnTo>
                    <a:pt x="227" y="12"/>
                  </a:lnTo>
                  <a:lnTo>
                    <a:pt x="231" y="16"/>
                  </a:lnTo>
                  <a:lnTo>
                    <a:pt x="227" y="16"/>
                  </a:lnTo>
                  <a:lnTo>
                    <a:pt x="227" y="20"/>
                  </a:lnTo>
                  <a:lnTo>
                    <a:pt x="231" y="20"/>
                  </a:lnTo>
                  <a:lnTo>
                    <a:pt x="231" y="24"/>
                  </a:lnTo>
                  <a:lnTo>
                    <a:pt x="235" y="24"/>
                  </a:lnTo>
                  <a:lnTo>
                    <a:pt x="239" y="20"/>
                  </a:lnTo>
                  <a:lnTo>
                    <a:pt x="239" y="24"/>
                  </a:lnTo>
                  <a:lnTo>
                    <a:pt x="239" y="28"/>
                  </a:lnTo>
                  <a:lnTo>
                    <a:pt x="243" y="28"/>
                  </a:lnTo>
                  <a:lnTo>
                    <a:pt x="247" y="28"/>
                  </a:lnTo>
                  <a:lnTo>
                    <a:pt x="251" y="32"/>
                  </a:lnTo>
                  <a:lnTo>
                    <a:pt x="255" y="32"/>
                  </a:lnTo>
                  <a:lnTo>
                    <a:pt x="255" y="28"/>
                  </a:lnTo>
                  <a:lnTo>
                    <a:pt x="255" y="32"/>
                  </a:lnTo>
                  <a:lnTo>
                    <a:pt x="251" y="32"/>
                  </a:lnTo>
                  <a:lnTo>
                    <a:pt x="251" y="36"/>
                  </a:lnTo>
                  <a:lnTo>
                    <a:pt x="247" y="36"/>
                  </a:lnTo>
                  <a:lnTo>
                    <a:pt x="243" y="36"/>
                  </a:lnTo>
                  <a:lnTo>
                    <a:pt x="243" y="40"/>
                  </a:lnTo>
                  <a:lnTo>
                    <a:pt x="243" y="44"/>
                  </a:lnTo>
                  <a:lnTo>
                    <a:pt x="243" y="48"/>
                  </a:lnTo>
                  <a:lnTo>
                    <a:pt x="239" y="48"/>
                  </a:lnTo>
                  <a:lnTo>
                    <a:pt x="239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27" y="48"/>
                  </a:lnTo>
                  <a:lnTo>
                    <a:pt x="223" y="52"/>
                  </a:lnTo>
                  <a:lnTo>
                    <a:pt x="223" y="48"/>
                  </a:lnTo>
                  <a:lnTo>
                    <a:pt x="219" y="48"/>
                  </a:lnTo>
                  <a:lnTo>
                    <a:pt x="215" y="48"/>
                  </a:lnTo>
                  <a:lnTo>
                    <a:pt x="208" y="48"/>
                  </a:lnTo>
                  <a:lnTo>
                    <a:pt x="208" y="44"/>
                  </a:lnTo>
                  <a:lnTo>
                    <a:pt x="204" y="44"/>
                  </a:lnTo>
                  <a:lnTo>
                    <a:pt x="200" y="48"/>
                  </a:lnTo>
                  <a:lnTo>
                    <a:pt x="196" y="48"/>
                  </a:lnTo>
                  <a:lnTo>
                    <a:pt x="196" y="52"/>
                  </a:lnTo>
                  <a:lnTo>
                    <a:pt x="200" y="52"/>
                  </a:lnTo>
                  <a:lnTo>
                    <a:pt x="200" y="56"/>
                  </a:lnTo>
                  <a:lnTo>
                    <a:pt x="196" y="60"/>
                  </a:lnTo>
                  <a:lnTo>
                    <a:pt x="200" y="60"/>
                  </a:lnTo>
                  <a:lnTo>
                    <a:pt x="204" y="60"/>
                  </a:lnTo>
                  <a:lnTo>
                    <a:pt x="204" y="64"/>
                  </a:lnTo>
                  <a:lnTo>
                    <a:pt x="200" y="64"/>
                  </a:lnTo>
                  <a:lnTo>
                    <a:pt x="200" y="68"/>
                  </a:lnTo>
                  <a:lnTo>
                    <a:pt x="204" y="68"/>
                  </a:lnTo>
                  <a:lnTo>
                    <a:pt x="200" y="72"/>
                  </a:lnTo>
                  <a:lnTo>
                    <a:pt x="200" y="76"/>
                  </a:lnTo>
                  <a:lnTo>
                    <a:pt x="204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8"/>
                  </a:lnTo>
                  <a:lnTo>
                    <a:pt x="211" y="92"/>
                  </a:lnTo>
                  <a:lnTo>
                    <a:pt x="215" y="92"/>
                  </a:lnTo>
                  <a:lnTo>
                    <a:pt x="219" y="92"/>
                  </a:lnTo>
                  <a:lnTo>
                    <a:pt x="219" y="96"/>
                  </a:lnTo>
                  <a:lnTo>
                    <a:pt x="219" y="100"/>
                  </a:lnTo>
                  <a:lnTo>
                    <a:pt x="215" y="100"/>
                  </a:lnTo>
                  <a:lnTo>
                    <a:pt x="211" y="100"/>
                  </a:lnTo>
                  <a:lnTo>
                    <a:pt x="208" y="100"/>
                  </a:lnTo>
                  <a:lnTo>
                    <a:pt x="208" y="104"/>
                  </a:lnTo>
                  <a:lnTo>
                    <a:pt x="208" y="108"/>
                  </a:lnTo>
                  <a:lnTo>
                    <a:pt x="208" y="112"/>
                  </a:lnTo>
                  <a:lnTo>
                    <a:pt x="208" y="116"/>
                  </a:lnTo>
                  <a:lnTo>
                    <a:pt x="208" y="120"/>
                  </a:lnTo>
                  <a:lnTo>
                    <a:pt x="208" y="116"/>
                  </a:lnTo>
                  <a:lnTo>
                    <a:pt x="211" y="116"/>
                  </a:lnTo>
                  <a:lnTo>
                    <a:pt x="208" y="120"/>
                  </a:lnTo>
                  <a:lnTo>
                    <a:pt x="204" y="120"/>
                  </a:lnTo>
                  <a:lnTo>
                    <a:pt x="204" y="124"/>
                  </a:lnTo>
                  <a:lnTo>
                    <a:pt x="200" y="128"/>
                  </a:lnTo>
                  <a:lnTo>
                    <a:pt x="196" y="132"/>
                  </a:lnTo>
                  <a:lnTo>
                    <a:pt x="200" y="132"/>
                  </a:lnTo>
                  <a:lnTo>
                    <a:pt x="200" y="136"/>
                  </a:lnTo>
                  <a:lnTo>
                    <a:pt x="196" y="140"/>
                  </a:lnTo>
                  <a:lnTo>
                    <a:pt x="192" y="140"/>
                  </a:lnTo>
                  <a:lnTo>
                    <a:pt x="188" y="144"/>
                  </a:lnTo>
                  <a:lnTo>
                    <a:pt x="188" y="148"/>
                  </a:lnTo>
                  <a:lnTo>
                    <a:pt x="184" y="156"/>
                  </a:lnTo>
                  <a:lnTo>
                    <a:pt x="184" y="160"/>
                  </a:lnTo>
                  <a:lnTo>
                    <a:pt x="180" y="160"/>
                  </a:lnTo>
                  <a:lnTo>
                    <a:pt x="176" y="160"/>
                  </a:lnTo>
                  <a:lnTo>
                    <a:pt x="176" y="164"/>
                  </a:lnTo>
                  <a:lnTo>
                    <a:pt x="172" y="164"/>
                  </a:lnTo>
                  <a:lnTo>
                    <a:pt x="172" y="168"/>
                  </a:lnTo>
                  <a:lnTo>
                    <a:pt x="172" y="172"/>
                  </a:lnTo>
                  <a:lnTo>
                    <a:pt x="168" y="176"/>
                  </a:lnTo>
                  <a:lnTo>
                    <a:pt x="168" y="180"/>
                  </a:lnTo>
                  <a:lnTo>
                    <a:pt x="164" y="180"/>
                  </a:lnTo>
                  <a:lnTo>
                    <a:pt x="160" y="180"/>
                  </a:lnTo>
                  <a:lnTo>
                    <a:pt x="156" y="180"/>
                  </a:lnTo>
                  <a:lnTo>
                    <a:pt x="156" y="184"/>
                  </a:lnTo>
                  <a:lnTo>
                    <a:pt x="152" y="184"/>
                  </a:lnTo>
                  <a:lnTo>
                    <a:pt x="148" y="184"/>
                  </a:lnTo>
                  <a:lnTo>
                    <a:pt x="148" y="180"/>
                  </a:lnTo>
                  <a:lnTo>
                    <a:pt x="148" y="176"/>
                  </a:lnTo>
                  <a:lnTo>
                    <a:pt x="144" y="176"/>
                  </a:lnTo>
                  <a:lnTo>
                    <a:pt x="144" y="180"/>
                  </a:lnTo>
                  <a:lnTo>
                    <a:pt x="140" y="180"/>
                  </a:lnTo>
                  <a:lnTo>
                    <a:pt x="140" y="184"/>
                  </a:lnTo>
                  <a:lnTo>
                    <a:pt x="140" y="188"/>
                  </a:lnTo>
                  <a:lnTo>
                    <a:pt x="136" y="188"/>
                  </a:lnTo>
                  <a:lnTo>
                    <a:pt x="136" y="192"/>
                  </a:lnTo>
                  <a:lnTo>
                    <a:pt x="132" y="192"/>
                  </a:lnTo>
                  <a:lnTo>
                    <a:pt x="132" y="196"/>
                  </a:lnTo>
                  <a:lnTo>
                    <a:pt x="132" y="200"/>
                  </a:lnTo>
                  <a:lnTo>
                    <a:pt x="132" y="204"/>
                  </a:lnTo>
                  <a:lnTo>
                    <a:pt x="136" y="204"/>
                  </a:lnTo>
                  <a:lnTo>
                    <a:pt x="140" y="204"/>
                  </a:lnTo>
                  <a:lnTo>
                    <a:pt x="140" y="208"/>
                  </a:lnTo>
                  <a:lnTo>
                    <a:pt x="140" y="212"/>
                  </a:lnTo>
                  <a:lnTo>
                    <a:pt x="140" y="216"/>
                  </a:lnTo>
                  <a:lnTo>
                    <a:pt x="140" y="220"/>
                  </a:lnTo>
                  <a:lnTo>
                    <a:pt x="144" y="224"/>
                  </a:lnTo>
                  <a:lnTo>
                    <a:pt x="148" y="224"/>
                  </a:lnTo>
                  <a:lnTo>
                    <a:pt x="148" y="228"/>
                  </a:lnTo>
                  <a:lnTo>
                    <a:pt x="148" y="232"/>
                  </a:lnTo>
                  <a:lnTo>
                    <a:pt x="152" y="232"/>
                  </a:lnTo>
                  <a:lnTo>
                    <a:pt x="152" y="236"/>
                  </a:lnTo>
                  <a:lnTo>
                    <a:pt x="152" y="240"/>
                  </a:lnTo>
                  <a:lnTo>
                    <a:pt x="156" y="244"/>
                  </a:lnTo>
                  <a:lnTo>
                    <a:pt x="152" y="244"/>
                  </a:lnTo>
                  <a:lnTo>
                    <a:pt x="152" y="248"/>
                  </a:lnTo>
                  <a:lnTo>
                    <a:pt x="156" y="248"/>
                  </a:lnTo>
                  <a:lnTo>
                    <a:pt x="152" y="248"/>
                  </a:lnTo>
                  <a:lnTo>
                    <a:pt x="152" y="252"/>
                  </a:lnTo>
                  <a:lnTo>
                    <a:pt x="148" y="252"/>
                  </a:lnTo>
                  <a:lnTo>
                    <a:pt x="148" y="248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40" y="252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28" y="252"/>
                  </a:lnTo>
                  <a:lnTo>
                    <a:pt x="124" y="252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20" y="252"/>
                  </a:lnTo>
                  <a:lnTo>
                    <a:pt x="120" y="256"/>
                  </a:lnTo>
                  <a:lnTo>
                    <a:pt x="116" y="256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12" y="256"/>
                  </a:lnTo>
                  <a:lnTo>
                    <a:pt x="112" y="260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8" y="260"/>
                  </a:lnTo>
                  <a:lnTo>
                    <a:pt x="108" y="256"/>
                  </a:lnTo>
                  <a:lnTo>
                    <a:pt x="104" y="260"/>
                  </a:lnTo>
                  <a:lnTo>
                    <a:pt x="100" y="260"/>
                  </a:lnTo>
                  <a:lnTo>
                    <a:pt x="100" y="256"/>
                  </a:lnTo>
                  <a:lnTo>
                    <a:pt x="96" y="252"/>
                  </a:lnTo>
                  <a:lnTo>
                    <a:pt x="96" y="248"/>
                  </a:lnTo>
                  <a:lnTo>
                    <a:pt x="96" y="244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8" y="236"/>
                  </a:lnTo>
                  <a:lnTo>
                    <a:pt x="88" y="232"/>
                  </a:lnTo>
                  <a:lnTo>
                    <a:pt x="88" y="228"/>
                  </a:lnTo>
                  <a:lnTo>
                    <a:pt x="84" y="224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4" y="224"/>
                  </a:lnTo>
                  <a:lnTo>
                    <a:pt x="84" y="228"/>
                  </a:lnTo>
                  <a:lnTo>
                    <a:pt x="80" y="228"/>
                  </a:lnTo>
                  <a:lnTo>
                    <a:pt x="76" y="228"/>
                  </a:lnTo>
                  <a:lnTo>
                    <a:pt x="72" y="228"/>
                  </a:lnTo>
                  <a:lnTo>
                    <a:pt x="68" y="228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60" y="232"/>
                  </a:lnTo>
                  <a:lnTo>
                    <a:pt x="56" y="232"/>
                  </a:lnTo>
                  <a:lnTo>
                    <a:pt x="52" y="232"/>
                  </a:lnTo>
                  <a:lnTo>
                    <a:pt x="48" y="232"/>
                  </a:lnTo>
                  <a:lnTo>
                    <a:pt x="48" y="228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40" y="228"/>
                  </a:lnTo>
                  <a:lnTo>
                    <a:pt x="40" y="232"/>
                  </a:lnTo>
                  <a:lnTo>
                    <a:pt x="36" y="232"/>
                  </a:lnTo>
                  <a:lnTo>
                    <a:pt x="32" y="232"/>
                  </a:lnTo>
                  <a:lnTo>
                    <a:pt x="28" y="232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2" y="236"/>
                  </a:lnTo>
                  <a:lnTo>
                    <a:pt x="12" y="232"/>
                  </a:lnTo>
                  <a:lnTo>
                    <a:pt x="12" y="228"/>
                  </a:lnTo>
                  <a:lnTo>
                    <a:pt x="12" y="224"/>
                  </a:lnTo>
                  <a:lnTo>
                    <a:pt x="12" y="220"/>
                  </a:lnTo>
                  <a:lnTo>
                    <a:pt x="16" y="220"/>
                  </a:lnTo>
                  <a:lnTo>
                    <a:pt x="16" y="216"/>
                  </a:lnTo>
                  <a:lnTo>
                    <a:pt x="16" y="212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0" y="212"/>
                  </a:lnTo>
                  <a:lnTo>
                    <a:pt x="20" y="208"/>
                  </a:lnTo>
                  <a:lnTo>
                    <a:pt x="24" y="208"/>
                  </a:lnTo>
                  <a:lnTo>
                    <a:pt x="28" y="208"/>
                  </a:lnTo>
                  <a:lnTo>
                    <a:pt x="28" y="204"/>
                  </a:lnTo>
                  <a:lnTo>
                    <a:pt x="32" y="204"/>
                  </a:lnTo>
                  <a:lnTo>
                    <a:pt x="36" y="204"/>
                  </a:lnTo>
                  <a:lnTo>
                    <a:pt x="36" y="200"/>
                  </a:lnTo>
                  <a:lnTo>
                    <a:pt x="36" y="196"/>
                  </a:lnTo>
                  <a:lnTo>
                    <a:pt x="36" y="192"/>
                  </a:lnTo>
                  <a:lnTo>
                    <a:pt x="32" y="192"/>
                  </a:lnTo>
                  <a:lnTo>
                    <a:pt x="28" y="192"/>
                  </a:lnTo>
                  <a:lnTo>
                    <a:pt x="28" y="188"/>
                  </a:lnTo>
                  <a:lnTo>
                    <a:pt x="28" y="184"/>
                  </a:lnTo>
                  <a:lnTo>
                    <a:pt x="28" y="180"/>
                  </a:lnTo>
                  <a:lnTo>
                    <a:pt x="28" y="176"/>
                  </a:lnTo>
                  <a:lnTo>
                    <a:pt x="28" y="172"/>
                  </a:lnTo>
                  <a:lnTo>
                    <a:pt x="24" y="172"/>
                  </a:lnTo>
                  <a:lnTo>
                    <a:pt x="20" y="168"/>
                  </a:lnTo>
                  <a:lnTo>
                    <a:pt x="16" y="168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8" y="156"/>
                  </a:lnTo>
                  <a:lnTo>
                    <a:pt x="8" y="152"/>
                  </a:lnTo>
                  <a:lnTo>
                    <a:pt x="4" y="144"/>
                  </a:lnTo>
                  <a:lnTo>
                    <a:pt x="0" y="144"/>
                  </a:lnTo>
                  <a:lnTo>
                    <a:pt x="4" y="144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20" y="148"/>
                  </a:lnTo>
                  <a:lnTo>
                    <a:pt x="24" y="152"/>
                  </a:lnTo>
                  <a:lnTo>
                    <a:pt x="36" y="14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4" name="Freeform 38">
              <a:extLst>
                <a:ext uri="{FF2B5EF4-FFF2-40B4-BE49-F238E27FC236}">
                  <a16:creationId xmlns:a16="http://schemas.microsoft.com/office/drawing/2014/main" id="{D05E207E-5D98-CA4A-9816-F3E3E54CCC0B}"/>
                </a:ext>
              </a:extLst>
            </p:cNvPr>
            <p:cNvSpPr>
              <a:spLocks/>
            </p:cNvSpPr>
            <p:nvPr>
              <p:custDataLst>
                <p:tags r:id="rId24"/>
              </p:custDataLst>
            </p:nvPr>
          </p:nvSpPr>
          <p:spPr bwMode="gray">
            <a:xfrm>
              <a:off x="4763689" y="5354269"/>
              <a:ext cx="13866" cy="35297"/>
            </a:xfrm>
            <a:custGeom>
              <a:avLst/>
              <a:gdLst/>
              <a:ahLst/>
              <a:cxnLst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8" y="28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11" y="4"/>
                </a:cxn>
                <a:cxn ang="0">
                  <a:pos x="11" y="8"/>
                </a:cxn>
                <a:cxn ang="0">
                  <a:pos x="11" y="8"/>
                </a:cxn>
                <a:cxn ang="0">
                  <a:pos x="8" y="8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11" y="12"/>
                </a:cxn>
                <a:cxn ang="0">
                  <a:pos x="8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16"/>
                </a:cxn>
                <a:cxn ang="0">
                  <a:pos x="11" y="24"/>
                </a:cxn>
                <a:cxn ang="0">
                  <a:pos x="8" y="24"/>
                </a:cxn>
                <a:cxn ang="0">
                  <a:pos x="8" y="24"/>
                </a:cxn>
              </a:cxnLst>
              <a:rect l="0" t="0" r="r" b="b"/>
              <a:pathLst>
                <a:path w="11" h="28">
                  <a:moveTo>
                    <a:pt x="8" y="24"/>
                  </a:move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4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11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1" y="12"/>
                  </a:lnTo>
                  <a:lnTo>
                    <a:pt x="11" y="12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16"/>
                  </a:lnTo>
                  <a:lnTo>
                    <a:pt x="11" y="20"/>
                  </a:lnTo>
                  <a:lnTo>
                    <a:pt x="11" y="24"/>
                  </a:lnTo>
                  <a:lnTo>
                    <a:pt x="11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5" name="Freeform 39">
              <a:extLst>
                <a:ext uri="{FF2B5EF4-FFF2-40B4-BE49-F238E27FC236}">
                  <a16:creationId xmlns:a16="http://schemas.microsoft.com/office/drawing/2014/main" id="{948FAE32-52A8-0B48-A63A-896E6A676719}"/>
                </a:ext>
              </a:extLst>
            </p:cNvPr>
            <p:cNvSpPr>
              <a:spLocks noEditPoints="1"/>
            </p:cNvSpPr>
            <p:nvPr>
              <p:custDataLst>
                <p:tags r:id="rId25"/>
              </p:custDataLst>
            </p:nvPr>
          </p:nvSpPr>
          <p:spPr bwMode="gray">
            <a:xfrm>
              <a:off x="4451059" y="5202996"/>
              <a:ext cx="402132" cy="381963"/>
            </a:xfrm>
            <a:custGeom>
              <a:avLst/>
              <a:gdLst/>
              <a:ahLst/>
              <a:cxnLst>
                <a:cxn ang="0">
                  <a:pos x="248" y="259"/>
                </a:cxn>
                <a:cxn ang="0">
                  <a:pos x="200" y="283"/>
                </a:cxn>
                <a:cxn ang="0">
                  <a:pos x="184" y="287"/>
                </a:cxn>
                <a:cxn ang="0">
                  <a:pos x="152" y="283"/>
                </a:cxn>
                <a:cxn ang="0">
                  <a:pos x="140" y="283"/>
                </a:cxn>
                <a:cxn ang="0">
                  <a:pos x="132" y="291"/>
                </a:cxn>
                <a:cxn ang="0">
                  <a:pos x="128" y="303"/>
                </a:cxn>
                <a:cxn ang="0">
                  <a:pos x="120" y="295"/>
                </a:cxn>
                <a:cxn ang="0">
                  <a:pos x="120" y="287"/>
                </a:cxn>
                <a:cxn ang="0">
                  <a:pos x="112" y="275"/>
                </a:cxn>
                <a:cxn ang="0">
                  <a:pos x="104" y="267"/>
                </a:cxn>
                <a:cxn ang="0">
                  <a:pos x="104" y="255"/>
                </a:cxn>
                <a:cxn ang="0">
                  <a:pos x="96" y="243"/>
                </a:cxn>
                <a:cxn ang="0">
                  <a:pos x="88" y="235"/>
                </a:cxn>
                <a:cxn ang="0">
                  <a:pos x="80" y="227"/>
                </a:cxn>
                <a:cxn ang="0">
                  <a:pos x="72" y="220"/>
                </a:cxn>
                <a:cxn ang="0">
                  <a:pos x="68" y="204"/>
                </a:cxn>
                <a:cxn ang="0">
                  <a:pos x="68" y="188"/>
                </a:cxn>
                <a:cxn ang="0">
                  <a:pos x="68" y="180"/>
                </a:cxn>
                <a:cxn ang="0">
                  <a:pos x="60" y="164"/>
                </a:cxn>
                <a:cxn ang="0">
                  <a:pos x="48" y="152"/>
                </a:cxn>
                <a:cxn ang="0">
                  <a:pos x="44" y="148"/>
                </a:cxn>
                <a:cxn ang="0">
                  <a:pos x="40" y="136"/>
                </a:cxn>
                <a:cxn ang="0">
                  <a:pos x="36" y="128"/>
                </a:cxn>
                <a:cxn ang="0">
                  <a:pos x="28" y="120"/>
                </a:cxn>
                <a:cxn ang="0">
                  <a:pos x="24" y="104"/>
                </a:cxn>
                <a:cxn ang="0">
                  <a:pos x="16" y="96"/>
                </a:cxn>
                <a:cxn ang="0">
                  <a:pos x="12" y="84"/>
                </a:cxn>
                <a:cxn ang="0">
                  <a:pos x="4" y="76"/>
                </a:cxn>
                <a:cxn ang="0">
                  <a:pos x="4" y="60"/>
                </a:cxn>
                <a:cxn ang="0">
                  <a:pos x="24" y="60"/>
                </a:cxn>
                <a:cxn ang="0">
                  <a:pos x="40" y="44"/>
                </a:cxn>
                <a:cxn ang="0">
                  <a:pos x="48" y="24"/>
                </a:cxn>
                <a:cxn ang="0">
                  <a:pos x="40" y="12"/>
                </a:cxn>
                <a:cxn ang="0">
                  <a:pos x="60" y="8"/>
                </a:cxn>
                <a:cxn ang="0">
                  <a:pos x="84" y="4"/>
                </a:cxn>
                <a:cxn ang="0">
                  <a:pos x="128" y="32"/>
                </a:cxn>
                <a:cxn ang="0">
                  <a:pos x="176" y="60"/>
                </a:cxn>
                <a:cxn ang="0">
                  <a:pos x="196" y="64"/>
                </a:cxn>
                <a:cxn ang="0">
                  <a:pos x="212" y="72"/>
                </a:cxn>
                <a:cxn ang="0">
                  <a:pos x="216" y="84"/>
                </a:cxn>
                <a:cxn ang="0">
                  <a:pos x="220" y="92"/>
                </a:cxn>
                <a:cxn ang="0">
                  <a:pos x="220" y="92"/>
                </a:cxn>
                <a:cxn ang="0">
                  <a:pos x="228" y="104"/>
                </a:cxn>
                <a:cxn ang="0">
                  <a:pos x="236" y="112"/>
                </a:cxn>
                <a:cxn ang="0">
                  <a:pos x="236" y="120"/>
                </a:cxn>
                <a:cxn ang="0">
                  <a:pos x="240" y="132"/>
                </a:cxn>
                <a:cxn ang="0">
                  <a:pos x="248" y="144"/>
                </a:cxn>
                <a:cxn ang="0">
                  <a:pos x="256" y="152"/>
                </a:cxn>
                <a:cxn ang="0">
                  <a:pos x="259" y="156"/>
                </a:cxn>
                <a:cxn ang="0">
                  <a:pos x="315" y="212"/>
                </a:cxn>
                <a:cxn ang="0">
                  <a:pos x="112" y="291"/>
                </a:cxn>
                <a:cxn ang="0">
                  <a:pos x="108" y="295"/>
                </a:cxn>
                <a:cxn ang="0">
                  <a:pos x="116" y="295"/>
                </a:cxn>
              </a:cxnLst>
              <a:rect l="0" t="0" r="r" b="b"/>
              <a:pathLst>
                <a:path w="319" h="303">
                  <a:moveTo>
                    <a:pt x="311" y="235"/>
                  </a:moveTo>
                  <a:lnTo>
                    <a:pt x="263" y="255"/>
                  </a:lnTo>
                  <a:lnTo>
                    <a:pt x="252" y="255"/>
                  </a:lnTo>
                  <a:lnTo>
                    <a:pt x="248" y="259"/>
                  </a:lnTo>
                  <a:lnTo>
                    <a:pt x="220" y="259"/>
                  </a:lnTo>
                  <a:lnTo>
                    <a:pt x="208" y="271"/>
                  </a:lnTo>
                  <a:lnTo>
                    <a:pt x="204" y="279"/>
                  </a:lnTo>
                  <a:lnTo>
                    <a:pt x="200" y="283"/>
                  </a:lnTo>
                  <a:lnTo>
                    <a:pt x="196" y="291"/>
                  </a:lnTo>
                  <a:lnTo>
                    <a:pt x="192" y="291"/>
                  </a:lnTo>
                  <a:lnTo>
                    <a:pt x="188" y="291"/>
                  </a:lnTo>
                  <a:lnTo>
                    <a:pt x="184" y="287"/>
                  </a:lnTo>
                  <a:lnTo>
                    <a:pt x="180" y="287"/>
                  </a:lnTo>
                  <a:lnTo>
                    <a:pt x="176" y="287"/>
                  </a:lnTo>
                  <a:lnTo>
                    <a:pt x="164" y="283"/>
                  </a:lnTo>
                  <a:lnTo>
                    <a:pt x="152" y="283"/>
                  </a:lnTo>
                  <a:lnTo>
                    <a:pt x="148" y="283"/>
                  </a:lnTo>
                  <a:lnTo>
                    <a:pt x="144" y="283"/>
                  </a:lnTo>
                  <a:lnTo>
                    <a:pt x="144" y="287"/>
                  </a:lnTo>
                  <a:lnTo>
                    <a:pt x="140" y="283"/>
                  </a:lnTo>
                  <a:lnTo>
                    <a:pt x="136" y="283"/>
                  </a:lnTo>
                  <a:lnTo>
                    <a:pt x="132" y="283"/>
                  </a:lnTo>
                  <a:lnTo>
                    <a:pt x="132" y="287"/>
                  </a:lnTo>
                  <a:lnTo>
                    <a:pt x="132" y="291"/>
                  </a:lnTo>
                  <a:lnTo>
                    <a:pt x="132" y="295"/>
                  </a:lnTo>
                  <a:lnTo>
                    <a:pt x="132" y="299"/>
                  </a:lnTo>
                  <a:lnTo>
                    <a:pt x="128" y="299"/>
                  </a:lnTo>
                  <a:lnTo>
                    <a:pt x="128" y="303"/>
                  </a:lnTo>
                  <a:lnTo>
                    <a:pt x="124" y="303"/>
                  </a:lnTo>
                  <a:lnTo>
                    <a:pt x="124" y="299"/>
                  </a:lnTo>
                  <a:lnTo>
                    <a:pt x="124" y="295"/>
                  </a:lnTo>
                  <a:lnTo>
                    <a:pt x="120" y="295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91"/>
                  </a:lnTo>
                  <a:lnTo>
                    <a:pt x="120" y="287"/>
                  </a:lnTo>
                  <a:lnTo>
                    <a:pt x="120" y="283"/>
                  </a:lnTo>
                  <a:lnTo>
                    <a:pt x="116" y="283"/>
                  </a:lnTo>
                  <a:lnTo>
                    <a:pt x="116" y="279"/>
                  </a:lnTo>
                  <a:lnTo>
                    <a:pt x="112" y="275"/>
                  </a:lnTo>
                  <a:lnTo>
                    <a:pt x="108" y="275"/>
                  </a:lnTo>
                  <a:lnTo>
                    <a:pt x="108" y="271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3"/>
                  </a:lnTo>
                  <a:lnTo>
                    <a:pt x="104" y="259"/>
                  </a:lnTo>
                  <a:lnTo>
                    <a:pt x="100" y="259"/>
                  </a:lnTo>
                  <a:lnTo>
                    <a:pt x="104" y="255"/>
                  </a:lnTo>
                  <a:lnTo>
                    <a:pt x="100" y="255"/>
                  </a:lnTo>
                  <a:lnTo>
                    <a:pt x="100" y="251"/>
                  </a:lnTo>
                  <a:lnTo>
                    <a:pt x="96" y="247"/>
                  </a:lnTo>
                  <a:lnTo>
                    <a:pt x="96" y="243"/>
                  </a:lnTo>
                  <a:lnTo>
                    <a:pt x="96" y="239"/>
                  </a:lnTo>
                  <a:lnTo>
                    <a:pt x="92" y="239"/>
                  </a:lnTo>
                  <a:lnTo>
                    <a:pt x="92" y="235"/>
                  </a:lnTo>
                  <a:lnTo>
                    <a:pt x="88" y="235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0" y="231"/>
                  </a:lnTo>
                  <a:lnTo>
                    <a:pt x="80" y="227"/>
                  </a:lnTo>
                  <a:lnTo>
                    <a:pt x="76" y="227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2" y="220"/>
                  </a:lnTo>
                  <a:lnTo>
                    <a:pt x="72" y="216"/>
                  </a:lnTo>
                  <a:lnTo>
                    <a:pt x="68" y="212"/>
                  </a:lnTo>
                  <a:lnTo>
                    <a:pt x="72" y="208"/>
                  </a:lnTo>
                  <a:lnTo>
                    <a:pt x="68" y="204"/>
                  </a:lnTo>
                  <a:lnTo>
                    <a:pt x="68" y="200"/>
                  </a:lnTo>
                  <a:lnTo>
                    <a:pt x="68" y="196"/>
                  </a:lnTo>
                  <a:lnTo>
                    <a:pt x="68" y="192"/>
                  </a:lnTo>
                  <a:lnTo>
                    <a:pt x="68" y="188"/>
                  </a:lnTo>
                  <a:lnTo>
                    <a:pt x="68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8" y="180"/>
                  </a:lnTo>
                  <a:lnTo>
                    <a:pt x="64" y="176"/>
                  </a:lnTo>
                  <a:lnTo>
                    <a:pt x="64" y="172"/>
                  </a:lnTo>
                  <a:lnTo>
                    <a:pt x="60" y="168"/>
                  </a:lnTo>
                  <a:lnTo>
                    <a:pt x="60" y="164"/>
                  </a:lnTo>
                  <a:lnTo>
                    <a:pt x="56" y="160"/>
                  </a:lnTo>
                  <a:lnTo>
                    <a:pt x="52" y="156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56"/>
                  </a:lnTo>
                  <a:lnTo>
                    <a:pt x="44" y="156"/>
                  </a:lnTo>
                  <a:lnTo>
                    <a:pt x="44" y="152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6" y="124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32" y="120"/>
                  </a:lnTo>
                  <a:lnTo>
                    <a:pt x="28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8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24" y="60"/>
                  </a:lnTo>
                  <a:lnTo>
                    <a:pt x="28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40" y="44"/>
                  </a:lnTo>
                  <a:lnTo>
                    <a:pt x="44" y="44"/>
                  </a:lnTo>
                  <a:lnTo>
                    <a:pt x="48" y="36"/>
                  </a:lnTo>
                  <a:lnTo>
                    <a:pt x="52" y="32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104" y="16"/>
                  </a:lnTo>
                  <a:lnTo>
                    <a:pt x="116" y="20"/>
                  </a:lnTo>
                  <a:lnTo>
                    <a:pt x="128" y="32"/>
                  </a:lnTo>
                  <a:lnTo>
                    <a:pt x="128" y="36"/>
                  </a:lnTo>
                  <a:lnTo>
                    <a:pt x="140" y="44"/>
                  </a:lnTo>
                  <a:lnTo>
                    <a:pt x="156" y="60"/>
                  </a:lnTo>
                  <a:lnTo>
                    <a:pt x="176" y="60"/>
                  </a:lnTo>
                  <a:lnTo>
                    <a:pt x="180" y="60"/>
                  </a:lnTo>
                  <a:lnTo>
                    <a:pt x="184" y="60"/>
                  </a:lnTo>
                  <a:lnTo>
                    <a:pt x="188" y="60"/>
                  </a:lnTo>
                  <a:lnTo>
                    <a:pt x="196" y="64"/>
                  </a:lnTo>
                  <a:lnTo>
                    <a:pt x="200" y="68"/>
                  </a:lnTo>
                  <a:lnTo>
                    <a:pt x="200" y="72"/>
                  </a:lnTo>
                  <a:lnTo>
                    <a:pt x="208" y="72"/>
                  </a:lnTo>
                  <a:lnTo>
                    <a:pt x="212" y="72"/>
                  </a:lnTo>
                  <a:lnTo>
                    <a:pt x="212" y="76"/>
                  </a:lnTo>
                  <a:lnTo>
                    <a:pt x="212" y="80"/>
                  </a:lnTo>
                  <a:lnTo>
                    <a:pt x="216" y="80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16" y="84"/>
                  </a:lnTo>
                  <a:lnTo>
                    <a:pt x="216" y="88"/>
                  </a:lnTo>
                  <a:lnTo>
                    <a:pt x="220" y="92"/>
                  </a:lnTo>
                  <a:lnTo>
                    <a:pt x="220" y="88"/>
                  </a:lnTo>
                  <a:lnTo>
                    <a:pt x="220" y="92"/>
                  </a:lnTo>
                  <a:lnTo>
                    <a:pt x="224" y="92"/>
                  </a:lnTo>
                  <a:lnTo>
                    <a:pt x="220" y="92"/>
                  </a:lnTo>
                  <a:lnTo>
                    <a:pt x="224" y="96"/>
                  </a:lnTo>
                  <a:lnTo>
                    <a:pt x="224" y="100"/>
                  </a:lnTo>
                  <a:lnTo>
                    <a:pt x="228" y="100"/>
                  </a:lnTo>
                  <a:lnTo>
                    <a:pt x="228" y="104"/>
                  </a:lnTo>
                  <a:lnTo>
                    <a:pt x="232" y="104"/>
                  </a:lnTo>
                  <a:lnTo>
                    <a:pt x="236" y="104"/>
                  </a:lnTo>
                  <a:lnTo>
                    <a:pt x="236" y="108"/>
                  </a:lnTo>
                  <a:lnTo>
                    <a:pt x="236" y="112"/>
                  </a:lnTo>
                  <a:lnTo>
                    <a:pt x="240" y="116"/>
                  </a:lnTo>
                  <a:lnTo>
                    <a:pt x="236" y="120"/>
                  </a:lnTo>
                  <a:lnTo>
                    <a:pt x="236" y="116"/>
                  </a:lnTo>
                  <a:lnTo>
                    <a:pt x="236" y="120"/>
                  </a:lnTo>
                  <a:lnTo>
                    <a:pt x="236" y="124"/>
                  </a:lnTo>
                  <a:lnTo>
                    <a:pt x="240" y="128"/>
                  </a:lnTo>
                  <a:lnTo>
                    <a:pt x="236" y="128"/>
                  </a:lnTo>
                  <a:lnTo>
                    <a:pt x="240" y="132"/>
                  </a:lnTo>
                  <a:lnTo>
                    <a:pt x="244" y="132"/>
                  </a:lnTo>
                  <a:lnTo>
                    <a:pt x="244" y="136"/>
                  </a:lnTo>
                  <a:lnTo>
                    <a:pt x="244" y="140"/>
                  </a:lnTo>
                  <a:lnTo>
                    <a:pt x="248" y="144"/>
                  </a:lnTo>
                  <a:lnTo>
                    <a:pt x="248" y="148"/>
                  </a:lnTo>
                  <a:lnTo>
                    <a:pt x="252" y="148"/>
                  </a:lnTo>
                  <a:lnTo>
                    <a:pt x="256" y="148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6" y="152"/>
                  </a:lnTo>
                  <a:lnTo>
                    <a:pt x="256" y="156"/>
                  </a:lnTo>
                  <a:lnTo>
                    <a:pt x="259" y="156"/>
                  </a:lnTo>
                  <a:lnTo>
                    <a:pt x="275" y="180"/>
                  </a:lnTo>
                  <a:lnTo>
                    <a:pt x="311" y="184"/>
                  </a:lnTo>
                  <a:lnTo>
                    <a:pt x="319" y="196"/>
                  </a:lnTo>
                  <a:lnTo>
                    <a:pt x="315" y="212"/>
                  </a:lnTo>
                  <a:lnTo>
                    <a:pt x="311" y="235"/>
                  </a:lnTo>
                  <a:close/>
                  <a:moveTo>
                    <a:pt x="112" y="291"/>
                  </a:moveTo>
                  <a:lnTo>
                    <a:pt x="112" y="295"/>
                  </a:lnTo>
                  <a:lnTo>
                    <a:pt x="112" y="291"/>
                  </a:lnTo>
                  <a:close/>
                  <a:moveTo>
                    <a:pt x="116" y="299"/>
                  </a:moveTo>
                  <a:lnTo>
                    <a:pt x="112" y="299"/>
                  </a:lnTo>
                  <a:lnTo>
                    <a:pt x="112" y="295"/>
                  </a:lnTo>
                  <a:lnTo>
                    <a:pt x="108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2" y="295"/>
                  </a:lnTo>
                  <a:lnTo>
                    <a:pt x="116" y="295"/>
                  </a:lnTo>
                  <a:lnTo>
                    <a:pt x="116" y="29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6" name="Freeform 43">
              <a:extLst>
                <a:ext uri="{FF2B5EF4-FFF2-40B4-BE49-F238E27FC236}">
                  <a16:creationId xmlns:a16="http://schemas.microsoft.com/office/drawing/2014/main" id="{9FDFE4C5-432E-1746-A31D-8647FC4ACA87}"/>
                </a:ext>
              </a:extLst>
            </p:cNvPr>
            <p:cNvSpPr>
              <a:spLocks noEditPoints="1"/>
            </p:cNvSpPr>
            <p:nvPr>
              <p:custDataLst>
                <p:tags r:id="rId26"/>
              </p:custDataLst>
            </p:nvPr>
          </p:nvSpPr>
          <p:spPr bwMode="gray">
            <a:xfrm>
              <a:off x="5310791" y="5736232"/>
              <a:ext cx="45382" cy="90763"/>
            </a:xfrm>
            <a:custGeom>
              <a:avLst/>
              <a:gdLst/>
              <a:ahLst/>
              <a:cxnLst>
                <a:cxn ang="0">
                  <a:pos x="4" y="16"/>
                </a:cxn>
                <a:cxn ang="0">
                  <a:pos x="0" y="16"/>
                </a:cxn>
                <a:cxn ang="0">
                  <a:pos x="32" y="60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0" y="72"/>
                </a:cxn>
                <a:cxn ang="0">
                  <a:pos x="16" y="72"/>
                </a:cxn>
                <a:cxn ang="0">
                  <a:pos x="8" y="72"/>
                </a:cxn>
                <a:cxn ang="0">
                  <a:pos x="8" y="64"/>
                </a:cxn>
                <a:cxn ang="0">
                  <a:pos x="4" y="60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0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20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4"/>
                </a:cxn>
                <a:cxn ang="0">
                  <a:pos x="12" y="0"/>
                </a:cxn>
                <a:cxn ang="0">
                  <a:pos x="12" y="4"/>
                </a:cxn>
                <a:cxn ang="0">
                  <a:pos x="16" y="8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4" y="28"/>
                </a:cxn>
                <a:cxn ang="0">
                  <a:pos x="28" y="28"/>
                </a:cxn>
                <a:cxn ang="0">
                  <a:pos x="28" y="32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44"/>
                </a:cxn>
                <a:cxn ang="0">
                  <a:pos x="36" y="44"/>
                </a:cxn>
                <a:cxn ang="0">
                  <a:pos x="36" y="48"/>
                </a:cxn>
                <a:cxn ang="0">
                  <a:pos x="36" y="56"/>
                </a:cxn>
              </a:cxnLst>
              <a:rect l="0" t="0" r="r" b="b"/>
              <a:pathLst>
                <a:path w="36" h="72">
                  <a:moveTo>
                    <a:pt x="4" y="16"/>
                  </a:move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close/>
                  <a:moveTo>
                    <a:pt x="32" y="60"/>
                  </a:move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6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6" y="44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7" name="Freeform 44">
              <a:extLst>
                <a:ext uri="{FF2B5EF4-FFF2-40B4-BE49-F238E27FC236}">
                  <a16:creationId xmlns:a16="http://schemas.microsoft.com/office/drawing/2014/main" id="{32E2BFCA-9F37-7646-BB52-D3BBB984F9A3}"/>
                </a:ext>
              </a:extLst>
            </p:cNvPr>
            <p:cNvSpPr>
              <a:spLocks/>
            </p:cNvSpPr>
            <p:nvPr>
              <p:custDataLst>
                <p:tags r:id="rId27"/>
              </p:custDataLst>
            </p:nvPr>
          </p:nvSpPr>
          <p:spPr bwMode="gray">
            <a:xfrm>
              <a:off x="4471228" y="5071893"/>
              <a:ext cx="131103" cy="126060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4" y="80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16" y="64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8" y="56"/>
                </a:cxn>
                <a:cxn ang="0">
                  <a:pos x="4" y="56"/>
                </a:cxn>
                <a:cxn ang="0">
                  <a:pos x="4" y="48"/>
                </a:cxn>
                <a:cxn ang="0">
                  <a:pos x="4" y="44"/>
                </a:cxn>
                <a:cxn ang="0">
                  <a:pos x="4" y="36"/>
                </a:cxn>
                <a:cxn ang="0">
                  <a:pos x="4" y="28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4" y="16"/>
                </a:cxn>
                <a:cxn ang="0">
                  <a:pos x="32" y="12"/>
                </a:cxn>
                <a:cxn ang="0">
                  <a:pos x="36" y="12"/>
                </a:cxn>
                <a:cxn ang="0">
                  <a:pos x="36" y="12"/>
                </a:cxn>
                <a:cxn ang="0">
                  <a:pos x="44" y="8"/>
                </a:cxn>
                <a:cxn ang="0">
                  <a:pos x="48" y="12"/>
                </a:cxn>
                <a:cxn ang="0">
                  <a:pos x="52" y="12"/>
                </a:cxn>
                <a:cxn ang="0">
                  <a:pos x="56" y="16"/>
                </a:cxn>
                <a:cxn ang="0">
                  <a:pos x="64" y="12"/>
                </a:cxn>
                <a:cxn ang="0">
                  <a:pos x="72" y="8"/>
                </a:cxn>
                <a:cxn ang="0">
                  <a:pos x="76" y="8"/>
                </a:cxn>
                <a:cxn ang="0">
                  <a:pos x="80" y="4"/>
                </a:cxn>
                <a:cxn ang="0">
                  <a:pos x="88" y="4"/>
                </a:cxn>
                <a:cxn ang="0">
                  <a:pos x="96" y="4"/>
                </a:cxn>
                <a:cxn ang="0">
                  <a:pos x="100" y="0"/>
                </a:cxn>
                <a:cxn ang="0">
                  <a:pos x="104" y="4"/>
                </a:cxn>
                <a:cxn ang="0">
                  <a:pos x="88" y="20"/>
                </a:cxn>
                <a:cxn ang="0">
                  <a:pos x="88" y="32"/>
                </a:cxn>
                <a:cxn ang="0">
                  <a:pos x="88" y="40"/>
                </a:cxn>
                <a:cxn ang="0">
                  <a:pos x="84" y="44"/>
                </a:cxn>
                <a:cxn ang="0">
                  <a:pos x="84" y="48"/>
                </a:cxn>
                <a:cxn ang="0">
                  <a:pos x="84" y="60"/>
                </a:cxn>
                <a:cxn ang="0">
                  <a:pos x="64" y="72"/>
                </a:cxn>
                <a:cxn ang="0">
                  <a:pos x="48" y="80"/>
                </a:cxn>
                <a:cxn ang="0">
                  <a:pos x="32" y="92"/>
                </a:cxn>
                <a:cxn ang="0">
                  <a:pos x="20" y="100"/>
                </a:cxn>
                <a:cxn ang="0">
                  <a:pos x="12" y="100"/>
                </a:cxn>
                <a:cxn ang="0">
                  <a:pos x="8" y="96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88"/>
                </a:cxn>
                <a:cxn ang="0">
                  <a:pos x="0" y="84"/>
                </a:cxn>
              </a:cxnLst>
              <a:rect l="0" t="0" r="r" b="b"/>
              <a:pathLst>
                <a:path w="104" h="100">
                  <a:moveTo>
                    <a:pt x="0" y="84"/>
                  </a:move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8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4"/>
                  </a:lnTo>
                  <a:lnTo>
                    <a:pt x="100" y="0"/>
                  </a:lnTo>
                  <a:lnTo>
                    <a:pt x="100" y="0"/>
                  </a:lnTo>
                  <a:lnTo>
                    <a:pt x="104" y="0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96" y="16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8"/>
                  </a:lnTo>
                  <a:lnTo>
                    <a:pt x="88" y="28"/>
                  </a:lnTo>
                  <a:lnTo>
                    <a:pt x="88" y="32"/>
                  </a:lnTo>
                  <a:lnTo>
                    <a:pt x="88" y="32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36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8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56" y="76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8" y="80"/>
                  </a:lnTo>
                  <a:lnTo>
                    <a:pt x="44" y="84"/>
                  </a:lnTo>
                  <a:lnTo>
                    <a:pt x="40" y="84"/>
                  </a:lnTo>
                  <a:lnTo>
                    <a:pt x="36" y="88"/>
                  </a:lnTo>
                  <a:lnTo>
                    <a:pt x="32" y="92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8" y="96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0" y="92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8" name="Freeform 45">
              <a:extLst>
                <a:ext uri="{FF2B5EF4-FFF2-40B4-BE49-F238E27FC236}">
                  <a16:creationId xmlns:a16="http://schemas.microsoft.com/office/drawing/2014/main" id="{5127160E-CA62-414A-A025-82F78A656866}"/>
                </a:ext>
              </a:extLst>
            </p:cNvPr>
            <p:cNvSpPr>
              <a:spLocks/>
            </p:cNvSpPr>
            <p:nvPr>
              <p:custDataLst>
                <p:tags r:id="rId28"/>
              </p:custDataLst>
            </p:nvPr>
          </p:nvSpPr>
          <p:spPr bwMode="gray">
            <a:xfrm>
              <a:off x="5080101" y="4976088"/>
              <a:ext cx="144969" cy="115976"/>
            </a:xfrm>
            <a:custGeom>
              <a:avLst/>
              <a:gdLst/>
              <a:ahLst/>
              <a:cxnLst>
                <a:cxn ang="0">
                  <a:pos x="108" y="76"/>
                </a:cxn>
                <a:cxn ang="0">
                  <a:pos x="96" y="80"/>
                </a:cxn>
                <a:cxn ang="0">
                  <a:pos x="96" y="76"/>
                </a:cxn>
                <a:cxn ang="0">
                  <a:pos x="88" y="76"/>
                </a:cxn>
                <a:cxn ang="0">
                  <a:pos x="80" y="80"/>
                </a:cxn>
                <a:cxn ang="0">
                  <a:pos x="72" y="84"/>
                </a:cxn>
                <a:cxn ang="0">
                  <a:pos x="64" y="88"/>
                </a:cxn>
                <a:cxn ang="0">
                  <a:pos x="60" y="76"/>
                </a:cxn>
                <a:cxn ang="0">
                  <a:pos x="64" y="68"/>
                </a:cxn>
                <a:cxn ang="0">
                  <a:pos x="56" y="64"/>
                </a:cxn>
                <a:cxn ang="0">
                  <a:pos x="56" y="56"/>
                </a:cxn>
                <a:cxn ang="0">
                  <a:pos x="48" y="60"/>
                </a:cxn>
                <a:cxn ang="0">
                  <a:pos x="40" y="68"/>
                </a:cxn>
                <a:cxn ang="0">
                  <a:pos x="40" y="72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2" y="80"/>
                </a:cxn>
                <a:cxn ang="0">
                  <a:pos x="4" y="80"/>
                </a:cxn>
                <a:cxn ang="0">
                  <a:pos x="8" y="72"/>
                </a:cxn>
                <a:cxn ang="0">
                  <a:pos x="12" y="60"/>
                </a:cxn>
                <a:cxn ang="0">
                  <a:pos x="12" y="56"/>
                </a:cxn>
                <a:cxn ang="0">
                  <a:pos x="12" y="48"/>
                </a:cxn>
                <a:cxn ang="0">
                  <a:pos x="4" y="44"/>
                </a:cxn>
                <a:cxn ang="0">
                  <a:pos x="0" y="36"/>
                </a:cxn>
                <a:cxn ang="0">
                  <a:pos x="8" y="28"/>
                </a:cxn>
                <a:cxn ang="0">
                  <a:pos x="16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8" y="12"/>
                </a:cxn>
                <a:cxn ang="0">
                  <a:pos x="32" y="4"/>
                </a:cxn>
                <a:cxn ang="0">
                  <a:pos x="40" y="8"/>
                </a:cxn>
                <a:cxn ang="0">
                  <a:pos x="44" y="0"/>
                </a:cxn>
                <a:cxn ang="0">
                  <a:pos x="52" y="4"/>
                </a:cxn>
                <a:cxn ang="0">
                  <a:pos x="48" y="12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40" y="16"/>
                </a:cxn>
                <a:cxn ang="0">
                  <a:pos x="32" y="24"/>
                </a:cxn>
                <a:cxn ang="0">
                  <a:pos x="28" y="24"/>
                </a:cxn>
                <a:cxn ang="0">
                  <a:pos x="32" y="32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56" y="32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72" y="40"/>
                </a:cxn>
                <a:cxn ang="0">
                  <a:pos x="80" y="36"/>
                </a:cxn>
                <a:cxn ang="0">
                  <a:pos x="88" y="32"/>
                </a:cxn>
                <a:cxn ang="0">
                  <a:pos x="96" y="36"/>
                </a:cxn>
                <a:cxn ang="0">
                  <a:pos x="96" y="44"/>
                </a:cxn>
                <a:cxn ang="0">
                  <a:pos x="100" y="52"/>
                </a:cxn>
                <a:cxn ang="0">
                  <a:pos x="108" y="52"/>
                </a:cxn>
                <a:cxn ang="0">
                  <a:pos x="111" y="60"/>
                </a:cxn>
                <a:cxn ang="0">
                  <a:pos x="115" y="68"/>
                </a:cxn>
                <a:cxn ang="0">
                  <a:pos x="115" y="72"/>
                </a:cxn>
              </a:cxnLst>
              <a:rect l="0" t="0" r="r" b="b"/>
              <a:pathLst>
                <a:path w="115" h="92">
                  <a:moveTo>
                    <a:pt x="111" y="80"/>
                  </a:moveTo>
                  <a:lnTo>
                    <a:pt x="111" y="76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6" y="80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4" y="88"/>
                  </a:lnTo>
                  <a:lnTo>
                    <a:pt x="60" y="84"/>
                  </a:lnTo>
                  <a:lnTo>
                    <a:pt x="60" y="80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2" y="52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4" y="68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8" y="16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0"/>
                  </a:lnTo>
                  <a:lnTo>
                    <a:pt x="44" y="20"/>
                  </a:lnTo>
                  <a:lnTo>
                    <a:pt x="40" y="16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92" y="36"/>
                  </a:lnTo>
                  <a:lnTo>
                    <a:pt x="96" y="40"/>
                  </a:lnTo>
                  <a:lnTo>
                    <a:pt x="96" y="44"/>
                  </a:lnTo>
                  <a:lnTo>
                    <a:pt x="96" y="48"/>
                  </a:lnTo>
                  <a:lnTo>
                    <a:pt x="96" y="52"/>
                  </a:lnTo>
                  <a:lnTo>
                    <a:pt x="100" y="52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11" y="52"/>
                  </a:lnTo>
                  <a:lnTo>
                    <a:pt x="111" y="56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8"/>
                  </a:lnTo>
                  <a:lnTo>
                    <a:pt x="115" y="68"/>
                  </a:lnTo>
                  <a:lnTo>
                    <a:pt x="111" y="68"/>
                  </a:lnTo>
                  <a:lnTo>
                    <a:pt x="111" y="72"/>
                  </a:lnTo>
                  <a:lnTo>
                    <a:pt x="115" y="72"/>
                  </a:lnTo>
                  <a:lnTo>
                    <a:pt x="115" y="76"/>
                  </a:lnTo>
                  <a:lnTo>
                    <a:pt x="111" y="8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39" name="Freeform 48">
              <a:extLst>
                <a:ext uri="{FF2B5EF4-FFF2-40B4-BE49-F238E27FC236}">
                  <a16:creationId xmlns:a16="http://schemas.microsoft.com/office/drawing/2014/main" id="{60CE7E9A-4A0F-D041-98CB-028AF4DB4E14}"/>
                </a:ext>
              </a:extLst>
            </p:cNvPr>
            <p:cNvSpPr>
              <a:spLocks noEditPoints="1"/>
            </p:cNvSpPr>
            <p:nvPr>
              <p:custDataLst>
                <p:tags r:id="rId29"/>
              </p:custDataLst>
            </p:nvPr>
          </p:nvSpPr>
          <p:spPr bwMode="gray">
            <a:xfrm>
              <a:off x="4280878" y="4945833"/>
              <a:ext cx="366835" cy="166400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36" y="8"/>
                </a:cxn>
                <a:cxn ang="0">
                  <a:pos x="51" y="24"/>
                </a:cxn>
                <a:cxn ang="0">
                  <a:pos x="28" y="24"/>
                </a:cxn>
                <a:cxn ang="0">
                  <a:pos x="16" y="40"/>
                </a:cxn>
                <a:cxn ang="0">
                  <a:pos x="8" y="40"/>
                </a:cxn>
                <a:cxn ang="0">
                  <a:pos x="16" y="32"/>
                </a:cxn>
                <a:cxn ang="0">
                  <a:pos x="12" y="20"/>
                </a:cxn>
                <a:cxn ang="0">
                  <a:pos x="8" y="56"/>
                </a:cxn>
                <a:cxn ang="0">
                  <a:pos x="16" y="40"/>
                </a:cxn>
                <a:cxn ang="0">
                  <a:pos x="32" y="40"/>
                </a:cxn>
                <a:cxn ang="0">
                  <a:pos x="43" y="36"/>
                </a:cxn>
                <a:cxn ang="0">
                  <a:pos x="51" y="36"/>
                </a:cxn>
                <a:cxn ang="0">
                  <a:pos x="63" y="32"/>
                </a:cxn>
                <a:cxn ang="0">
                  <a:pos x="51" y="24"/>
                </a:cxn>
                <a:cxn ang="0">
                  <a:pos x="71" y="20"/>
                </a:cxn>
                <a:cxn ang="0">
                  <a:pos x="87" y="20"/>
                </a:cxn>
                <a:cxn ang="0">
                  <a:pos x="103" y="8"/>
                </a:cxn>
                <a:cxn ang="0">
                  <a:pos x="123" y="4"/>
                </a:cxn>
                <a:cxn ang="0">
                  <a:pos x="143" y="8"/>
                </a:cxn>
                <a:cxn ang="0">
                  <a:pos x="159" y="8"/>
                </a:cxn>
                <a:cxn ang="0">
                  <a:pos x="167" y="16"/>
                </a:cxn>
                <a:cxn ang="0">
                  <a:pos x="183" y="24"/>
                </a:cxn>
                <a:cxn ang="0">
                  <a:pos x="199" y="24"/>
                </a:cxn>
                <a:cxn ang="0">
                  <a:pos x="223" y="24"/>
                </a:cxn>
                <a:cxn ang="0">
                  <a:pos x="243" y="12"/>
                </a:cxn>
                <a:cxn ang="0">
                  <a:pos x="259" y="12"/>
                </a:cxn>
                <a:cxn ang="0">
                  <a:pos x="275" y="28"/>
                </a:cxn>
                <a:cxn ang="0">
                  <a:pos x="275" y="44"/>
                </a:cxn>
                <a:cxn ang="0">
                  <a:pos x="287" y="56"/>
                </a:cxn>
                <a:cxn ang="0">
                  <a:pos x="283" y="64"/>
                </a:cxn>
                <a:cxn ang="0">
                  <a:pos x="283" y="84"/>
                </a:cxn>
                <a:cxn ang="0">
                  <a:pos x="291" y="104"/>
                </a:cxn>
                <a:cxn ang="0">
                  <a:pos x="279" y="100"/>
                </a:cxn>
                <a:cxn ang="0">
                  <a:pos x="259" y="100"/>
                </a:cxn>
                <a:cxn ang="0">
                  <a:pos x="247" y="104"/>
                </a:cxn>
                <a:cxn ang="0">
                  <a:pos x="227" y="108"/>
                </a:cxn>
                <a:cxn ang="0">
                  <a:pos x="203" y="112"/>
                </a:cxn>
                <a:cxn ang="0">
                  <a:pos x="187" y="112"/>
                </a:cxn>
                <a:cxn ang="0">
                  <a:pos x="167" y="112"/>
                </a:cxn>
                <a:cxn ang="0">
                  <a:pos x="159" y="128"/>
                </a:cxn>
                <a:cxn ang="0">
                  <a:pos x="155" y="124"/>
                </a:cxn>
                <a:cxn ang="0">
                  <a:pos x="155" y="112"/>
                </a:cxn>
                <a:cxn ang="0">
                  <a:pos x="135" y="112"/>
                </a:cxn>
                <a:cxn ang="0">
                  <a:pos x="123" y="124"/>
                </a:cxn>
                <a:cxn ang="0">
                  <a:pos x="107" y="124"/>
                </a:cxn>
                <a:cxn ang="0">
                  <a:pos x="91" y="116"/>
                </a:cxn>
                <a:cxn ang="0">
                  <a:pos x="75" y="112"/>
                </a:cxn>
                <a:cxn ang="0">
                  <a:pos x="67" y="124"/>
                </a:cxn>
                <a:cxn ang="0">
                  <a:pos x="55" y="116"/>
                </a:cxn>
                <a:cxn ang="0">
                  <a:pos x="43" y="112"/>
                </a:cxn>
                <a:cxn ang="0">
                  <a:pos x="36" y="112"/>
                </a:cxn>
                <a:cxn ang="0">
                  <a:pos x="28" y="116"/>
                </a:cxn>
                <a:cxn ang="0">
                  <a:pos x="32" y="108"/>
                </a:cxn>
                <a:cxn ang="0">
                  <a:pos x="28" y="104"/>
                </a:cxn>
                <a:cxn ang="0">
                  <a:pos x="28" y="88"/>
                </a:cxn>
                <a:cxn ang="0">
                  <a:pos x="16" y="80"/>
                </a:cxn>
                <a:cxn ang="0">
                  <a:pos x="24" y="80"/>
                </a:cxn>
                <a:cxn ang="0">
                  <a:pos x="20" y="68"/>
                </a:cxn>
                <a:cxn ang="0">
                  <a:pos x="32" y="32"/>
                </a:cxn>
                <a:cxn ang="0">
                  <a:pos x="4" y="40"/>
                </a:cxn>
              </a:cxnLst>
              <a:rect l="0" t="0" r="r" b="b"/>
              <a:pathLst>
                <a:path w="291" h="132">
                  <a:moveTo>
                    <a:pt x="12" y="12"/>
                  </a:moveTo>
                  <a:lnTo>
                    <a:pt x="12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9" y="12"/>
                  </a:lnTo>
                  <a:lnTo>
                    <a:pt x="39" y="16"/>
                  </a:lnTo>
                  <a:lnTo>
                    <a:pt x="43" y="16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24"/>
                  </a:lnTo>
                  <a:lnTo>
                    <a:pt x="47" y="24"/>
                  </a:lnTo>
                  <a:lnTo>
                    <a:pt x="43" y="24"/>
                  </a:lnTo>
                  <a:lnTo>
                    <a:pt x="39" y="24"/>
                  </a:lnTo>
                  <a:lnTo>
                    <a:pt x="36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16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2" y="12"/>
                  </a:lnTo>
                  <a:close/>
                  <a:moveTo>
                    <a:pt x="16" y="56"/>
                  </a:moveTo>
                  <a:lnTo>
                    <a:pt x="8" y="56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9" y="36"/>
                  </a:lnTo>
                  <a:lnTo>
                    <a:pt x="43" y="36"/>
                  </a:lnTo>
                  <a:lnTo>
                    <a:pt x="47" y="40"/>
                  </a:lnTo>
                  <a:lnTo>
                    <a:pt x="47" y="36"/>
                  </a:lnTo>
                  <a:lnTo>
                    <a:pt x="51" y="36"/>
                  </a:lnTo>
                  <a:lnTo>
                    <a:pt x="51" y="40"/>
                  </a:lnTo>
                  <a:lnTo>
                    <a:pt x="55" y="36"/>
                  </a:lnTo>
                  <a:lnTo>
                    <a:pt x="51" y="36"/>
                  </a:lnTo>
                  <a:lnTo>
                    <a:pt x="47" y="36"/>
                  </a:lnTo>
                  <a:lnTo>
                    <a:pt x="47" y="32"/>
                  </a:lnTo>
                  <a:lnTo>
                    <a:pt x="51" y="32"/>
                  </a:lnTo>
                  <a:lnTo>
                    <a:pt x="55" y="32"/>
                  </a:lnTo>
                  <a:lnTo>
                    <a:pt x="59" y="32"/>
                  </a:lnTo>
                  <a:lnTo>
                    <a:pt x="63" y="32"/>
                  </a:lnTo>
                  <a:lnTo>
                    <a:pt x="67" y="32"/>
                  </a:lnTo>
                  <a:lnTo>
                    <a:pt x="67" y="28"/>
                  </a:lnTo>
                  <a:lnTo>
                    <a:pt x="63" y="28"/>
                  </a:lnTo>
                  <a:lnTo>
                    <a:pt x="59" y="28"/>
                  </a:lnTo>
                  <a:lnTo>
                    <a:pt x="55" y="28"/>
                  </a:lnTo>
                  <a:lnTo>
                    <a:pt x="51" y="24"/>
                  </a:lnTo>
                  <a:lnTo>
                    <a:pt x="51" y="20"/>
                  </a:lnTo>
                  <a:lnTo>
                    <a:pt x="55" y="20"/>
                  </a:lnTo>
                  <a:lnTo>
                    <a:pt x="59" y="20"/>
                  </a:lnTo>
                  <a:lnTo>
                    <a:pt x="63" y="20"/>
                  </a:lnTo>
                  <a:lnTo>
                    <a:pt x="67" y="24"/>
                  </a:lnTo>
                  <a:lnTo>
                    <a:pt x="71" y="20"/>
                  </a:lnTo>
                  <a:lnTo>
                    <a:pt x="75" y="20"/>
                  </a:lnTo>
                  <a:lnTo>
                    <a:pt x="75" y="24"/>
                  </a:lnTo>
                  <a:lnTo>
                    <a:pt x="79" y="24"/>
                  </a:lnTo>
                  <a:lnTo>
                    <a:pt x="83" y="24"/>
                  </a:lnTo>
                  <a:lnTo>
                    <a:pt x="87" y="24"/>
                  </a:lnTo>
                  <a:lnTo>
                    <a:pt x="87" y="20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8"/>
                  </a:lnTo>
                  <a:lnTo>
                    <a:pt x="103" y="8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7" y="4"/>
                  </a:lnTo>
                  <a:lnTo>
                    <a:pt x="131" y="4"/>
                  </a:lnTo>
                  <a:lnTo>
                    <a:pt x="135" y="4"/>
                  </a:lnTo>
                  <a:lnTo>
                    <a:pt x="139" y="4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5" y="12"/>
                  </a:lnTo>
                  <a:lnTo>
                    <a:pt x="155" y="8"/>
                  </a:lnTo>
                  <a:lnTo>
                    <a:pt x="159" y="8"/>
                  </a:lnTo>
                  <a:lnTo>
                    <a:pt x="159" y="12"/>
                  </a:lnTo>
                  <a:lnTo>
                    <a:pt x="159" y="16"/>
                  </a:lnTo>
                  <a:lnTo>
                    <a:pt x="163" y="16"/>
                  </a:lnTo>
                  <a:lnTo>
                    <a:pt x="163" y="20"/>
                  </a:lnTo>
                  <a:lnTo>
                    <a:pt x="167" y="20"/>
                  </a:lnTo>
                  <a:lnTo>
                    <a:pt x="167" y="16"/>
                  </a:lnTo>
                  <a:lnTo>
                    <a:pt x="171" y="16"/>
                  </a:lnTo>
                  <a:lnTo>
                    <a:pt x="171" y="20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9" y="24"/>
                  </a:lnTo>
                  <a:lnTo>
                    <a:pt x="183" y="24"/>
                  </a:lnTo>
                  <a:lnTo>
                    <a:pt x="187" y="24"/>
                  </a:lnTo>
                  <a:lnTo>
                    <a:pt x="191" y="24"/>
                  </a:lnTo>
                  <a:lnTo>
                    <a:pt x="191" y="28"/>
                  </a:lnTo>
                  <a:lnTo>
                    <a:pt x="195" y="28"/>
                  </a:lnTo>
                  <a:lnTo>
                    <a:pt x="199" y="28"/>
                  </a:lnTo>
                  <a:lnTo>
                    <a:pt x="199" y="24"/>
                  </a:lnTo>
                  <a:lnTo>
                    <a:pt x="203" y="24"/>
                  </a:lnTo>
                  <a:lnTo>
                    <a:pt x="207" y="24"/>
                  </a:lnTo>
                  <a:lnTo>
                    <a:pt x="211" y="24"/>
                  </a:lnTo>
                  <a:lnTo>
                    <a:pt x="215" y="24"/>
                  </a:lnTo>
                  <a:lnTo>
                    <a:pt x="219" y="28"/>
                  </a:lnTo>
                  <a:lnTo>
                    <a:pt x="223" y="24"/>
                  </a:lnTo>
                  <a:lnTo>
                    <a:pt x="227" y="24"/>
                  </a:lnTo>
                  <a:lnTo>
                    <a:pt x="231" y="24"/>
                  </a:lnTo>
                  <a:lnTo>
                    <a:pt x="231" y="20"/>
                  </a:lnTo>
                  <a:lnTo>
                    <a:pt x="235" y="20"/>
                  </a:lnTo>
                  <a:lnTo>
                    <a:pt x="239" y="16"/>
                  </a:lnTo>
                  <a:lnTo>
                    <a:pt x="243" y="12"/>
                  </a:lnTo>
                  <a:lnTo>
                    <a:pt x="243" y="16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12"/>
                  </a:lnTo>
                  <a:lnTo>
                    <a:pt x="263" y="12"/>
                  </a:lnTo>
                  <a:lnTo>
                    <a:pt x="263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8"/>
                  </a:lnTo>
                  <a:lnTo>
                    <a:pt x="275" y="32"/>
                  </a:lnTo>
                  <a:lnTo>
                    <a:pt x="275" y="36"/>
                  </a:lnTo>
                  <a:lnTo>
                    <a:pt x="271" y="36"/>
                  </a:lnTo>
                  <a:lnTo>
                    <a:pt x="271" y="40"/>
                  </a:lnTo>
                  <a:lnTo>
                    <a:pt x="275" y="40"/>
                  </a:lnTo>
                  <a:lnTo>
                    <a:pt x="275" y="44"/>
                  </a:lnTo>
                  <a:lnTo>
                    <a:pt x="279" y="44"/>
                  </a:lnTo>
                  <a:lnTo>
                    <a:pt x="283" y="44"/>
                  </a:lnTo>
                  <a:lnTo>
                    <a:pt x="287" y="48"/>
                  </a:lnTo>
                  <a:lnTo>
                    <a:pt x="291" y="52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83" y="56"/>
                  </a:lnTo>
                  <a:lnTo>
                    <a:pt x="283" y="60"/>
                  </a:lnTo>
                  <a:lnTo>
                    <a:pt x="283" y="56"/>
                  </a:lnTo>
                  <a:lnTo>
                    <a:pt x="279" y="56"/>
                  </a:lnTo>
                  <a:lnTo>
                    <a:pt x="279" y="60"/>
                  </a:lnTo>
                  <a:lnTo>
                    <a:pt x="283" y="64"/>
                  </a:lnTo>
                  <a:lnTo>
                    <a:pt x="283" y="68"/>
                  </a:lnTo>
                  <a:lnTo>
                    <a:pt x="283" y="72"/>
                  </a:lnTo>
                  <a:lnTo>
                    <a:pt x="283" y="76"/>
                  </a:lnTo>
                  <a:lnTo>
                    <a:pt x="283" y="80"/>
                  </a:lnTo>
                  <a:lnTo>
                    <a:pt x="287" y="80"/>
                  </a:lnTo>
                  <a:lnTo>
                    <a:pt x="283" y="84"/>
                  </a:lnTo>
                  <a:lnTo>
                    <a:pt x="283" y="88"/>
                  </a:lnTo>
                  <a:lnTo>
                    <a:pt x="287" y="92"/>
                  </a:lnTo>
                  <a:lnTo>
                    <a:pt x="287" y="96"/>
                  </a:lnTo>
                  <a:lnTo>
                    <a:pt x="287" y="100"/>
                  </a:lnTo>
                  <a:lnTo>
                    <a:pt x="291" y="100"/>
                  </a:lnTo>
                  <a:lnTo>
                    <a:pt x="291" y="104"/>
                  </a:lnTo>
                  <a:lnTo>
                    <a:pt x="287" y="104"/>
                  </a:lnTo>
                  <a:lnTo>
                    <a:pt x="287" y="108"/>
                  </a:lnTo>
                  <a:lnTo>
                    <a:pt x="283" y="108"/>
                  </a:lnTo>
                  <a:lnTo>
                    <a:pt x="283" y="104"/>
                  </a:lnTo>
                  <a:lnTo>
                    <a:pt x="283" y="100"/>
                  </a:lnTo>
                  <a:lnTo>
                    <a:pt x="279" y="100"/>
                  </a:lnTo>
                  <a:lnTo>
                    <a:pt x="279" y="104"/>
                  </a:lnTo>
                  <a:lnTo>
                    <a:pt x="275" y="104"/>
                  </a:lnTo>
                  <a:lnTo>
                    <a:pt x="271" y="104"/>
                  </a:lnTo>
                  <a:lnTo>
                    <a:pt x="267" y="100"/>
                  </a:lnTo>
                  <a:lnTo>
                    <a:pt x="263" y="100"/>
                  </a:lnTo>
                  <a:lnTo>
                    <a:pt x="259" y="100"/>
                  </a:lnTo>
                  <a:lnTo>
                    <a:pt x="259" y="104"/>
                  </a:lnTo>
                  <a:lnTo>
                    <a:pt x="255" y="104"/>
                  </a:lnTo>
                  <a:lnTo>
                    <a:pt x="255" y="100"/>
                  </a:lnTo>
                  <a:lnTo>
                    <a:pt x="251" y="100"/>
                  </a:lnTo>
                  <a:lnTo>
                    <a:pt x="251" y="104"/>
                  </a:lnTo>
                  <a:lnTo>
                    <a:pt x="247" y="104"/>
                  </a:lnTo>
                  <a:lnTo>
                    <a:pt x="243" y="104"/>
                  </a:lnTo>
                  <a:lnTo>
                    <a:pt x="239" y="104"/>
                  </a:lnTo>
                  <a:lnTo>
                    <a:pt x="235" y="104"/>
                  </a:lnTo>
                  <a:lnTo>
                    <a:pt x="231" y="104"/>
                  </a:lnTo>
                  <a:lnTo>
                    <a:pt x="227" y="104"/>
                  </a:lnTo>
                  <a:lnTo>
                    <a:pt x="227" y="108"/>
                  </a:lnTo>
                  <a:lnTo>
                    <a:pt x="223" y="108"/>
                  </a:lnTo>
                  <a:lnTo>
                    <a:pt x="219" y="112"/>
                  </a:lnTo>
                  <a:lnTo>
                    <a:pt x="215" y="112"/>
                  </a:lnTo>
                  <a:lnTo>
                    <a:pt x="211" y="112"/>
                  </a:lnTo>
                  <a:lnTo>
                    <a:pt x="207" y="116"/>
                  </a:lnTo>
                  <a:lnTo>
                    <a:pt x="203" y="112"/>
                  </a:lnTo>
                  <a:lnTo>
                    <a:pt x="199" y="112"/>
                  </a:lnTo>
                  <a:lnTo>
                    <a:pt x="195" y="112"/>
                  </a:lnTo>
                  <a:lnTo>
                    <a:pt x="195" y="108"/>
                  </a:lnTo>
                  <a:lnTo>
                    <a:pt x="191" y="108"/>
                  </a:lnTo>
                  <a:lnTo>
                    <a:pt x="191" y="112"/>
                  </a:lnTo>
                  <a:lnTo>
                    <a:pt x="187" y="112"/>
                  </a:lnTo>
                  <a:lnTo>
                    <a:pt x="183" y="112"/>
                  </a:lnTo>
                  <a:lnTo>
                    <a:pt x="179" y="116"/>
                  </a:lnTo>
                  <a:lnTo>
                    <a:pt x="175" y="116"/>
                  </a:lnTo>
                  <a:lnTo>
                    <a:pt x="175" y="112"/>
                  </a:lnTo>
                  <a:lnTo>
                    <a:pt x="171" y="112"/>
                  </a:lnTo>
                  <a:lnTo>
                    <a:pt x="167" y="112"/>
                  </a:lnTo>
                  <a:lnTo>
                    <a:pt x="167" y="116"/>
                  </a:lnTo>
                  <a:lnTo>
                    <a:pt x="167" y="120"/>
                  </a:lnTo>
                  <a:lnTo>
                    <a:pt x="167" y="124"/>
                  </a:lnTo>
                  <a:lnTo>
                    <a:pt x="163" y="124"/>
                  </a:lnTo>
                  <a:lnTo>
                    <a:pt x="163" y="128"/>
                  </a:lnTo>
                  <a:lnTo>
                    <a:pt x="159" y="128"/>
                  </a:lnTo>
                  <a:lnTo>
                    <a:pt x="159" y="132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9" y="128"/>
                  </a:lnTo>
                  <a:lnTo>
                    <a:pt x="155" y="128"/>
                  </a:lnTo>
                  <a:lnTo>
                    <a:pt x="155" y="124"/>
                  </a:lnTo>
                  <a:lnTo>
                    <a:pt x="155" y="120"/>
                  </a:lnTo>
                  <a:lnTo>
                    <a:pt x="159" y="116"/>
                  </a:lnTo>
                  <a:lnTo>
                    <a:pt x="159" y="112"/>
                  </a:lnTo>
                  <a:lnTo>
                    <a:pt x="159" y="108"/>
                  </a:lnTo>
                  <a:lnTo>
                    <a:pt x="155" y="108"/>
                  </a:lnTo>
                  <a:lnTo>
                    <a:pt x="155" y="112"/>
                  </a:lnTo>
                  <a:lnTo>
                    <a:pt x="151" y="112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3" y="112"/>
                  </a:lnTo>
                  <a:lnTo>
                    <a:pt x="139" y="112"/>
                  </a:lnTo>
                  <a:lnTo>
                    <a:pt x="135" y="112"/>
                  </a:lnTo>
                  <a:lnTo>
                    <a:pt x="131" y="116"/>
                  </a:lnTo>
                  <a:lnTo>
                    <a:pt x="131" y="120"/>
                  </a:lnTo>
                  <a:lnTo>
                    <a:pt x="127" y="120"/>
                  </a:lnTo>
                  <a:lnTo>
                    <a:pt x="127" y="124"/>
                  </a:lnTo>
                  <a:lnTo>
                    <a:pt x="127" y="120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5" y="124"/>
                  </a:lnTo>
                  <a:lnTo>
                    <a:pt x="111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24"/>
                  </a:lnTo>
                  <a:lnTo>
                    <a:pt x="103" y="124"/>
                  </a:lnTo>
                  <a:lnTo>
                    <a:pt x="99" y="124"/>
                  </a:lnTo>
                  <a:lnTo>
                    <a:pt x="99" y="120"/>
                  </a:lnTo>
                  <a:lnTo>
                    <a:pt x="99" y="116"/>
                  </a:lnTo>
                  <a:lnTo>
                    <a:pt x="95" y="116"/>
                  </a:lnTo>
                  <a:lnTo>
                    <a:pt x="91" y="116"/>
                  </a:lnTo>
                  <a:lnTo>
                    <a:pt x="91" y="112"/>
                  </a:lnTo>
                  <a:lnTo>
                    <a:pt x="87" y="112"/>
                  </a:lnTo>
                  <a:lnTo>
                    <a:pt x="83" y="112"/>
                  </a:lnTo>
                  <a:lnTo>
                    <a:pt x="79" y="112"/>
                  </a:lnTo>
                  <a:lnTo>
                    <a:pt x="75" y="108"/>
                  </a:lnTo>
                  <a:lnTo>
                    <a:pt x="75" y="112"/>
                  </a:lnTo>
                  <a:lnTo>
                    <a:pt x="75" y="116"/>
                  </a:lnTo>
                  <a:lnTo>
                    <a:pt x="75" y="120"/>
                  </a:lnTo>
                  <a:lnTo>
                    <a:pt x="71" y="124"/>
                  </a:lnTo>
                  <a:lnTo>
                    <a:pt x="71" y="120"/>
                  </a:lnTo>
                  <a:lnTo>
                    <a:pt x="67" y="120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1" y="120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51" y="112"/>
                  </a:lnTo>
                  <a:lnTo>
                    <a:pt x="47" y="116"/>
                  </a:lnTo>
                  <a:lnTo>
                    <a:pt x="47" y="112"/>
                  </a:lnTo>
                  <a:lnTo>
                    <a:pt x="43" y="108"/>
                  </a:lnTo>
                  <a:lnTo>
                    <a:pt x="43" y="112"/>
                  </a:lnTo>
                  <a:lnTo>
                    <a:pt x="39" y="112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9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9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9" y="108"/>
                  </a:lnTo>
                  <a:lnTo>
                    <a:pt x="36" y="108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8" y="104"/>
                  </a:lnTo>
                  <a:lnTo>
                    <a:pt x="32" y="104"/>
                  </a:lnTo>
                  <a:lnTo>
                    <a:pt x="32" y="100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4" y="100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76"/>
                  </a:lnTo>
                  <a:lnTo>
                    <a:pt x="16" y="72"/>
                  </a:lnTo>
                  <a:lnTo>
                    <a:pt x="20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close/>
                  <a:moveTo>
                    <a:pt x="32" y="32"/>
                  </a:moveTo>
                  <a:lnTo>
                    <a:pt x="28" y="32"/>
                  </a:lnTo>
                  <a:lnTo>
                    <a:pt x="32" y="32"/>
                  </a:lnTo>
                  <a:close/>
                  <a:moveTo>
                    <a:pt x="4" y="44"/>
                  </a:moveTo>
                  <a:lnTo>
                    <a:pt x="0" y="44"/>
                  </a:lnTo>
                  <a:lnTo>
                    <a:pt x="4" y="44"/>
                  </a:lnTo>
                  <a:lnTo>
                    <a:pt x="4" y="40"/>
                  </a:lnTo>
                  <a:lnTo>
                    <a:pt x="8" y="44"/>
                  </a:lnTo>
                  <a:lnTo>
                    <a:pt x="4" y="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0" name="Freeform 49">
              <a:extLst>
                <a:ext uri="{FF2B5EF4-FFF2-40B4-BE49-F238E27FC236}">
                  <a16:creationId xmlns:a16="http://schemas.microsoft.com/office/drawing/2014/main" id="{944490AF-8538-1546-AA9B-E2AF122928D9}"/>
                </a:ext>
              </a:extLst>
            </p:cNvPr>
            <p:cNvSpPr>
              <a:spLocks/>
            </p:cNvSpPr>
            <p:nvPr>
              <p:custDataLst>
                <p:tags r:id="rId30"/>
              </p:custDataLst>
            </p:nvPr>
          </p:nvSpPr>
          <p:spPr bwMode="gray">
            <a:xfrm>
              <a:off x="4768731" y="4931967"/>
              <a:ext cx="296242" cy="195393"/>
            </a:xfrm>
            <a:custGeom>
              <a:avLst/>
              <a:gdLst/>
              <a:ahLst/>
              <a:cxnLst>
                <a:cxn ang="0">
                  <a:pos x="223" y="107"/>
                </a:cxn>
                <a:cxn ang="0">
                  <a:pos x="215" y="115"/>
                </a:cxn>
                <a:cxn ang="0">
                  <a:pos x="207" y="123"/>
                </a:cxn>
                <a:cxn ang="0">
                  <a:pos x="203" y="135"/>
                </a:cxn>
                <a:cxn ang="0">
                  <a:pos x="191" y="139"/>
                </a:cxn>
                <a:cxn ang="0">
                  <a:pos x="183" y="143"/>
                </a:cxn>
                <a:cxn ang="0">
                  <a:pos x="179" y="151"/>
                </a:cxn>
                <a:cxn ang="0">
                  <a:pos x="167" y="155"/>
                </a:cxn>
                <a:cxn ang="0">
                  <a:pos x="155" y="151"/>
                </a:cxn>
                <a:cxn ang="0">
                  <a:pos x="151" y="139"/>
                </a:cxn>
                <a:cxn ang="0">
                  <a:pos x="147" y="127"/>
                </a:cxn>
                <a:cxn ang="0">
                  <a:pos x="135" y="119"/>
                </a:cxn>
                <a:cxn ang="0">
                  <a:pos x="123" y="107"/>
                </a:cxn>
                <a:cxn ang="0">
                  <a:pos x="115" y="107"/>
                </a:cxn>
                <a:cxn ang="0">
                  <a:pos x="99" y="99"/>
                </a:cxn>
                <a:cxn ang="0">
                  <a:pos x="91" y="95"/>
                </a:cxn>
                <a:cxn ang="0">
                  <a:pos x="79" y="91"/>
                </a:cxn>
                <a:cxn ang="0">
                  <a:pos x="67" y="95"/>
                </a:cxn>
                <a:cxn ang="0">
                  <a:pos x="59" y="103"/>
                </a:cxn>
                <a:cxn ang="0">
                  <a:pos x="47" y="111"/>
                </a:cxn>
                <a:cxn ang="0">
                  <a:pos x="31" y="107"/>
                </a:cxn>
                <a:cxn ang="0">
                  <a:pos x="19" y="103"/>
                </a:cxn>
                <a:cxn ang="0">
                  <a:pos x="11" y="95"/>
                </a:cxn>
                <a:cxn ang="0">
                  <a:pos x="4" y="79"/>
                </a:cxn>
                <a:cxn ang="0">
                  <a:pos x="7" y="63"/>
                </a:cxn>
                <a:cxn ang="0">
                  <a:pos x="7" y="43"/>
                </a:cxn>
                <a:cxn ang="0">
                  <a:pos x="7" y="27"/>
                </a:cxn>
                <a:cxn ang="0">
                  <a:pos x="23" y="15"/>
                </a:cxn>
                <a:cxn ang="0">
                  <a:pos x="35" y="11"/>
                </a:cxn>
                <a:cxn ang="0">
                  <a:pos x="47" y="11"/>
                </a:cxn>
                <a:cxn ang="0">
                  <a:pos x="59" y="23"/>
                </a:cxn>
                <a:cxn ang="0">
                  <a:pos x="67" y="31"/>
                </a:cxn>
                <a:cxn ang="0">
                  <a:pos x="79" y="31"/>
                </a:cxn>
                <a:cxn ang="0">
                  <a:pos x="91" y="27"/>
                </a:cxn>
                <a:cxn ang="0">
                  <a:pos x="87" y="15"/>
                </a:cxn>
                <a:cxn ang="0">
                  <a:pos x="99" y="11"/>
                </a:cxn>
                <a:cxn ang="0">
                  <a:pos x="107" y="7"/>
                </a:cxn>
                <a:cxn ang="0">
                  <a:pos x="111" y="4"/>
                </a:cxn>
                <a:cxn ang="0">
                  <a:pos x="119" y="4"/>
                </a:cxn>
                <a:cxn ang="0">
                  <a:pos x="131" y="7"/>
                </a:cxn>
                <a:cxn ang="0">
                  <a:pos x="139" y="19"/>
                </a:cxn>
                <a:cxn ang="0">
                  <a:pos x="139" y="27"/>
                </a:cxn>
                <a:cxn ang="0">
                  <a:pos x="151" y="31"/>
                </a:cxn>
                <a:cxn ang="0">
                  <a:pos x="163" y="39"/>
                </a:cxn>
                <a:cxn ang="0">
                  <a:pos x="171" y="47"/>
                </a:cxn>
                <a:cxn ang="0">
                  <a:pos x="175" y="59"/>
                </a:cxn>
                <a:cxn ang="0">
                  <a:pos x="187" y="67"/>
                </a:cxn>
                <a:cxn ang="0">
                  <a:pos x="195" y="75"/>
                </a:cxn>
                <a:cxn ang="0">
                  <a:pos x="203" y="83"/>
                </a:cxn>
                <a:cxn ang="0">
                  <a:pos x="219" y="91"/>
                </a:cxn>
                <a:cxn ang="0">
                  <a:pos x="227" y="95"/>
                </a:cxn>
                <a:cxn ang="0">
                  <a:pos x="235" y="103"/>
                </a:cxn>
                <a:cxn ang="0">
                  <a:pos x="231" y="111"/>
                </a:cxn>
              </a:cxnLst>
              <a:rect l="0" t="0" r="r" b="b"/>
              <a:pathLst>
                <a:path w="235" h="155">
                  <a:moveTo>
                    <a:pt x="231" y="111"/>
                  </a:moveTo>
                  <a:lnTo>
                    <a:pt x="227" y="111"/>
                  </a:lnTo>
                  <a:lnTo>
                    <a:pt x="223" y="111"/>
                  </a:lnTo>
                  <a:lnTo>
                    <a:pt x="223" y="107"/>
                  </a:lnTo>
                  <a:lnTo>
                    <a:pt x="219" y="107"/>
                  </a:lnTo>
                  <a:lnTo>
                    <a:pt x="219" y="111"/>
                  </a:lnTo>
                  <a:lnTo>
                    <a:pt x="219" y="115"/>
                  </a:lnTo>
                  <a:lnTo>
                    <a:pt x="215" y="115"/>
                  </a:lnTo>
                  <a:lnTo>
                    <a:pt x="211" y="115"/>
                  </a:lnTo>
                  <a:lnTo>
                    <a:pt x="207" y="115"/>
                  </a:lnTo>
                  <a:lnTo>
                    <a:pt x="207" y="119"/>
                  </a:lnTo>
                  <a:lnTo>
                    <a:pt x="207" y="123"/>
                  </a:lnTo>
                  <a:lnTo>
                    <a:pt x="203" y="123"/>
                  </a:lnTo>
                  <a:lnTo>
                    <a:pt x="203" y="127"/>
                  </a:lnTo>
                  <a:lnTo>
                    <a:pt x="203" y="131"/>
                  </a:lnTo>
                  <a:lnTo>
                    <a:pt x="203" y="135"/>
                  </a:lnTo>
                  <a:lnTo>
                    <a:pt x="199" y="135"/>
                  </a:lnTo>
                  <a:lnTo>
                    <a:pt x="195" y="135"/>
                  </a:lnTo>
                  <a:lnTo>
                    <a:pt x="195" y="139"/>
                  </a:lnTo>
                  <a:lnTo>
                    <a:pt x="191" y="139"/>
                  </a:lnTo>
                  <a:lnTo>
                    <a:pt x="187" y="139"/>
                  </a:lnTo>
                  <a:lnTo>
                    <a:pt x="183" y="143"/>
                  </a:lnTo>
                  <a:lnTo>
                    <a:pt x="179" y="143"/>
                  </a:lnTo>
                  <a:lnTo>
                    <a:pt x="183" y="143"/>
                  </a:lnTo>
                  <a:lnTo>
                    <a:pt x="183" y="147"/>
                  </a:lnTo>
                  <a:lnTo>
                    <a:pt x="179" y="147"/>
                  </a:lnTo>
                  <a:lnTo>
                    <a:pt x="183" y="147"/>
                  </a:lnTo>
                  <a:lnTo>
                    <a:pt x="179" y="151"/>
                  </a:lnTo>
                  <a:lnTo>
                    <a:pt x="175" y="151"/>
                  </a:lnTo>
                  <a:lnTo>
                    <a:pt x="175" y="155"/>
                  </a:lnTo>
                  <a:lnTo>
                    <a:pt x="171" y="155"/>
                  </a:lnTo>
                  <a:lnTo>
                    <a:pt x="167" y="155"/>
                  </a:lnTo>
                  <a:lnTo>
                    <a:pt x="167" y="151"/>
                  </a:lnTo>
                  <a:lnTo>
                    <a:pt x="163" y="151"/>
                  </a:lnTo>
                  <a:lnTo>
                    <a:pt x="159" y="151"/>
                  </a:lnTo>
                  <a:lnTo>
                    <a:pt x="155" y="151"/>
                  </a:lnTo>
                  <a:lnTo>
                    <a:pt x="155" y="147"/>
                  </a:lnTo>
                  <a:lnTo>
                    <a:pt x="151" y="147"/>
                  </a:lnTo>
                  <a:lnTo>
                    <a:pt x="151" y="143"/>
                  </a:lnTo>
                  <a:lnTo>
                    <a:pt x="151" y="139"/>
                  </a:lnTo>
                  <a:lnTo>
                    <a:pt x="151" y="135"/>
                  </a:lnTo>
                  <a:lnTo>
                    <a:pt x="151" y="131"/>
                  </a:lnTo>
                  <a:lnTo>
                    <a:pt x="151" y="127"/>
                  </a:lnTo>
                  <a:lnTo>
                    <a:pt x="147" y="127"/>
                  </a:lnTo>
                  <a:lnTo>
                    <a:pt x="143" y="127"/>
                  </a:lnTo>
                  <a:lnTo>
                    <a:pt x="139" y="127"/>
                  </a:lnTo>
                  <a:lnTo>
                    <a:pt x="135" y="123"/>
                  </a:lnTo>
                  <a:lnTo>
                    <a:pt x="135" y="119"/>
                  </a:lnTo>
                  <a:lnTo>
                    <a:pt x="131" y="115"/>
                  </a:lnTo>
                  <a:lnTo>
                    <a:pt x="127" y="115"/>
                  </a:lnTo>
                  <a:lnTo>
                    <a:pt x="123" y="111"/>
                  </a:lnTo>
                  <a:lnTo>
                    <a:pt x="123" y="107"/>
                  </a:lnTo>
                  <a:lnTo>
                    <a:pt x="119" y="107"/>
                  </a:lnTo>
                  <a:lnTo>
                    <a:pt x="119" y="103"/>
                  </a:lnTo>
                  <a:lnTo>
                    <a:pt x="115" y="103"/>
                  </a:lnTo>
                  <a:lnTo>
                    <a:pt x="115" y="107"/>
                  </a:lnTo>
                  <a:lnTo>
                    <a:pt x="115" y="103"/>
                  </a:lnTo>
                  <a:lnTo>
                    <a:pt x="111" y="107"/>
                  </a:lnTo>
                  <a:lnTo>
                    <a:pt x="107" y="103"/>
                  </a:lnTo>
                  <a:lnTo>
                    <a:pt x="99" y="99"/>
                  </a:lnTo>
                  <a:lnTo>
                    <a:pt x="95" y="99"/>
                  </a:lnTo>
                  <a:lnTo>
                    <a:pt x="95" y="95"/>
                  </a:lnTo>
                  <a:lnTo>
                    <a:pt x="91" y="91"/>
                  </a:lnTo>
                  <a:lnTo>
                    <a:pt x="91" y="95"/>
                  </a:lnTo>
                  <a:lnTo>
                    <a:pt x="87" y="95"/>
                  </a:lnTo>
                  <a:lnTo>
                    <a:pt x="87" y="91"/>
                  </a:lnTo>
                  <a:lnTo>
                    <a:pt x="83" y="91"/>
                  </a:lnTo>
                  <a:lnTo>
                    <a:pt x="79" y="91"/>
                  </a:lnTo>
                  <a:lnTo>
                    <a:pt x="79" y="95"/>
                  </a:lnTo>
                  <a:lnTo>
                    <a:pt x="75" y="95"/>
                  </a:lnTo>
                  <a:lnTo>
                    <a:pt x="71" y="95"/>
                  </a:lnTo>
                  <a:lnTo>
                    <a:pt x="67" y="95"/>
                  </a:lnTo>
                  <a:lnTo>
                    <a:pt x="63" y="95"/>
                  </a:lnTo>
                  <a:lnTo>
                    <a:pt x="63" y="99"/>
                  </a:lnTo>
                  <a:lnTo>
                    <a:pt x="59" y="99"/>
                  </a:lnTo>
                  <a:lnTo>
                    <a:pt x="59" y="103"/>
                  </a:lnTo>
                  <a:lnTo>
                    <a:pt x="55" y="103"/>
                  </a:lnTo>
                  <a:lnTo>
                    <a:pt x="55" y="107"/>
                  </a:lnTo>
                  <a:lnTo>
                    <a:pt x="51" y="111"/>
                  </a:lnTo>
                  <a:lnTo>
                    <a:pt x="47" y="111"/>
                  </a:lnTo>
                  <a:lnTo>
                    <a:pt x="43" y="111"/>
                  </a:lnTo>
                  <a:lnTo>
                    <a:pt x="39" y="111"/>
                  </a:lnTo>
                  <a:lnTo>
                    <a:pt x="35" y="111"/>
                  </a:lnTo>
                  <a:lnTo>
                    <a:pt x="31" y="107"/>
                  </a:lnTo>
                  <a:lnTo>
                    <a:pt x="27" y="107"/>
                  </a:lnTo>
                  <a:lnTo>
                    <a:pt x="27" y="103"/>
                  </a:lnTo>
                  <a:lnTo>
                    <a:pt x="23" y="103"/>
                  </a:lnTo>
                  <a:lnTo>
                    <a:pt x="19" y="103"/>
                  </a:lnTo>
                  <a:lnTo>
                    <a:pt x="15" y="103"/>
                  </a:lnTo>
                  <a:lnTo>
                    <a:pt x="15" y="99"/>
                  </a:lnTo>
                  <a:lnTo>
                    <a:pt x="11" y="99"/>
                  </a:lnTo>
                  <a:lnTo>
                    <a:pt x="11" y="95"/>
                  </a:lnTo>
                  <a:lnTo>
                    <a:pt x="7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7" y="71"/>
                  </a:lnTo>
                  <a:lnTo>
                    <a:pt x="7" y="67"/>
                  </a:lnTo>
                  <a:lnTo>
                    <a:pt x="7" y="63"/>
                  </a:lnTo>
                  <a:lnTo>
                    <a:pt x="7" y="59"/>
                  </a:lnTo>
                  <a:lnTo>
                    <a:pt x="7" y="51"/>
                  </a:lnTo>
                  <a:lnTo>
                    <a:pt x="7" y="47"/>
                  </a:lnTo>
                  <a:lnTo>
                    <a:pt x="7" y="43"/>
                  </a:lnTo>
                  <a:lnTo>
                    <a:pt x="7" y="39"/>
                  </a:lnTo>
                  <a:lnTo>
                    <a:pt x="4" y="35"/>
                  </a:lnTo>
                  <a:lnTo>
                    <a:pt x="0" y="31"/>
                  </a:lnTo>
                  <a:lnTo>
                    <a:pt x="7" y="27"/>
                  </a:lnTo>
                  <a:lnTo>
                    <a:pt x="11" y="27"/>
                  </a:lnTo>
                  <a:lnTo>
                    <a:pt x="15" y="23"/>
                  </a:lnTo>
                  <a:lnTo>
                    <a:pt x="19" y="19"/>
                  </a:lnTo>
                  <a:lnTo>
                    <a:pt x="23" y="15"/>
                  </a:lnTo>
                  <a:lnTo>
                    <a:pt x="27" y="15"/>
                  </a:lnTo>
                  <a:lnTo>
                    <a:pt x="27" y="11"/>
                  </a:lnTo>
                  <a:lnTo>
                    <a:pt x="31" y="11"/>
                  </a:lnTo>
                  <a:lnTo>
                    <a:pt x="35" y="11"/>
                  </a:lnTo>
                  <a:lnTo>
                    <a:pt x="39" y="7"/>
                  </a:lnTo>
                  <a:lnTo>
                    <a:pt x="43" y="7"/>
                  </a:lnTo>
                  <a:lnTo>
                    <a:pt x="47" y="7"/>
                  </a:lnTo>
                  <a:lnTo>
                    <a:pt x="47" y="11"/>
                  </a:lnTo>
                  <a:lnTo>
                    <a:pt x="51" y="11"/>
                  </a:lnTo>
                  <a:lnTo>
                    <a:pt x="55" y="15"/>
                  </a:lnTo>
                  <a:lnTo>
                    <a:pt x="59" y="19"/>
                  </a:lnTo>
                  <a:lnTo>
                    <a:pt x="59" y="23"/>
                  </a:lnTo>
                  <a:lnTo>
                    <a:pt x="63" y="23"/>
                  </a:lnTo>
                  <a:lnTo>
                    <a:pt x="63" y="27"/>
                  </a:lnTo>
                  <a:lnTo>
                    <a:pt x="63" y="31"/>
                  </a:lnTo>
                  <a:lnTo>
                    <a:pt x="67" y="31"/>
                  </a:lnTo>
                  <a:lnTo>
                    <a:pt x="71" y="31"/>
                  </a:lnTo>
                  <a:lnTo>
                    <a:pt x="71" y="27"/>
                  </a:lnTo>
                  <a:lnTo>
                    <a:pt x="75" y="31"/>
                  </a:lnTo>
                  <a:lnTo>
                    <a:pt x="79" y="31"/>
                  </a:lnTo>
                  <a:lnTo>
                    <a:pt x="83" y="31"/>
                  </a:lnTo>
                  <a:lnTo>
                    <a:pt x="87" y="31"/>
                  </a:lnTo>
                  <a:lnTo>
                    <a:pt x="91" y="31"/>
                  </a:lnTo>
                  <a:lnTo>
                    <a:pt x="91" y="27"/>
                  </a:lnTo>
                  <a:lnTo>
                    <a:pt x="87" y="27"/>
                  </a:lnTo>
                  <a:lnTo>
                    <a:pt x="87" y="23"/>
                  </a:lnTo>
                  <a:lnTo>
                    <a:pt x="87" y="19"/>
                  </a:lnTo>
                  <a:lnTo>
                    <a:pt x="87" y="15"/>
                  </a:lnTo>
                  <a:lnTo>
                    <a:pt x="91" y="15"/>
                  </a:lnTo>
                  <a:lnTo>
                    <a:pt x="91" y="11"/>
                  </a:lnTo>
                  <a:lnTo>
                    <a:pt x="95" y="11"/>
                  </a:lnTo>
                  <a:lnTo>
                    <a:pt x="99" y="11"/>
                  </a:lnTo>
                  <a:lnTo>
                    <a:pt x="103" y="11"/>
                  </a:lnTo>
                  <a:lnTo>
                    <a:pt x="103" y="7"/>
                  </a:lnTo>
                  <a:lnTo>
                    <a:pt x="103" y="4"/>
                  </a:lnTo>
                  <a:lnTo>
                    <a:pt x="107" y="7"/>
                  </a:lnTo>
                  <a:lnTo>
                    <a:pt x="111" y="7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11" y="4"/>
                  </a:lnTo>
                  <a:lnTo>
                    <a:pt x="111" y="0"/>
                  </a:lnTo>
                  <a:lnTo>
                    <a:pt x="115" y="0"/>
                  </a:lnTo>
                  <a:lnTo>
                    <a:pt x="115" y="4"/>
                  </a:lnTo>
                  <a:lnTo>
                    <a:pt x="119" y="4"/>
                  </a:lnTo>
                  <a:lnTo>
                    <a:pt x="123" y="4"/>
                  </a:lnTo>
                  <a:lnTo>
                    <a:pt x="123" y="7"/>
                  </a:lnTo>
                  <a:lnTo>
                    <a:pt x="127" y="7"/>
                  </a:lnTo>
                  <a:lnTo>
                    <a:pt x="131" y="7"/>
                  </a:lnTo>
                  <a:lnTo>
                    <a:pt x="135" y="11"/>
                  </a:lnTo>
                  <a:lnTo>
                    <a:pt x="135" y="15"/>
                  </a:lnTo>
                  <a:lnTo>
                    <a:pt x="135" y="19"/>
                  </a:lnTo>
                  <a:lnTo>
                    <a:pt x="139" y="19"/>
                  </a:lnTo>
                  <a:lnTo>
                    <a:pt x="135" y="19"/>
                  </a:lnTo>
                  <a:lnTo>
                    <a:pt x="135" y="23"/>
                  </a:lnTo>
                  <a:lnTo>
                    <a:pt x="135" y="27"/>
                  </a:lnTo>
                  <a:lnTo>
                    <a:pt x="139" y="27"/>
                  </a:lnTo>
                  <a:lnTo>
                    <a:pt x="139" y="31"/>
                  </a:lnTo>
                  <a:lnTo>
                    <a:pt x="143" y="31"/>
                  </a:lnTo>
                  <a:lnTo>
                    <a:pt x="147" y="31"/>
                  </a:lnTo>
                  <a:lnTo>
                    <a:pt x="151" y="31"/>
                  </a:lnTo>
                  <a:lnTo>
                    <a:pt x="155" y="31"/>
                  </a:lnTo>
                  <a:lnTo>
                    <a:pt x="159" y="31"/>
                  </a:lnTo>
                  <a:lnTo>
                    <a:pt x="163" y="35"/>
                  </a:lnTo>
                  <a:lnTo>
                    <a:pt x="163" y="39"/>
                  </a:lnTo>
                  <a:lnTo>
                    <a:pt x="163" y="43"/>
                  </a:lnTo>
                  <a:lnTo>
                    <a:pt x="167" y="43"/>
                  </a:lnTo>
                  <a:lnTo>
                    <a:pt x="167" y="47"/>
                  </a:lnTo>
                  <a:lnTo>
                    <a:pt x="171" y="47"/>
                  </a:lnTo>
                  <a:lnTo>
                    <a:pt x="171" y="51"/>
                  </a:lnTo>
                  <a:lnTo>
                    <a:pt x="171" y="55"/>
                  </a:lnTo>
                  <a:lnTo>
                    <a:pt x="171" y="59"/>
                  </a:lnTo>
                  <a:lnTo>
                    <a:pt x="175" y="59"/>
                  </a:lnTo>
                  <a:lnTo>
                    <a:pt x="175" y="63"/>
                  </a:lnTo>
                  <a:lnTo>
                    <a:pt x="179" y="63"/>
                  </a:lnTo>
                  <a:lnTo>
                    <a:pt x="183" y="67"/>
                  </a:lnTo>
                  <a:lnTo>
                    <a:pt x="187" y="67"/>
                  </a:lnTo>
                  <a:lnTo>
                    <a:pt x="187" y="71"/>
                  </a:lnTo>
                  <a:lnTo>
                    <a:pt x="191" y="71"/>
                  </a:lnTo>
                  <a:lnTo>
                    <a:pt x="191" y="75"/>
                  </a:lnTo>
                  <a:lnTo>
                    <a:pt x="195" y="75"/>
                  </a:lnTo>
                  <a:lnTo>
                    <a:pt x="195" y="79"/>
                  </a:lnTo>
                  <a:lnTo>
                    <a:pt x="199" y="79"/>
                  </a:lnTo>
                  <a:lnTo>
                    <a:pt x="203" y="79"/>
                  </a:lnTo>
                  <a:lnTo>
                    <a:pt x="203" y="83"/>
                  </a:lnTo>
                  <a:lnTo>
                    <a:pt x="207" y="83"/>
                  </a:lnTo>
                  <a:lnTo>
                    <a:pt x="211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23" y="95"/>
                  </a:lnTo>
                  <a:lnTo>
                    <a:pt x="223" y="91"/>
                  </a:lnTo>
                  <a:lnTo>
                    <a:pt x="227" y="95"/>
                  </a:lnTo>
                  <a:lnTo>
                    <a:pt x="231" y="95"/>
                  </a:lnTo>
                  <a:lnTo>
                    <a:pt x="231" y="99"/>
                  </a:lnTo>
                  <a:lnTo>
                    <a:pt x="235" y="99"/>
                  </a:lnTo>
                  <a:lnTo>
                    <a:pt x="235" y="103"/>
                  </a:lnTo>
                  <a:lnTo>
                    <a:pt x="231" y="107"/>
                  </a:lnTo>
                  <a:lnTo>
                    <a:pt x="231" y="111"/>
                  </a:lnTo>
                  <a:lnTo>
                    <a:pt x="235" y="111"/>
                  </a:lnTo>
                  <a:lnTo>
                    <a:pt x="231" y="11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1" name="Freeform 50">
              <a:extLst>
                <a:ext uri="{FF2B5EF4-FFF2-40B4-BE49-F238E27FC236}">
                  <a16:creationId xmlns:a16="http://schemas.microsoft.com/office/drawing/2014/main" id="{1012BA7A-5F73-2341-A455-FBB4A85BD6FC}"/>
                </a:ext>
              </a:extLst>
            </p:cNvPr>
            <p:cNvSpPr>
              <a:spLocks noEditPoints="1"/>
            </p:cNvSpPr>
            <p:nvPr>
              <p:custDataLst>
                <p:tags r:id="rId31"/>
              </p:custDataLst>
            </p:nvPr>
          </p:nvSpPr>
          <p:spPr bwMode="gray">
            <a:xfrm>
              <a:off x="4777556" y="5354269"/>
              <a:ext cx="90764" cy="80679"/>
            </a:xfrm>
            <a:custGeom>
              <a:avLst/>
              <a:gdLst/>
              <a:ahLst/>
              <a:cxnLst>
                <a:cxn ang="0">
                  <a:pos x="72" y="16"/>
                </a:cxn>
                <a:cxn ang="0">
                  <a:pos x="72" y="20"/>
                </a:cxn>
                <a:cxn ang="0">
                  <a:pos x="72" y="20"/>
                </a:cxn>
                <a:cxn ang="0">
                  <a:pos x="72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4"/>
                </a:cxn>
                <a:cxn ang="0">
                  <a:pos x="68" y="20"/>
                </a:cxn>
                <a:cxn ang="0">
                  <a:pos x="64" y="20"/>
                </a:cxn>
                <a:cxn ang="0">
                  <a:pos x="64" y="24"/>
                </a:cxn>
                <a:cxn ang="0">
                  <a:pos x="64" y="28"/>
                </a:cxn>
                <a:cxn ang="0">
                  <a:pos x="64" y="32"/>
                </a:cxn>
                <a:cxn ang="0">
                  <a:pos x="64" y="36"/>
                </a:cxn>
                <a:cxn ang="0">
                  <a:pos x="68" y="40"/>
                </a:cxn>
                <a:cxn ang="0">
                  <a:pos x="60" y="40"/>
                </a:cxn>
                <a:cxn ang="0">
                  <a:pos x="60" y="44"/>
                </a:cxn>
                <a:cxn ang="0">
                  <a:pos x="56" y="52"/>
                </a:cxn>
                <a:cxn ang="0">
                  <a:pos x="56" y="56"/>
                </a:cxn>
                <a:cxn ang="0">
                  <a:pos x="56" y="60"/>
                </a:cxn>
                <a:cxn ang="0">
                  <a:pos x="52" y="64"/>
                </a:cxn>
                <a:cxn ang="0">
                  <a:pos x="0" y="36"/>
                </a:cxn>
                <a:cxn ang="0">
                  <a:pos x="0" y="36"/>
                </a:cxn>
                <a:cxn ang="0">
                  <a:pos x="4" y="40"/>
                </a:cxn>
                <a:cxn ang="0">
                  <a:pos x="8" y="40"/>
                </a:cxn>
                <a:cxn ang="0">
                  <a:pos x="12" y="36"/>
                </a:cxn>
                <a:cxn ang="0">
                  <a:pos x="16" y="36"/>
                </a:cxn>
                <a:cxn ang="0">
                  <a:pos x="20" y="36"/>
                </a:cxn>
                <a:cxn ang="0">
                  <a:pos x="28" y="36"/>
                </a:cxn>
                <a:cxn ang="0">
                  <a:pos x="28" y="40"/>
                </a:cxn>
                <a:cxn ang="0">
                  <a:pos x="40" y="36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24"/>
                </a:cxn>
                <a:cxn ang="0">
                  <a:pos x="52" y="20"/>
                </a:cxn>
                <a:cxn ang="0">
                  <a:pos x="52" y="16"/>
                </a:cxn>
                <a:cxn ang="0">
                  <a:pos x="56" y="16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60" y="12"/>
                </a:cxn>
                <a:cxn ang="0">
                  <a:pos x="60" y="8"/>
                </a:cxn>
                <a:cxn ang="0">
                  <a:pos x="60" y="8"/>
                </a:cxn>
                <a:cxn ang="0">
                  <a:pos x="64" y="8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8"/>
                </a:cxn>
                <a:cxn ang="0">
                  <a:pos x="72" y="8"/>
                </a:cxn>
                <a:cxn ang="0">
                  <a:pos x="44" y="32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6" y="36"/>
                </a:cxn>
                <a:cxn ang="0">
                  <a:pos x="32" y="36"/>
                </a:cxn>
              </a:cxnLst>
              <a:rect l="0" t="0" r="r" b="b"/>
              <a:pathLst>
                <a:path w="72" h="64">
                  <a:moveTo>
                    <a:pt x="72" y="12"/>
                  </a:moveTo>
                  <a:lnTo>
                    <a:pt x="72" y="12"/>
                  </a:lnTo>
                  <a:lnTo>
                    <a:pt x="72" y="12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72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28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2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4" y="36"/>
                  </a:lnTo>
                  <a:lnTo>
                    <a:pt x="68" y="40"/>
                  </a:lnTo>
                  <a:lnTo>
                    <a:pt x="68" y="40"/>
                  </a:lnTo>
                  <a:lnTo>
                    <a:pt x="64" y="40"/>
                  </a:lnTo>
                  <a:lnTo>
                    <a:pt x="64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0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2" y="64"/>
                  </a:lnTo>
                  <a:lnTo>
                    <a:pt x="52" y="64"/>
                  </a:lnTo>
                  <a:lnTo>
                    <a:pt x="16" y="6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32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4" y="36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12"/>
                  </a:lnTo>
                  <a:lnTo>
                    <a:pt x="72" y="12"/>
                  </a:lnTo>
                  <a:lnTo>
                    <a:pt x="72" y="12"/>
                  </a:lnTo>
                  <a:close/>
                  <a:moveTo>
                    <a:pt x="44" y="32"/>
                  </a:moveTo>
                  <a:lnTo>
                    <a:pt x="40" y="32"/>
                  </a:lnTo>
                  <a:lnTo>
                    <a:pt x="40" y="28"/>
                  </a:lnTo>
                  <a:lnTo>
                    <a:pt x="44" y="32"/>
                  </a:lnTo>
                  <a:close/>
                  <a:moveTo>
                    <a:pt x="32" y="36"/>
                  </a:move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2" y="36"/>
                  </a:lnTo>
                  <a:lnTo>
                    <a:pt x="32" y="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2" name="Freeform 51">
              <a:extLst>
                <a:ext uri="{FF2B5EF4-FFF2-40B4-BE49-F238E27FC236}">
                  <a16:creationId xmlns:a16="http://schemas.microsoft.com/office/drawing/2014/main" id="{AAF3165F-DD41-A745-9A8C-D4D4019CD0DD}"/>
                </a:ext>
              </a:extLst>
            </p:cNvPr>
            <p:cNvSpPr>
              <a:spLocks/>
            </p:cNvSpPr>
            <p:nvPr>
              <p:custDataLst>
                <p:tags r:id="rId32"/>
              </p:custDataLst>
            </p:nvPr>
          </p:nvSpPr>
          <p:spPr bwMode="gray">
            <a:xfrm>
              <a:off x="4863277" y="4856331"/>
              <a:ext cx="327757" cy="220605"/>
            </a:xfrm>
            <a:custGeom>
              <a:avLst/>
              <a:gdLst/>
              <a:ahLst/>
              <a:cxnLst>
                <a:cxn ang="0">
                  <a:pos x="180" y="127"/>
                </a:cxn>
                <a:cxn ang="0">
                  <a:pos x="172" y="135"/>
                </a:cxn>
                <a:cxn ang="0">
                  <a:pos x="184" y="143"/>
                </a:cxn>
                <a:cxn ang="0">
                  <a:pos x="188" y="155"/>
                </a:cxn>
                <a:cxn ang="0">
                  <a:pos x="176" y="167"/>
                </a:cxn>
                <a:cxn ang="0">
                  <a:pos x="168" y="175"/>
                </a:cxn>
                <a:cxn ang="0">
                  <a:pos x="156" y="167"/>
                </a:cxn>
                <a:cxn ang="0">
                  <a:pos x="152" y="155"/>
                </a:cxn>
                <a:cxn ang="0">
                  <a:pos x="140" y="151"/>
                </a:cxn>
                <a:cxn ang="0">
                  <a:pos x="124" y="139"/>
                </a:cxn>
                <a:cxn ang="0">
                  <a:pos x="112" y="131"/>
                </a:cxn>
                <a:cxn ang="0">
                  <a:pos x="100" y="119"/>
                </a:cxn>
                <a:cxn ang="0">
                  <a:pos x="92" y="107"/>
                </a:cxn>
                <a:cxn ang="0">
                  <a:pos x="84" y="91"/>
                </a:cxn>
                <a:cxn ang="0">
                  <a:pos x="64" y="91"/>
                </a:cxn>
                <a:cxn ang="0">
                  <a:pos x="64" y="79"/>
                </a:cxn>
                <a:cxn ang="0">
                  <a:pos x="52" y="67"/>
                </a:cxn>
                <a:cxn ang="0">
                  <a:pos x="40" y="60"/>
                </a:cxn>
                <a:cxn ang="0">
                  <a:pos x="36" y="67"/>
                </a:cxn>
                <a:cxn ang="0">
                  <a:pos x="24" y="71"/>
                </a:cxn>
                <a:cxn ang="0">
                  <a:pos x="12" y="79"/>
                </a:cxn>
                <a:cxn ang="0">
                  <a:pos x="12" y="91"/>
                </a:cxn>
                <a:cxn ang="0">
                  <a:pos x="0" y="83"/>
                </a:cxn>
                <a:cxn ang="0">
                  <a:pos x="0" y="56"/>
                </a:cxn>
                <a:cxn ang="0">
                  <a:pos x="0" y="24"/>
                </a:cxn>
                <a:cxn ang="0">
                  <a:pos x="16" y="8"/>
                </a:cxn>
                <a:cxn ang="0">
                  <a:pos x="36" y="0"/>
                </a:cxn>
                <a:cxn ang="0">
                  <a:pos x="88" y="40"/>
                </a:cxn>
                <a:cxn ang="0">
                  <a:pos x="112" y="40"/>
                </a:cxn>
                <a:cxn ang="0">
                  <a:pos x="136" y="40"/>
                </a:cxn>
                <a:cxn ang="0">
                  <a:pos x="144" y="52"/>
                </a:cxn>
                <a:cxn ang="0">
                  <a:pos x="152" y="67"/>
                </a:cxn>
                <a:cxn ang="0">
                  <a:pos x="160" y="87"/>
                </a:cxn>
                <a:cxn ang="0">
                  <a:pos x="176" y="91"/>
                </a:cxn>
                <a:cxn ang="0">
                  <a:pos x="184" y="103"/>
                </a:cxn>
                <a:cxn ang="0">
                  <a:pos x="192" y="99"/>
                </a:cxn>
                <a:cxn ang="0">
                  <a:pos x="204" y="83"/>
                </a:cxn>
                <a:cxn ang="0">
                  <a:pos x="220" y="75"/>
                </a:cxn>
                <a:cxn ang="0">
                  <a:pos x="224" y="75"/>
                </a:cxn>
                <a:cxn ang="0">
                  <a:pos x="212" y="83"/>
                </a:cxn>
                <a:cxn ang="0">
                  <a:pos x="224" y="91"/>
                </a:cxn>
                <a:cxn ang="0">
                  <a:pos x="232" y="91"/>
                </a:cxn>
                <a:cxn ang="0">
                  <a:pos x="240" y="91"/>
                </a:cxn>
                <a:cxn ang="0">
                  <a:pos x="256" y="99"/>
                </a:cxn>
                <a:cxn ang="0">
                  <a:pos x="252" y="107"/>
                </a:cxn>
                <a:cxn ang="0">
                  <a:pos x="240" y="111"/>
                </a:cxn>
                <a:cxn ang="0">
                  <a:pos x="220" y="111"/>
                </a:cxn>
                <a:cxn ang="0">
                  <a:pos x="224" y="103"/>
                </a:cxn>
                <a:cxn ang="0">
                  <a:pos x="216" y="99"/>
                </a:cxn>
                <a:cxn ang="0">
                  <a:pos x="204" y="99"/>
                </a:cxn>
                <a:cxn ang="0">
                  <a:pos x="196" y="111"/>
                </a:cxn>
                <a:cxn ang="0">
                  <a:pos x="196" y="115"/>
                </a:cxn>
              </a:cxnLst>
              <a:rect l="0" t="0" r="r" b="b"/>
              <a:pathLst>
                <a:path w="260" h="175">
                  <a:moveTo>
                    <a:pt x="188" y="119"/>
                  </a:moveTo>
                  <a:lnTo>
                    <a:pt x="188" y="123"/>
                  </a:lnTo>
                  <a:lnTo>
                    <a:pt x="188" y="127"/>
                  </a:lnTo>
                  <a:lnTo>
                    <a:pt x="184" y="127"/>
                  </a:lnTo>
                  <a:lnTo>
                    <a:pt x="180" y="127"/>
                  </a:lnTo>
                  <a:lnTo>
                    <a:pt x="180" y="123"/>
                  </a:lnTo>
                  <a:lnTo>
                    <a:pt x="176" y="123"/>
                  </a:lnTo>
                  <a:lnTo>
                    <a:pt x="172" y="127"/>
                  </a:lnTo>
                  <a:lnTo>
                    <a:pt x="172" y="131"/>
                  </a:lnTo>
                  <a:lnTo>
                    <a:pt x="172" y="135"/>
                  </a:lnTo>
                  <a:lnTo>
                    <a:pt x="176" y="135"/>
                  </a:lnTo>
                  <a:lnTo>
                    <a:pt x="176" y="139"/>
                  </a:lnTo>
                  <a:lnTo>
                    <a:pt x="180" y="139"/>
                  </a:lnTo>
                  <a:lnTo>
                    <a:pt x="184" y="139"/>
                  </a:lnTo>
                  <a:lnTo>
                    <a:pt x="184" y="143"/>
                  </a:lnTo>
                  <a:lnTo>
                    <a:pt x="180" y="143"/>
                  </a:lnTo>
                  <a:lnTo>
                    <a:pt x="180" y="147"/>
                  </a:lnTo>
                  <a:lnTo>
                    <a:pt x="184" y="151"/>
                  </a:lnTo>
                  <a:lnTo>
                    <a:pt x="184" y="155"/>
                  </a:lnTo>
                  <a:lnTo>
                    <a:pt x="188" y="155"/>
                  </a:lnTo>
                  <a:lnTo>
                    <a:pt x="184" y="155"/>
                  </a:lnTo>
                  <a:lnTo>
                    <a:pt x="184" y="159"/>
                  </a:lnTo>
                  <a:lnTo>
                    <a:pt x="180" y="163"/>
                  </a:lnTo>
                  <a:lnTo>
                    <a:pt x="180" y="167"/>
                  </a:lnTo>
                  <a:lnTo>
                    <a:pt x="176" y="167"/>
                  </a:lnTo>
                  <a:lnTo>
                    <a:pt x="176" y="171"/>
                  </a:lnTo>
                  <a:lnTo>
                    <a:pt x="176" y="175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68" y="175"/>
                  </a:lnTo>
                  <a:lnTo>
                    <a:pt x="168" y="171"/>
                  </a:lnTo>
                  <a:lnTo>
                    <a:pt x="164" y="171"/>
                  </a:lnTo>
                  <a:lnTo>
                    <a:pt x="160" y="171"/>
                  </a:lnTo>
                  <a:lnTo>
                    <a:pt x="156" y="171"/>
                  </a:lnTo>
                  <a:lnTo>
                    <a:pt x="156" y="167"/>
                  </a:lnTo>
                  <a:lnTo>
                    <a:pt x="160" y="163"/>
                  </a:lnTo>
                  <a:lnTo>
                    <a:pt x="160" y="159"/>
                  </a:lnTo>
                  <a:lnTo>
                    <a:pt x="156" y="159"/>
                  </a:lnTo>
                  <a:lnTo>
                    <a:pt x="156" y="155"/>
                  </a:lnTo>
                  <a:lnTo>
                    <a:pt x="152" y="155"/>
                  </a:lnTo>
                  <a:lnTo>
                    <a:pt x="148" y="151"/>
                  </a:lnTo>
                  <a:lnTo>
                    <a:pt x="148" y="155"/>
                  </a:lnTo>
                  <a:lnTo>
                    <a:pt x="144" y="155"/>
                  </a:lnTo>
                  <a:lnTo>
                    <a:pt x="144" y="151"/>
                  </a:lnTo>
                  <a:lnTo>
                    <a:pt x="140" y="151"/>
                  </a:lnTo>
                  <a:lnTo>
                    <a:pt x="136" y="147"/>
                  </a:lnTo>
                  <a:lnTo>
                    <a:pt x="132" y="143"/>
                  </a:lnTo>
                  <a:lnTo>
                    <a:pt x="128" y="143"/>
                  </a:lnTo>
                  <a:lnTo>
                    <a:pt x="128" y="139"/>
                  </a:lnTo>
                  <a:lnTo>
                    <a:pt x="124" y="139"/>
                  </a:lnTo>
                  <a:lnTo>
                    <a:pt x="120" y="139"/>
                  </a:lnTo>
                  <a:lnTo>
                    <a:pt x="120" y="135"/>
                  </a:lnTo>
                  <a:lnTo>
                    <a:pt x="116" y="135"/>
                  </a:lnTo>
                  <a:lnTo>
                    <a:pt x="116" y="131"/>
                  </a:lnTo>
                  <a:lnTo>
                    <a:pt x="112" y="131"/>
                  </a:lnTo>
                  <a:lnTo>
                    <a:pt x="112" y="127"/>
                  </a:lnTo>
                  <a:lnTo>
                    <a:pt x="108" y="127"/>
                  </a:lnTo>
                  <a:lnTo>
                    <a:pt x="104" y="123"/>
                  </a:lnTo>
                  <a:lnTo>
                    <a:pt x="100" y="123"/>
                  </a:lnTo>
                  <a:lnTo>
                    <a:pt x="100" y="119"/>
                  </a:lnTo>
                  <a:lnTo>
                    <a:pt x="96" y="119"/>
                  </a:lnTo>
                  <a:lnTo>
                    <a:pt x="96" y="115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107"/>
                  </a:lnTo>
                  <a:lnTo>
                    <a:pt x="92" y="103"/>
                  </a:lnTo>
                  <a:lnTo>
                    <a:pt x="88" y="103"/>
                  </a:lnTo>
                  <a:lnTo>
                    <a:pt x="88" y="99"/>
                  </a:lnTo>
                  <a:lnTo>
                    <a:pt x="88" y="95"/>
                  </a:lnTo>
                  <a:lnTo>
                    <a:pt x="84" y="91"/>
                  </a:lnTo>
                  <a:lnTo>
                    <a:pt x="80" y="91"/>
                  </a:lnTo>
                  <a:lnTo>
                    <a:pt x="76" y="91"/>
                  </a:lnTo>
                  <a:lnTo>
                    <a:pt x="72" y="91"/>
                  </a:lnTo>
                  <a:lnTo>
                    <a:pt x="68" y="91"/>
                  </a:lnTo>
                  <a:lnTo>
                    <a:pt x="64" y="91"/>
                  </a:lnTo>
                  <a:lnTo>
                    <a:pt x="64" y="87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79"/>
                  </a:lnTo>
                  <a:lnTo>
                    <a:pt x="64" y="79"/>
                  </a:lnTo>
                  <a:lnTo>
                    <a:pt x="60" y="79"/>
                  </a:lnTo>
                  <a:lnTo>
                    <a:pt x="60" y="75"/>
                  </a:lnTo>
                  <a:lnTo>
                    <a:pt x="60" y="71"/>
                  </a:lnTo>
                  <a:lnTo>
                    <a:pt x="56" y="67"/>
                  </a:lnTo>
                  <a:lnTo>
                    <a:pt x="52" y="67"/>
                  </a:lnTo>
                  <a:lnTo>
                    <a:pt x="48" y="67"/>
                  </a:lnTo>
                  <a:lnTo>
                    <a:pt x="48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4"/>
                  </a:lnTo>
                  <a:lnTo>
                    <a:pt x="36" y="67"/>
                  </a:lnTo>
                  <a:lnTo>
                    <a:pt x="32" y="67"/>
                  </a:lnTo>
                  <a:lnTo>
                    <a:pt x="28" y="64"/>
                  </a:lnTo>
                  <a:lnTo>
                    <a:pt x="28" y="67"/>
                  </a:lnTo>
                  <a:lnTo>
                    <a:pt x="28" y="71"/>
                  </a:lnTo>
                  <a:lnTo>
                    <a:pt x="24" y="71"/>
                  </a:lnTo>
                  <a:lnTo>
                    <a:pt x="20" y="71"/>
                  </a:lnTo>
                  <a:lnTo>
                    <a:pt x="16" y="71"/>
                  </a:lnTo>
                  <a:lnTo>
                    <a:pt x="16" y="75"/>
                  </a:lnTo>
                  <a:lnTo>
                    <a:pt x="12" y="75"/>
                  </a:lnTo>
                  <a:lnTo>
                    <a:pt x="12" y="79"/>
                  </a:lnTo>
                  <a:lnTo>
                    <a:pt x="12" y="83"/>
                  </a:lnTo>
                  <a:lnTo>
                    <a:pt x="12" y="87"/>
                  </a:lnTo>
                  <a:lnTo>
                    <a:pt x="16" y="87"/>
                  </a:lnTo>
                  <a:lnTo>
                    <a:pt x="16" y="91"/>
                  </a:lnTo>
                  <a:lnTo>
                    <a:pt x="12" y="91"/>
                  </a:lnTo>
                  <a:lnTo>
                    <a:pt x="8" y="91"/>
                  </a:lnTo>
                  <a:lnTo>
                    <a:pt x="4" y="91"/>
                  </a:lnTo>
                  <a:lnTo>
                    <a:pt x="0" y="91"/>
                  </a:lnTo>
                  <a:lnTo>
                    <a:pt x="0" y="87"/>
                  </a:lnTo>
                  <a:lnTo>
                    <a:pt x="0" y="83"/>
                  </a:lnTo>
                  <a:lnTo>
                    <a:pt x="0" y="79"/>
                  </a:lnTo>
                  <a:lnTo>
                    <a:pt x="0" y="71"/>
                  </a:lnTo>
                  <a:lnTo>
                    <a:pt x="0" y="64"/>
                  </a:lnTo>
                  <a:lnTo>
                    <a:pt x="0" y="60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48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24"/>
                  </a:lnTo>
                  <a:lnTo>
                    <a:pt x="0" y="16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16" y="8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52" y="12"/>
                  </a:lnTo>
                  <a:lnTo>
                    <a:pt x="76" y="28"/>
                  </a:lnTo>
                  <a:lnTo>
                    <a:pt x="80" y="32"/>
                  </a:lnTo>
                  <a:lnTo>
                    <a:pt x="84" y="36"/>
                  </a:lnTo>
                  <a:lnTo>
                    <a:pt x="88" y="40"/>
                  </a:lnTo>
                  <a:lnTo>
                    <a:pt x="88" y="44"/>
                  </a:lnTo>
                  <a:lnTo>
                    <a:pt x="96" y="44"/>
                  </a:lnTo>
                  <a:lnTo>
                    <a:pt x="100" y="44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4"/>
                  </a:lnTo>
                  <a:lnTo>
                    <a:pt x="120" y="44"/>
                  </a:lnTo>
                  <a:lnTo>
                    <a:pt x="128" y="44"/>
                  </a:lnTo>
                  <a:lnTo>
                    <a:pt x="132" y="40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8"/>
                  </a:lnTo>
                  <a:lnTo>
                    <a:pt x="144" y="48"/>
                  </a:lnTo>
                  <a:lnTo>
                    <a:pt x="144" y="52"/>
                  </a:lnTo>
                  <a:lnTo>
                    <a:pt x="148" y="56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52" y="75"/>
                  </a:lnTo>
                  <a:lnTo>
                    <a:pt x="156" y="75"/>
                  </a:lnTo>
                  <a:lnTo>
                    <a:pt x="160" y="79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4" y="91"/>
                  </a:lnTo>
                  <a:lnTo>
                    <a:pt x="168" y="91"/>
                  </a:lnTo>
                  <a:lnTo>
                    <a:pt x="172" y="91"/>
                  </a:lnTo>
                  <a:lnTo>
                    <a:pt x="176" y="91"/>
                  </a:lnTo>
                  <a:lnTo>
                    <a:pt x="180" y="91"/>
                  </a:lnTo>
                  <a:lnTo>
                    <a:pt x="180" y="95"/>
                  </a:lnTo>
                  <a:lnTo>
                    <a:pt x="184" y="95"/>
                  </a:lnTo>
                  <a:lnTo>
                    <a:pt x="180" y="99"/>
                  </a:lnTo>
                  <a:lnTo>
                    <a:pt x="184" y="103"/>
                  </a:lnTo>
                  <a:lnTo>
                    <a:pt x="188" y="103"/>
                  </a:lnTo>
                  <a:lnTo>
                    <a:pt x="192" y="103"/>
                  </a:lnTo>
                  <a:lnTo>
                    <a:pt x="188" y="103"/>
                  </a:lnTo>
                  <a:lnTo>
                    <a:pt x="188" y="99"/>
                  </a:lnTo>
                  <a:lnTo>
                    <a:pt x="192" y="99"/>
                  </a:lnTo>
                  <a:lnTo>
                    <a:pt x="192" y="95"/>
                  </a:lnTo>
                  <a:lnTo>
                    <a:pt x="196" y="91"/>
                  </a:lnTo>
                  <a:lnTo>
                    <a:pt x="196" y="87"/>
                  </a:lnTo>
                  <a:lnTo>
                    <a:pt x="200" y="87"/>
                  </a:lnTo>
                  <a:lnTo>
                    <a:pt x="204" y="83"/>
                  </a:lnTo>
                  <a:lnTo>
                    <a:pt x="208" y="83"/>
                  </a:lnTo>
                  <a:lnTo>
                    <a:pt x="212" y="79"/>
                  </a:lnTo>
                  <a:lnTo>
                    <a:pt x="216" y="75"/>
                  </a:lnTo>
                  <a:lnTo>
                    <a:pt x="216" y="71"/>
                  </a:lnTo>
                  <a:lnTo>
                    <a:pt x="220" y="75"/>
                  </a:lnTo>
                  <a:lnTo>
                    <a:pt x="220" y="71"/>
                  </a:lnTo>
                  <a:lnTo>
                    <a:pt x="224" y="71"/>
                  </a:lnTo>
                  <a:lnTo>
                    <a:pt x="228" y="67"/>
                  </a:lnTo>
                  <a:lnTo>
                    <a:pt x="228" y="71"/>
                  </a:lnTo>
                  <a:lnTo>
                    <a:pt x="224" y="75"/>
                  </a:lnTo>
                  <a:lnTo>
                    <a:pt x="220" y="75"/>
                  </a:lnTo>
                  <a:lnTo>
                    <a:pt x="220" y="79"/>
                  </a:lnTo>
                  <a:lnTo>
                    <a:pt x="216" y="79"/>
                  </a:lnTo>
                  <a:lnTo>
                    <a:pt x="216" y="83"/>
                  </a:lnTo>
                  <a:lnTo>
                    <a:pt x="212" y="83"/>
                  </a:lnTo>
                  <a:lnTo>
                    <a:pt x="212" y="87"/>
                  </a:lnTo>
                  <a:lnTo>
                    <a:pt x="216" y="87"/>
                  </a:lnTo>
                  <a:lnTo>
                    <a:pt x="220" y="87"/>
                  </a:lnTo>
                  <a:lnTo>
                    <a:pt x="224" y="87"/>
                  </a:lnTo>
                  <a:lnTo>
                    <a:pt x="224" y="91"/>
                  </a:lnTo>
                  <a:lnTo>
                    <a:pt x="228" y="91"/>
                  </a:lnTo>
                  <a:lnTo>
                    <a:pt x="232" y="95"/>
                  </a:lnTo>
                  <a:lnTo>
                    <a:pt x="232" y="91"/>
                  </a:lnTo>
                  <a:lnTo>
                    <a:pt x="232" y="87"/>
                  </a:lnTo>
                  <a:lnTo>
                    <a:pt x="232" y="91"/>
                  </a:lnTo>
                  <a:lnTo>
                    <a:pt x="236" y="91"/>
                  </a:lnTo>
                  <a:lnTo>
                    <a:pt x="236" y="87"/>
                  </a:lnTo>
                  <a:lnTo>
                    <a:pt x="236" y="83"/>
                  </a:lnTo>
                  <a:lnTo>
                    <a:pt x="240" y="87"/>
                  </a:lnTo>
                  <a:lnTo>
                    <a:pt x="240" y="91"/>
                  </a:lnTo>
                  <a:lnTo>
                    <a:pt x="244" y="91"/>
                  </a:lnTo>
                  <a:lnTo>
                    <a:pt x="244" y="95"/>
                  </a:lnTo>
                  <a:lnTo>
                    <a:pt x="248" y="95"/>
                  </a:lnTo>
                  <a:lnTo>
                    <a:pt x="252" y="99"/>
                  </a:lnTo>
                  <a:lnTo>
                    <a:pt x="256" y="99"/>
                  </a:lnTo>
                  <a:lnTo>
                    <a:pt x="260" y="99"/>
                  </a:lnTo>
                  <a:lnTo>
                    <a:pt x="256" y="99"/>
                  </a:lnTo>
                  <a:lnTo>
                    <a:pt x="256" y="103"/>
                  </a:lnTo>
                  <a:lnTo>
                    <a:pt x="252" y="103"/>
                  </a:lnTo>
                  <a:lnTo>
                    <a:pt x="252" y="107"/>
                  </a:lnTo>
                  <a:lnTo>
                    <a:pt x="248" y="107"/>
                  </a:lnTo>
                  <a:lnTo>
                    <a:pt x="248" y="103"/>
                  </a:lnTo>
                  <a:lnTo>
                    <a:pt x="248" y="107"/>
                  </a:lnTo>
                  <a:lnTo>
                    <a:pt x="244" y="107"/>
                  </a:lnTo>
                  <a:lnTo>
                    <a:pt x="240" y="111"/>
                  </a:lnTo>
                  <a:lnTo>
                    <a:pt x="236" y="115"/>
                  </a:lnTo>
                  <a:lnTo>
                    <a:pt x="232" y="111"/>
                  </a:lnTo>
                  <a:lnTo>
                    <a:pt x="228" y="111"/>
                  </a:lnTo>
                  <a:lnTo>
                    <a:pt x="224" y="111"/>
                  </a:lnTo>
                  <a:lnTo>
                    <a:pt x="220" y="111"/>
                  </a:lnTo>
                  <a:lnTo>
                    <a:pt x="216" y="111"/>
                  </a:lnTo>
                  <a:lnTo>
                    <a:pt x="216" y="107"/>
                  </a:lnTo>
                  <a:lnTo>
                    <a:pt x="220" y="107"/>
                  </a:lnTo>
                  <a:lnTo>
                    <a:pt x="220" y="103"/>
                  </a:lnTo>
                  <a:lnTo>
                    <a:pt x="224" y="103"/>
                  </a:lnTo>
                  <a:lnTo>
                    <a:pt x="224" y="99"/>
                  </a:lnTo>
                  <a:lnTo>
                    <a:pt x="220" y="99"/>
                  </a:lnTo>
                  <a:lnTo>
                    <a:pt x="220" y="95"/>
                  </a:lnTo>
                  <a:lnTo>
                    <a:pt x="216" y="95"/>
                  </a:lnTo>
                  <a:lnTo>
                    <a:pt x="216" y="99"/>
                  </a:lnTo>
                  <a:lnTo>
                    <a:pt x="212" y="99"/>
                  </a:lnTo>
                  <a:lnTo>
                    <a:pt x="212" y="103"/>
                  </a:lnTo>
                  <a:lnTo>
                    <a:pt x="208" y="103"/>
                  </a:lnTo>
                  <a:lnTo>
                    <a:pt x="204" y="103"/>
                  </a:lnTo>
                  <a:lnTo>
                    <a:pt x="204" y="99"/>
                  </a:lnTo>
                  <a:lnTo>
                    <a:pt x="200" y="99"/>
                  </a:lnTo>
                  <a:lnTo>
                    <a:pt x="200" y="103"/>
                  </a:lnTo>
                  <a:lnTo>
                    <a:pt x="200" y="107"/>
                  </a:lnTo>
                  <a:lnTo>
                    <a:pt x="200" y="111"/>
                  </a:lnTo>
                  <a:lnTo>
                    <a:pt x="196" y="111"/>
                  </a:lnTo>
                  <a:lnTo>
                    <a:pt x="192" y="111"/>
                  </a:lnTo>
                  <a:lnTo>
                    <a:pt x="188" y="111"/>
                  </a:lnTo>
                  <a:lnTo>
                    <a:pt x="188" y="115"/>
                  </a:lnTo>
                  <a:lnTo>
                    <a:pt x="192" y="115"/>
                  </a:lnTo>
                  <a:lnTo>
                    <a:pt x="196" y="115"/>
                  </a:lnTo>
                  <a:lnTo>
                    <a:pt x="192" y="115"/>
                  </a:lnTo>
                  <a:lnTo>
                    <a:pt x="192" y="119"/>
                  </a:lnTo>
                  <a:lnTo>
                    <a:pt x="188" y="11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3" name="Freeform 53">
              <a:extLst>
                <a:ext uri="{FF2B5EF4-FFF2-40B4-BE49-F238E27FC236}">
                  <a16:creationId xmlns:a16="http://schemas.microsoft.com/office/drawing/2014/main" id="{E90CC07B-45D8-3642-942F-CC0F9D3F6185}"/>
                </a:ext>
              </a:extLst>
            </p:cNvPr>
            <p:cNvSpPr>
              <a:spLocks noEditPoints="1"/>
            </p:cNvSpPr>
            <p:nvPr>
              <p:custDataLst>
                <p:tags r:id="rId33"/>
              </p:custDataLst>
            </p:nvPr>
          </p:nvSpPr>
          <p:spPr bwMode="gray">
            <a:xfrm>
              <a:off x="4456101" y="5192911"/>
              <a:ext cx="15127" cy="30254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12" y="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12" h="24">
                  <a:moveTo>
                    <a:pt x="12" y="8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8"/>
                  </a:lnTo>
                  <a:lnTo>
                    <a:pt x="12" y="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4" name="Freeform 54">
              <a:extLst>
                <a:ext uri="{FF2B5EF4-FFF2-40B4-BE49-F238E27FC236}">
                  <a16:creationId xmlns:a16="http://schemas.microsoft.com/office/drawing/2014/main" id="{560963BC-7A9E-7144-BC73-DBA455B0ACCC}"/>
                </a:ext>
              </a:extLst>
            </p:cNvPr>
            <p:cNvSpPr>
              <a:spLocks noEditPoints="1"/>
            </p:cNvSpPr>
            <p:nvPr>
              <p:custDataLst>
                <p:tags r:id="rId34"/>
              </p:custDataLst>
            </p:nvPr>
          </p:nvSpPr>
          <p:spPr bwMode="gray">
            <a:xfrm>
              <a:off x="4602331" y="5524451"/>
              <a:ext cx="230690" cy="161357"/>
            </a:xfrm>
            <a:custGeom>
              <a:avLst/>
              <a:gdLst/>
              <a:ahLst/>
              <a:cxnLst>
                <a:cxn ang="0">
                  <a:pos x="68" y="100"/>
                </a:cxn>
                <a:cxn ang="0">
                  <a:pos x="60" y="104"/>
                </a:cxn>
                <a:cxn ang="0">
                  <a:pos x="48" y="104"/>
                </a:cxn>
                <a:cxn ang="0">
                  <a:pos x="44" y="108"/>
                </a:cxn>
                <a:cxn ang="0">
                  <a:pos x="44" y="112"/>
                </a:cxn>
                <a:cxn ang="0">
                  <a:pos x="40" y="116"/>
                </a:cxn>
                <a:cxn ang="0">
                  <a:pos x="36" y="116"/>
                </a:cxn>
                <a:cxn ang="0">
                  <a:pos x="32" y="116"/>
                </a:cxn>
                <a:cxn ang="0">
                  <a:pos x="28" y="116"/>
                </a:cxn>
                <a:cxn ang="0">
                  <a:pos x="20" y="116"/>
                </a:cxn>
                <a:cxn ang="0">
                  <a:pos x="16" y="116"/>
                </a:cxn>
                <a:cxn ang="0">
                  <a:pos x="16" y="108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2" y="88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4"/>
                </a:cxn>
                <a:cxn ang="0">
                  <a:pos x="12" y="28"/>
                </a:cxn>
                <a:cxn ang="0">
                  <a:pos x="16" y="28"/>
                </a:cxn>
                <a:cxn ang="0">
                  <a:pos x="20" y="28"/>
                </a:cxn>
                <a:cxn ang="0">
                  <a:pos x="32" y="28"/>
                </a:cxn>
                <a:cxn ang="0">
                  <a:pos x="64" y="32"/>
                </a:cxn>
                <a:cxn ang="0">
                  <a:pos x="84" y="24"/>
                </a:cxn>
                <a:cxn ang="0">
                  <a:pos x="155" y="28"/>
                </a:cxn>
                <a:cxn ang="0">
                  <a:pos x="159" y="44"/>
                </a:cxn>
                <a:cxn ang="0">
                  <a:pos x="151" y="48"/>
                </a:cxn>
                <a:cxn ang="0">
                  <a:pos x="147" y="52"/>
                </a:cxn>
                <a:cxn ang="0">
                  <a:pos x="143" y="64"/>
                </a:cxn>
                <a:cxn ang="0">
                  <a:pos x="136" y="68"/>
                </a:cxn>
                <a:cxn ang="0">
                  <a:pos x="128" y="72"/>
                </a:cxn>
                <a:cxn ang="0">
                  <a:pos x="120" y="72"/>
                </a:cxn>
                <a:cxn ang="0">
                  <a:pos x="112" y="76"/>
                </a:cxn>
                <a:cxn ang="0">
                  <a:pos x="100" y="84"/>
                </a:cxn>
                <a:cxn ang="0">
                  <a:pos x="96" y="92"/>
                </a:cxn>
                <a:cxn ang="0">
                  <a:pos x="88" y="92"/>
                </a:cxn>
                <a:cxn ang="0">
                  <a:pos x="84" y="92"/>
                </a:cxn>
                <a:cxn ang="0">
                  <a:pos x="84" y="92"/>
                </a:cxn>
                <a:cxn ang="0">
                  <a:pos x="80" y="96"/>
                </a:cxn>
                <a:cxn ang="0">
                  <a:pos x="72" y="100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47" y="124"/>
                </a:cxn>
                <a:cxn ang="0">
                  <a:pos x="151" y="128"/>
                </a:cxn>
                <a:cxn ang="0">
                  <a:pos x="4" y="64"/>
                </a:cxn>
                <a:cxn ang="0">
                  <a:pos x="4" y="68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79" y="120"/>
                </a:cxn>
                <a:cxn ang="0">
                  <a:pos x="171" y="124"/>
                </a:cxn>
                <a:cxn ang="0">
                  <a:pos x="163" y="120"/>
                </a:cxn>
                <a:cxn ang="0">
                  <a:pos x="167" y="116"/>
                </a:cxn>
                <a:cxn ang="0">
                  <a:pos x="175" y="116"/>
                </a:cxn>
              </a:cxnLst>
              <a:rect l="0" t="0" r="r" b="b"/>
              <a:pathLst>
                <a:path w="183" h="128">
                  <a:moveTo>
                    <a:pt x="72" y="100"/>
                  </a:moveTo>
                  <a:lnTo>
                    <a:pt x="72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08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6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32" y="116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32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80" y="28"/>
                  </a:lnTo>
                  <a:lnTo>
                    <a:pt x="84" y="24"/>
                  </a:lnTo>
                  <a:lnTo>
                    <a:pt x="88" y="16"/>
                  </a:lnTo>
                  <a:lnTo>
                    <a:pt x="100" y="4"/>
                  </a:lnTo>
                  <a:lnTo>
                    <a:pt x="128" y="4"/>
                  </a:lnTo>
                  <a:lnTo>
                    <a:pt x="132" y="0"/>
                  </a:lnTo>
                  <a:lnTo>
                    <a:pt x="143" y="0"/>
                  </a:lnTo>
                  <a:lnTo>
                    <a:pt x="155" y="28"/>
                  </a:lnTo>
                  <a:lnTo>
                    <a:pt x="155" y="32"/>
                  </a:lnTo>
                  <a:lnTo>
                    <a:pt x="163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9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5" y="44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51" y="48"/>
                  </a:lnTo>
                  <a:lnTo>
                    <a:pt x="147" y="48"/>
                  </a:lnTo>
                  <a:lnTo>
                    <a:pt x="147" y="52"/>
                  </a:lnTo>
                  <a:lnTo>
                    <a:pt x="147" y="56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3" y="64"/>
                  </a:lnTo>
                  <a:lnTo>
                    <a:pt x="143" y="64"/>
                  </a:lnTo>
                  <a:lnTo>
                    <a:pt x="139" y="64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9" y="68"/>
                  </a:lnTo>
                  <a:lnTo>
                    <a:pt x="136" y="68"/>
                  </a:lnTo>
                  <a:lnTo>
                    <a:pt x="136" y="68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32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4" y="72"/>
                  </a:lnTo>
                  <a:lnTo>
                    <a:pt x="120" y="72"/>
                  </a:lnTo>
                  <a:lnTo>
                    <a:pt x="120" y="72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6" y="76"/>
                  </a:lnTo>
                  <a:lnTo>
                    <a:pt x="112" y="76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4" y="80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2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80" y="96"/>
                  </a:lnTo>
                  <a:lnTo>
                    <a:pt x="76" y="96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close/>
                  <a:moveTo>
                    <a:pt x="151" y="128"/>
                  </a:moveTo>
                  <a:lnTo>
                    <a:pt x="147" y="128"/>
                  </a:lnTo>
                  <a:lnTo>
                    <a:pt x="147" y="128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47" y="124"/>
                  </a:lnTo>
                  <a:lnTo>
                    <a:pt x="151" y="124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1" y="128"/>
                  </a:lnTo>
                  <a:lnTo>
                    <a:pt x="151" y="128"/>
                  </a:lnTo>
                  <a:close/>
                  <a:moveTo>
                    <a:pt x="4" y="68"/>
                  </a:moveTo>
                  <a:lnTo>
                    <a:pt x="4" y="68"/>
                  </a:lnTo>
                  <a:lnTo>
                    <a:pt x="4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close/>
                  <a:moveTo>
                    <a:pt x="4" y="92"/>
                  </a:move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79" y="116"/>
                  </a:moveTo>
                  <a:lnTo>
                    <a:pt x="179" y="116"/>
                  </a:lnTo>
                  <a:lnTo>
                    <a:pt x="183" y="120"/>
                  </a:lnTo>
                  <a:lnTo>
                    <a:pt x="183" y="120"/>
                  </a:lnTo>
                  <a:lnTo>
                    <a:pt x="179" y="120"/>
                  </a:lnTo>
                  <a:lnTo>
                    <a:pt x="179" y="120"/>
                  </a:lnTo>
                  <a:lnTo>
                    <a:pt x="179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5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71" y="124"/>
                  </a:lnTo>
                  <a:lnTo>
                    <a:pt x="167" y="124"/>
                  </a:lnTo>
                  <a:lnTo>
                    <a:pt x="167" y="124"/>
                  </a:lnTo>
                  <a:lnTo>
                    <a:pt x="167" y="120"/>
                  </a:lnTo>
                  <a:lnTo>
                    <a:pt x="163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20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67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16"/>
                  </a:lnTo>
                  <a:lnTo>
                    <a:pt x="171" y="120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5" y="116"/>
                  </a:lnTo>
                  <a:lnTo>
                    <a:pt x="179" y="116"/>
                  </a:lnTo>
                  <a:lnTo>
                    <a:pt x="179" y="1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5" name="Freeform 83">
              <a:extLst>
                <a:ext uri="{FF2B5EF4-FFF2-40B4-BE49-F238E27FC236}">
                  <a16:creationId xmlns:a16="http://schemas.microsoft.com/office/drawing/2014/main" id="{DAFA441E-E957-8B4B-89FD-49C6DCA006EA}"/>
                </a:ext>
              </a:extLst>
            </p:cNvPr>
            <p:cNvSpPr>
              <a:spLocks/>
            </p:cNvSpPr>
            <p:nvPr>
              <p:custDataLst>
                <p:tags r:id="rId35"/>
              </p:custDataLst>
            </p:nvPr>
          </p:nvSpPr>
          <p:spPr bwMode="gray">
            <a:xfrm>
              <a:off x="4220369" y="4891627"/>
              <a:ext cx="119757" cy="79418"/>
            </a:xfrm>
            <a:custGeom>
              <a:avLst/>
              <a:gdLst/>
              <a:ahLst/>
              <a:cxnLst>
                <a:cxn ang="0">
                  <a:pos x="8" y="55"/>
                </a:cxn>
                <a:cxn ang="0">
                  <a:pos x="8" y="51"/>
                </a:cxn>
                <a:cxn ang="0">
                  <a:pos x="8" y="47"/>
                </a:cxn>
                <a:cxn ang="0">
                  <a:pos x="0" y="39"/>
                </a:cxn>
                <a:cxn ang="0">
                  <a:pos x="4" y="36"/>
                </a:cxn>
                <a:cxn ang="0">
                  <a:pos x="0" y="32"/>
                </a:cxn>
                <a:cxn ang="0">
                  <a:pos x="4" y="28"/>
                </a:cxn>
                <a:cxn ang="0">
                  <a:pos x="8" y="24"/>
                </a:cxn>
                <a:cxn ang="0">
                  <a:pos x="4" y="20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32" y="12"/>
                </a:cxn>
                <a:cxn ang="0">
                  <a:pos x="32" y="12"/>
                </a:cxn>
                <a:cxn ang="0">
                  <a:pos x="40" y="12"/>
                </a:cxn>
                <a:cxn ang="0">
                  <a:pos x="44" y="12"/>
                </a:cxn>
                <a:cxn ang="0">
                  <a:pos x="48" y="12"/>
                </a:cxn>
                <a:cxn ang="0">
                  <a:pos x="52" y="8"/>
                </a:cxn>
                <a:cxn ang="0">
                  <a:pos x="60" y="4"/>
                </a:cxn>
                <a:cxn ang="0">
                  <a:pos x="68" y="4"/>
                </a:cxn>
                <a:cxn ang="0">
                  <a:pos x="72" y="4"/>
                </a:cxn>
                <a:cxn ang="0">
                  <a:pos x="72" y="4"/>
                </a:cxn>
                <a:cxn ang="0">
                  <a:pos x="80" y="4"/>
                </a:cxn>
                <a:cxn ang="0">
                  <a:pos x="80" y="8"/>
                </a:cxn>
                <a:cxn ang="0">
                  <a:pos x="84" y="8"/>
                </a:cxn>
                <a:cxn ang="0">
                  <a:pos x="87" y="12"/>
                </a:cxn>
                <a:cxn ang="0">
                  <a:pos x="91" y="12"/>
                </a:cxn>
                <a:cxn ang="0">
                  <a:pos x="95" y="16"/>
                </a:cxn>
                <a:cxn ang="0">
                  <a:pos x="91" y="20"/>
                </a:cxn>
                <a:cxn ang="0">
                  <a:pos x="91" y="16"/>
                </a:cxn>
                <a:cxn ang="0">
                  <a:pos x="87" y="20"/>
                </a:cxn>
                <a:cxn ang="0">
                  <a:pos x="84" y="28"/>
                </a:cxn>
                <a:cxn ang="0">
                  <a:pos x="84" y="32"/>
                </a:cxn>
                <a:cxn ang="0">
                  <a:pos x="80" y="36"/>
                </a:cxn>
                <a:cxn ang="0">
                  <a:pos x="76" y="39"/>
                </a:cxn>
                <a:cxn ang="0">
                  <a:pos x="80" y="39"/>
                </a:cxn>
                <a:cxn ang="0">
                  <a:pos x="84" y="43"/>
                </a:cxn>
                <a:cxn ang="0">
                  <a:pos x="84" y="47"/>
                </a:cxn>
                <a:cxn ang="0">
                  <a:pos x="80" y="47"/>
                </a:cxn>
                <a:cxn ang="0">
                  <a:pos x="76" y="47"/>
                </a:cxn>
                <a:cxn ang="0">
                  <a:pos x="72" y="43"/>
                </a:cxn>
                <a:cxn ang="0">
                  <a:pos x="64" y="47"/>
                </a:cxn>
                <a:cxn ang="0">
                  <a:pos x="64" y="51"/>
                </a:cxn>
                <a:cxn ang="0">
                  <a:pos x="60" y="51"/>
                </a:cxn>
                <a:cxn ang="0">
                  <a:pos x="60" y="51"/>
                </a:cxn>
                <a:cxn ang="0">
                  <a:pos x="56" y="55"/>
                </a:cxn>
                <a:cxn ang="0">
                  <a:pos x="56" y="59"/>
                </a:cxn>
                <a:cxn ang="0">
                  <a:pos x="48" y="63"/>
                </a:cxn>
                <a:cxn ang="0">
                  <a:pos x="44" y="63"/>
                </a:cxn>
                <a:cxn ang="0">
                  <a:pos x="40" y="59"/>
                </a:cxn>
                <a:cxn ang="0">
                  <a:pos x="36" y="59"/>
                </a:cxn>
                <a:cxn ang="0">
                  <a:pos x="28" y="55"/>
                </a:cxn>
                <a:cxn ang="0">
                  <a:pos x="24" y="59"/>
                </a:cxn>
                <a:cxn ang="0">
                  <a:pos x="20" y="59"/>
                </a:cxn>
                <a:cxn ang="0">
                  <a:pos x="12" y="59"/>
                </a:cxn>
                <a:cxn ang="0">
                  <a:pos x="12" y="63"/>
                </a:cxn>
              </a:cxnLst>
              <a:rect l="0" t="0" r="r" b="b"/>
              <a:pathLst>
                <a:path w="95" h="63">
                  <a:moveTo>
                    <a:pt x="8" y="59"/>
                  </a:moveTo>
                  <a:lnTo>
                    <a:pt x="8" y="59"/>
                  </a:lnTo>
                  <a:lnTo>
                    <a:pt x="8" y="59"/>
                  </a:lnTo>
                  <a:lnTo>
                    <a:pt x="8" y="59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5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51"/>
                  </a:lnTo>
                  <a:lnTo>
                    <a:pt x="8" y="47"/>
                  </a:lnTo>
                  <a:lnTo>
                    <a:pt x="8" y="47"/>
                  </a:lnTo>
                  <a:lnTo>
                    <a:pt x="4" y="47"/>
                  </a:lnTo>
                  <a:lnTo>
                    <a:pt x="4" y="43"/>
                  </a:lnTo>
                  <a:lnTo>
                    <a:pt x="0" y="43"/>
                  </a:lnTo>
                  <a:lnTo>
                    <a:pt x="0" y="43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0" y="39"/>
                  </a:lnTo>
                  <a:lnTo>
                    <a:pt x="4" y="39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2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7" y="8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87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5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16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20"/>
                  </a:lnTo>
                  <a:lnTo>
                    <a:pt x="91" y="16"/>
                  </a:lnTo>
                  <a:lnTo>
                    <a:pt x="87" y="16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7" y="20"/>
                  </a:lnTo>
                  <a:lnTo>
                    <a:pt x="84" y="20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76" y="36"/>
                  </a:lnTo>
                  <a:lnTo>
                    <a:pt x="76" y="36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76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39"/>
                  </a:lnTo>
                  <a:lnTo>
                    <a:pt x="80" y="43"/>
                  </a:lnTo>
                  <a:lnTo>
                    <a:pt x="80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3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4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80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7"/>
                  </a:lnTo>
                  <a:lnTo>
                    <a:pt x="76" y="43"/>
                  </a:lnTo>
                  <a:lnTo>
                    <a:pt x="72" y="43"/>
                  </a:lnTo>
                  <a:lnTo>
                    <a:pt x="72" y="47"/>
                  </a:lnTo>
                  <a:lnTo>
                    <a:pt x="72" y="47"/>
                  </a:lnTo>
                  <a:lnTo>
                    <a:pt x="68" y="47"/>
                  </a:lnTo>
                  <a:lnTo>
                    <a:pt x="68" y="47"/>
                  </a:lnTo>
                  <a:lnTo>
                    <a:pt x="64" y="47"/>
                  </a:lnTo>
                  <a:lnTo>
                    <a:pt x="64" y="47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4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1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5"/>
                  </a:lnTo>
                  <a:lnTo>
                    <a:pt x="60" y="51"/>
                  </a:lnTo>
                  <a:lnTo>
                    <a:pt x="56" y="51"/>
                  </a:lnTo>
                  <a:lnTo>
                    <a:pt x="56" y="51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5"/>
                  </a:lnTo>
                  <a:lnTo>
                    <a:pt x="56" y="59"/>
                  </a:lnTo>
                  <a:lnTo>
                    <a:pt x="56" y="59"/>
                  </a:lnTo>
                  <a:lnTo>
                    <a:pt x="56" y="63"/>
                  </a:lnTo>
                  <a:lnTo>
                    <a:pt x="52" y="63"/>
                  </a:lnTo>
                  <a:lnTo>
                    <a:pt x="52" y="63"/>
                  </a:lnTo>
                  <a:lnTo>
                    <a:pt x="52" y="59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8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4" y="63"/>
                  </a:lnTo>
                  <a:lnTo>
                    <a:pt x="40" y="63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40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6" y="59"/>
                  </a:lnTo>
                  <a:lnTo>
                    <a:pt x="32" y="59"/>
                  </a:lnTo>
                  <a:lnTo>
                    <a:pt x="32" y="59"/>
                  </a:lnTo>
                  <a:lnTo>
                    <a:pt x="32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8" y="55"/>
                  </a:lnTo>
                  <a:lnTo>
                    <a:pt x="24" y="55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4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20" y="59"/>
                  </a:lnTo>
                  <a:lnTo>
                    <a:pt x="16" y="59"/>
                  </a:lnTo>
                  <a:lnTo>
                    <a:pt x="16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59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12" y="63"/>
                  </a:lnTo>
                  <a:lnTo>
                    <a:pt x="8" y="59"/>
                  </a:lnTo>
                  <a:lnTo>
                    <a:pt x="8" y="5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6" name="Freeform 92">
              <a:extLst>
                <a:ext uri="{FF2B5EF4-FFF2-40B4-BE49-F238E27FC236}">
                  <a16:creationId xmlns:a16="http://schemas.microsoft.com/office/drawing/2014/main" id="{837FCF28-0ED4-ED48-A355-CF1D7B9C2959}"/>
                </a:ext>
              </a:extLst>
            </p:cNvPr>
            <p:cNvSpPr>
              <a:spLocks noEditPoints="1"/>
            </p:cNvSpPr>
            <p:nvPr>
              <p:custDataLst>
                <p:tags r:id="rId36"/>
              </p:custDataLst>
            </p:nvPr>
          </p:nvSpPr>
          <p:spPr bwMode="gray">
            <a:xfrm>
              <a:off x="4169944" y="4955918"/>
              <a:ext cx="160096" cy="176485"/>
            </a:xfrm>
            <a:custGeom>
              <a:avLst/>
              <a:gdLst/>
              <a:ahLst/>
              <a:cxnLst>
                <a:cxn ang="0">
                  <a:pos x="12" y="52"/>
                </a:cxn>
                <a:cxn ang="0">
                  <a:pos x="8" y="44"/>
                </a:cxn>
                <a:cxn ang="0">
                  <a:pos x="20" y="24"/>
                </a:cxn>
                <a:cxn ang="0">
                  <a:pos x="40" y="12"/>
                </a:cxn>
                <a:cxn ang="0">
                  <a:pos x="56" y="8"/>
                </a:cxn>
                <a:cxn ang="0">
                  <a:pos x="76" y="8"/>
                </a:cxn>
                <a:cxn ang="0">
                  <a:pos x="96" y="12"/>
                </a:cxn>
                <a:cxn ang="0">
                  <a:pos x="104" y="8"/>
                </a:cxn>
                <a:cxn ang="0">
                  <a:pos x="96" y="20"/>
                </a:cxn>
                <a:cxn ang="0">
                  <a:pos x="72" y="16"/>
                </a:cxn>
                <a:cxn ang="0">
                  <a:pos x="60" y="24"/>
                </a:cxn>
                <a:cxn ang="0">
                  <a:pos x="68" y="32"/>
                </a:cxn>
                <a:cxn ang="0">
                  <a:pos x="56" y="32"/>
                </a:cxn>
                <a:cxn ang="0">
                  <a:pos x="52" y="32"/>
                </a:cxn>
                <a:cxn ang="0">
                  <a:pos x="48" y="44"/>
                </a:cxn>
                <a:cxn ang="0">
                  <a:pos x="48" y="56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0" y="72"/>
                </a:cxn>
                <a:cxn ang="0">
                  <a:pos x="60" y="84"/>
                </a:cxn>
                <a:cxn ang="0">
                  <a:pos x="52" y="84"/>
                </a:cxn>
                <a:cxn ang="0">
                  <a:pos x="44" y="92"/>
                </a:cxn>
                <a:cxn ang="0">
                  <a:pos x="48" y="108"/>
                </a:cxn>
                <a:cxn ang="0">
                  <a:pos x="40" y="108"/>
                </a:cxn>
                <a:cxn ang="0">
                  <a:pos x="28" y="100"/>
                </a:cxn>
                <a:cxn ang="0">
                  <a:pos x="20" y="80"/>
                </a:cxn>
                <a:cxn ang="0">
                  <a:pos x="36" y="76"/>
                </a:cxn>
                <a:cxn ang="0">
                  <a:pos x="48" y="76"/>
                </a:cxn>
                <a:cxn ang="0">
                  <a:pos x="32" y="72"/>
                </a:cxn>
                <a:cxn ang="0">
                  <a:pos x="16" y="60"/>
                </a:cxn>
                <a:cxn ang="0">
                  <a:pos x="76" y="24"/>
                </a:cxn>
                <a:cxn ang="0">
                  <a:pos x="84" y="40"/>
                </a:cxn>
                <a:cxn ang="0">
                  <a:pos x="0" y="40"/>
                </a:cxn>
                <a:cxn ang="0">
                  <a:pos x="0" y="44"/>
                </a:cxn>
                <a:cxn ang="0">
                  <a:pos x="96" y="56"/>
                </a:cxn>
                <a:cxn ang="0">
                  <a:pos x="64" y="72"/>
                </a:cxn>
                <a:cxn ang="0">
                  <a:pos x="52" y="60"/>
                </a:cxn>
                <a:cxn ang="0">
                  <a:pos x="68" y="68"/>
                </a:cxn>
                <a:cxn ang="0">
                  <a:pos x="68" y="72"/>
                </a:cxn>
                <a:cxn ang="0">
                  <a:pos x="16" y="64"/>
                </a:cxn>
                <a:cxn ang="0">
                  <a:pos x="92" y="76"/>
                </a:cxn>
                <a:cxn ang="0">
                  <a:pos x="16" y="72"/>
                </a:cxn>
                <a:cxn ang="0">
                  <a:pos x="16" y="76"/>
                </a:cxn>
                <a:cxn ang="0">
                  <a:pos x="76" y="84"/>
                </a:cxn>
                <a:cxn ang="0">
                  <a:pos x="12" y="80"/>
                </a:cxn>
                <a:cxn ang="0">
                  <a:pos x="108" y="84"/>
                </a:cxn>
                <a:cxn ang="0">
                  <a:pos x="100" y="84"/>
                </a:cxn>
                <a:cxn ang="0">
                  <a:pos x="68" y="88"/>
                </a:cxn>
                <a:cxn ang="0">
                  <a:pos x="72" y="92"/>
                </a:cxn>
                <a:cxn ang="0">
                  <a:pos x="88" y="100"/>
                </a:cxn>
                <a:cxn ang="0">
                  <a:pos x="108" y="96"/>
                </a:cxn>
                <a:cxn ang="0">
                  <a:pos x="112" y="100"/>
                </a:cxn>
                <a:cxn ang="0">
                  <a:pos x="84" y="104"/>
                </a:cxn>
                <a:cxn ang="0">
                  <a:pos x="127" y="112"/>
                </a:cxn>
                <a:cxn ang="0">
                  <a:pos x="127" y="112"/>
                </a:cxn>
                <a:cxn ang="0">
                  <a:pos x="112" y="124"/>
                </a:cxn>
                <a:cxn ang="0">
                  <a:pos x="64" y="128"/>
                </a:cxn>
                <a:cxn ang="0">
                  <a:pos x="84" y="132"/>
                </a:cxn>
                <a:cxn ang="0">
                  <a:pos x="100" y="140"/>
                </a:cxn>
                <a:cxn ang="0">
                  <a:pos x="72" y="136"/>
                </a:cxn>
              </a:cxnLst>
              <a:rect l="0" t="0" r="r" b="b"/>
              <a:pathLst>
                <a:path w="127" h="140">
                  <a:moveTo>
                    <a:pt x="20" y="56"/>
                  </a:moveTo>
                  <a:lnTo>
                    <a:pt x="20" y="60"/>
                  </a:lnTo>
                  <a:lnTo>
                    <a:pt x="16" y="56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16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4" y="16"/>
                  </a:lnTo>
                  <a:lnTo>
                    <a:pt x="44" y="12"/>
                  </a:lnTo>
                  <a:lnTo>
                    <a:pt x="48" y="8"/>
                  </a:lnTo>
                  <a:lnTo>
                    <a:pt x="52" y="12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4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80" y="8"/>
                  </a:lnTo>
                  <a:lnTo>
                    <a:pt x="80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92" y="8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8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100" y="0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4" y="8"/>
                  </a:lnTo>
                  <a:lnTo>
                    <a:pt x="104" y="12"/>
                  </a:lnTo>
                  <a:lnTo>
                    <a:pt x="100" y="12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88" y="20"/>
                  </a:lnTo>
                  <a:lnTo>
                    <a:pt x="84" y="20"/>
                  </a:lnTo>
                  <a:lnTo>
                    <a:pt x="80" y="16"/>
                  </a:lnTo>
                  <a:lnTo>
                    <a:pt x="76" y="20"/>
                  </a:lnTo>
                  <a:lnTo>
                    <a:pt x="72" y="20"/>
                  </a:lnTo>
                  <a:lnTo>
                    <a:pt x="72" y="16"/>
                  </a:lnTo>
                  <a:lnTo>
                    <a:pt x="72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0" y="20"/>
                  </a:lnTo>
                  <a:lnTo>
                    <a:pt x="60" y="24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8" y="32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68" y="36"/>
                  </a:lnTo>
                  <a:lnTo>
                    <a:pt x="68" y="32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4" y="36"/>
                  </a:lnTo>
                  <a:lnTo>
                    <a:pt x="64" y="40"/>
                  </a:lnTo>
                  <a:lnTo>
                    <a:pt x="60" y="36"/>
                  </a:lnTo>
                  <a:lnTo>
                    <a:pt x="60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60" y="36"/>
                  </a:lnTo>
                  <a:lnTo>
                    <a:pt x="60" y="40"/>
                  </a:lnTo>
                  <a:lnTo>
                    <a:pt x="56" y="40"/>
                  </a:lnTo>
                  <a:lnTo>
                    <a:pt x="56" y="36"/>
                  </a:lnTo>
                  <a:lnTo>
                    <a:pt x="56" y="32"/>
                  </a:lnTo>
                  <a:lnTo>
                    <a:pt x="52" y="32"/>
                  </a:lnTo>
                  <a:lnTo>
                    <a:pt x="48" y="28"/>
                  </a:lnTo>
                  <a:lnTo>
                    <a:pt x="48" y="24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52" y="48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52" y="64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4"/>
                  </a:lnTo>
                  <a:lnTo>
                    <a:pt x="60" y="84"/>
                  </a:lnTo>
                  <a:lnTo>
                    <a:pt x="56" y="80"/>
                  </a:lnTo>
                  <a:lnTo>
                    <a:pt x="60" y="80"/>
                  </a:lnTo>
                  <a:lnTo>
                    <a:pt x="56" y="80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84"/>
                  </a:lnTo>
                  <a:lnTo>
                    <a:pt x="52" y="84"/>
                  </a:lnTo>
                  <a:lnTo>
                    <a:pt x="52" y="88"/>
                  </a:lnTo>
                  <a:lnTo>
                    <a:pt x="56" y="88"/>
                  </a:lnTo>
                  <a:lnTo>
                    <a:pt x="56" y="92"/>
                  </a:lnTo>
                  <a:lnTo>
                    <a:pt x="52" y="92"/>
                  </a:lnTo>
                  <a:lnTo>
                    <a:pt x="48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8" y="92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52" y="108"/>
                  </a:lnTo>
                  <a:lnTo>
                    <a:pt x="52" y="112"/>
                  </a:lnTo>
                  <a:lnTo>
                    <a:pt x="48" y="108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2" y="100"/>
                  </a:lnTo>
                  <a:lnTo>
                    <a:pt x="32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88"/>
                  </a:lnTo>
                  <a:lnTo>
                    <a:pt x="24" y="88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8" y="76"/>
                  </a:lnTo>
                  <a:lnTo>
                    <a:pt x="28" y="72"/>
                  </a:lnTo>
                  <a:lnTo>
                    <a:pt x="32" y="72"/>
                  </a:lnTo>
                  <a:lnTo>
                    <a:pt x="36" y="72"/>
                  </a:lnTo>
                  <a:lnTo>
                    <a:pt x="36" y="76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0" y="72"/>
                  </a:lnTo>
                  <a:lnTo>
                    <a:pt x="40" y="68"/>
                  </a:lnTo>
                  <a:lnTo>
                    <a:pt x="40" y="72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28" y="72"/>
                  </a:lnTo>
                  <a:lnTo>
                    <a:pt x="24" y="72"/>
                  </a:lnTo>
                  <a:lnTo>
                    <a:pt x="20" y="72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close/>
                  <a:moveTo>
                    <a:pt x="76" y="24"/>
                  </a:moveTo>
                  <a:lnTo>
                    <a:pt x="72" y="24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4"/>
                  </a:lnTo>
                  <a:close/>
                  <a:moveTo>
                    <a:pt x="88" y="28"/>
                  </a:moveTo>
                  <a:lnTo>
                    <a:pt x="92" y="28"/>
                  </a:lnTo>
                  <a:lnTo>
                    <a:pt x="88" y="28"/>
                  </a:lnTo>
                  <a:close/>
                  <a:moveTo>
                    <a:pt x="88" y="36"/>
                  </a:moveTo>
                  <a:lnTo>
                    <a:pt x="84" y="40"/>
                  </a:lnTo>
                  <a:lnTo>
                    <a:pt x="84" y="44"/>
                  </a:lnTo>
                  <a:lnTo>
                    <a:pt x="84" y="40"/>
                  </a:lnTo>
                  <a:lnTo>
                    <a:pt x="80" y="40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36"/>
                  </a:lnTo>
                  <a:lnTo>
                    <a:pt x="88" y="36"/>
                  </a:lnTo>
                  <a:close/>
                  <a:moveTo>
                    <a:pt x="0" y="40"/>
                  </a:moveTo>
                  <a:lnTo>
                    <a:pt x="4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8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0"/>
                  </a:lnTo>
                  <a:close/>
                  <a:moveTo>
                    <a:pt x="100" y="52"/>
                  </a:moveTo>
                  <a:lnTo>
                    <a:pt x="104" y="56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6" y="56"/>
                  </a:lnTo>
                  <a:lnTo>
                    <a:pt x="100" y="56"/>
                  </a:lnTo>
                  <a:lnTo>
                    <a:pt x="96" y="56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100" y="52"/>
                  </a:lnTo>
                  <a:close/>
                  <a:moveTo>
                    <a:pt x="64" y="72"/>
                  </a:moveTo>
                  <a:lnTo>
                    <a:pt x="60" y="72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4"/>
                  </a:lnTo>
                  <a:lnTo>
                    <a:pt x="52" y="60"/>
                  </a:lnTo>
                  <a:lnTo>
                    <a:pt x="48" y="60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8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4" y="72"/>
                  </a:lnTo>
                  <a:close/>
                  <a:moveTo>
                    <a:pt x="72" y="64"/>
                  </a:moveTo>
                  <a:lnTo>
                    <a:pt x="72" y="60"/>
                  </a:lnTo>
                  <a:lnTo>
                    <a:pt x="76" y="64"/>
                  </a:lnTo>
                  <a:lnTo>
                    <a:pt x="72" y="64"/>
                  </a:lnTo>
                  <a:close/>
                  <a:moveTo>
                    <a:pt x="16" y="60"/>
                  </a:moveTo>
                  <a:lnTo>
                    <a:pt x="16" y="64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6" y="60"/>
                  </a:lnTo>
                  <a:close/>
                  <a:moveTo>
                    <a:pt x="96" y="76"/>
                  </a:moveTo>
                  <a:lnTo>
                    <a:pt x="92" y="76"/>
                  </a:lnTo>
                  <a:lnTo>
                    <a:pt x="92" y="72"/>
                  </a:lnTo>
                  <a:lnTo>
                    <a:pt x="96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6"/>
                  </a:lnTo>
                  <a:close/>
                  <a:moveTo>
                    <a:pt x="16" y="72"/>
                  </a:move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72"/>
                  </a:lnTo>
                  <a:close/>
                  <a:moveTo>
                    <a:pt x="12" y="68"/>
                  </a:moveTo>
                  <a:lnTo>
                    <a:pt x="12" y="72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close/>
                  <a:moveTo>
                    <a:pt x="80" y="84"/>
                  </a:moveTo>
                  <a:lnTo>
                    <a:pt x="76" y="84"/>
                  </a:lnTo>
                  <a:lnTo>
                    <a:pt x="76" y="80"/>
                  </a:lnTo>
                  <a:lnTo>
                    <a:pt x="80" y="80"/>
                  </a:lnTo>
                  <a:lnTo>
                    <a:pt x="80" y="84"/>
                  </a:lnTo>
                  <a:close/>
                  <a:moveTo>
                    <a:pt x="16" y="88"/>
                  </a:moveTo>
                  <a:lnTo>
                    <a:pt x="16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8"/>
                  </a:lnTo>
                  <a:close/>
                  <a:moveTo>
                    <a:pt x="108" y="88"/>
                  </a:moveTo>
                  <a:lnTo>
                    <a:pt x="108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12" y="84"/>
                  </a:lnTo>
                  <a:lnTo>
                    <a:pt x="108" y="84"/>
                  </a:lnTo>
                  <a:lnTo>
                    <a:pt x="108" y="88"/>
                  </a:lnTo>
                  <a:close/>
                  <a:moveTo>
                    <a:pt x="96" y="88"/>
                  </a:moveTo>
                  <a:lnTo>
                    <a:pt x="100" y="84"/>
                  </a:lnTo>
                  <a:lnTo>
                    <a:pt x="100" y="88"/>
                  </a:lnTo>
                  <a:lnTo>
                    <a:pt x="96" y="88"/>
                  </a:lnTo>
                  <a:close/>
                  <a:moveTo>
                    <a:pt x="68" y="88"/>
                  </a:moveTo>
                  <a:lnTo>
                    <a:pt x="68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68" y="88"/>
                  </a:lnTo>
                  <a:close/>
                  <a:moveTo>
                    <a:pt x="80" y="84"/>
                  </a:moveTo>
                  <a:lnTo>
                    <a:pt x="80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4"/>
                  </a:lnTo>
                  <a:close/>
                  <a:moveTo>
                    <a:pt x="72" y="88"/>
                  </a:moveTo>
                  <a:lnTo>
                    <a:pt x="72" y="92"/>
                  </a:lnTo>
                  <a:lnTo>
                    <a:pt x="68" y="92"/>
                  </a:lnTo>
                  <a:lnTo>
                    <a:pt x="72" y="92"/>
                  </a:lnTo>
                  <a:lnTo>
                    <a:pt x="72" y="88"/>
                  </a:lnTo>
                  <a:close/>
                  <a:moveTo>
                    <a:pt x="88" y="100"/>
                  </a:moveTo>
                  <a:lnTo>
                    <a:pt x="84" y="96"/>
                  </a:lnTo>
                  <a:lnTo>
                    <a:pt x="88" y="96"/>
                  </a:lnTo>
                  <a:lnTo>
                    <a:pt x="88" y="100"/>
                  </a:lnTo>
                  <a:close/>
                  <a:moveTo>
                    <a:pt x="84" y="100"/>
                  </a:moveTo>
                  <a:lnTo>
                    <a:pt x="80" y="100"/>
                  </a:lnTo>
                  <a:lnTo>
                    <a:pt x="80" y="96"/>
                  </a:lnTo>
                  <a:lnTo>
                    <a:pt x="84" y="96"/>
                  </a:lnTo>
                  <a:lnTo>
                    <a:pt x="84" y="100"/>
                  </a:lnTo>
                  <a:close/>
                  <a:moveTo>
                    <a:pt x="108" y="100"/>
                  </a:moveTo>
                  <a:lnTo>
                    <a:pt x="108" y="96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08" y="100"/>
                  </a:lnTo>
                  <a:close/>
                  <a:moveTo>
                    <a:pt x="108" y="108"/>
                  </a:moveTo>
                  <a:lnTo>
                    <a:pt x="108" y="104"/>
                  </a:lnTo>
                  <a:lnTo>
                    <a:pt x="112" y="104"/>
                  </a:lnTo>
                  <a:lnTo>
                    <a:pt x="112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08" y="104"/>
                  </a:lnTo>
                  <a:lnTo>
                    <a:pt x="108" y="108"/>
                  </a:lnTo>
                  <a:close/>
                  <a:moveTo>
                    <a:pt x="84" y="108"/>
                  </a:moveTo>
                  <a:lnTo>
                    <a:pt x="84" y="104"/>
                  </a:lnTo>
                  <a:lnTo>
                    <a:pt x="84" y="108"/>
                  </a:lnTo>
                  <a:close/>
                  <a:moveTo>
                    <a:pt x="68" y="108"/>
                  </a:moveTo>
                  <a:lnTo>
                    <a:pt x="68" y="104"/>
                  </a:lnTo>
                  <a:lnTo>
                    <a:pt x="72" y="104"/>
                  </a:lnTo>
                  <a:lnTo>
                    <a:pt x="72" y="108"/>
                  </a:lnTo>
                  <a:lnTo>
                    <a:pt x="68" y="108"/>
                  </a:lnTo>
                  <a:close/>
                  <a:moveTo>
                    <a:pt x="127" y="112"/>
                  </a:moveTo>
                  <a:lnTo>
                    <a:pt x="127" y="116"/>
                  </a:lnTo>
                  <a:lnTo>
                    <a:pt x="124" y="120"/>
                  </a:lnTo>
                  <a:lnTo>
                    <a:pt x="120" y="120"/>
                  </a:lnTo>
                  <a:lnTo>
                    <a:pt x="120" y="116"/>
                  </a:lnTo>
                  <a:lnTo>
                    <a:pt x="124" y="116"/>
                  </a:lnTo>
                  <a:lnTo>
                    <a:pt x="124" y="112"/>
                  </a:lnTo>
                  <a:lnTo>
                    <a:pt x="127" y="112"/>
                  </a:lnTo>
                  <a:close/>
                  <a:moveTo>
                    <a:pt x="48" y="112"/>
                  </a:moveTo>
                  <a:lnTo>
                    <a:pt x="52" y="116"/>
                  </a:lnTo>
                  <a:lnTo>
                    <a:pt x="48" y="116"/>
                  </a:lnTo>
                  <a:lnTo>
                    <a:pt x="48" y="112"/>
                  </a:lnTo>
                  <a:close/>
                  <a:moveTo>
                    <a:pt x="112" y="132"/>
                  </a:moveTo>
                  <a:lnTo>
                    <a:pt x="112" y="128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12" y="132"/>
                  </a:lnTo>
                  <a:close/>
                  <a:moveTo>
                    <a:pt x="60" y="136"/>
                  </a:moveTo>
                  <a:lnTo>
                    <a:pt x="56" y="136"/>
                  </a:lnTo>
                  <a:lnTo>
                    <a:pt x="56" y="128"/>
                  </a:lnTo>
                  <a:lnTo>
                    <a:pt x="60" y="128"/>
                  </a:lnTo>
                  <a:lnTo>
                    <a:pt x="64" y="128"/>
                  </a:lnTo>
                  <a:lnTo>
                    <a:pt x="68" y="128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72" y="132"/>
                  </a:lnTo>
                  <a:lnTo>
                    <a:pt x="76" y="132"/>
                  </a:lnTo>
                  <a:lnTo>
                    <a:pt x="80" y="132"/>
                  </a:lnTo>
                  <a:lnTo>
                    <a:pt x="84" y="132"/>
                  </a:lnTo>
                  <a:lnTo>
                    <a:pt x="88" y="136"/>
                  </a:lnTo>
                  <a:lnTo>
                    <a:pt x="88" y="132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96" y="140"/>
                  </a:lnTo>
                  <a:lnTo>
                    <a:pt x="88" y="140"/>
                  </a:lnTo>
                  <a:lnTo>
                    <a:pt x="84" y="140"/>
                  </a:lnTo>
                  <a:lnTo>
                    <a:pt x="80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36"/>
                  </a:lnTo>
                  <a:lnTo>
                    <a:pt x="68" y="136"/>
                  </a:lnTo>
                  <a:lnTo>
                    <a:pt x="64" y="136"/>
                  </a:lnTo>
                  <a:lnTo>
                    <a:pt x="60" y="13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7" name="Freeform 117">
              <a:extLst>
                <a:ext uri="{FF2B5EF4-FFF2-40B4-BE49-F238E27FC236}">
                  <a16:creationId xmlns:a16="http://schemas.microsoft.com/office/drawing/2014/main" id="{0901D4DB-9104-5A44-A0BC-CE47DB2A8B96}"/>
                </a:ext>
              </a:extLst>
            </p:cNvPr>
            <p:cNvSpPr>
              <a:spLocks/>
            </p:cNvSpPr>
            <p:nvPr>
              <p:custDataLst>
                <p:tags r:id="rId37"/>
              </p:custDataLst>
            </p:nvPr>
          </p:nvSpPr>
          <p:spPr bwMode="gray">
            <a:xfrm>
              <a:off x="3626624" y="5076936"/>
              <a:ext cx="392048" cy="447514"/>
            </a:xfrm>
            <a:custGeom>
              <a:avLst/>
              <a:gdLst/>
              <a:ahLst/>
              <a:cxnLst>
                <a:cxn ang="0">
                  <a:pos x="215" y="12"/>
                </a:cxn>
                <a:cxn ang="0">
                  <a:pos x="227" y="4"/>
                </a:cxn>
                <a:cxn ang="0">
                  <a:pos x="239" y="4"/>
                </a:cxn>
                <a:cxn ang="0">
                  <a:pos x="243" y="4"/>
                </a:cxn>
                <a:cxn ang="0">
                  <a:pos x="251" y="8"/>
                </a:cxn>
                <a:cxn ang="0">
                  <a:pos x="263" y="8"/>
                </a:cxn>
                <a:cxn ang="0">
                  <a:pos x="255" y="12"/>
                </a:cxn>
                <a:cxn ang="0">
                  <a:pos x="259" y="28"/>
                </a:cxn>
                <a:cxn ang="0">
                  <a:pos x="255" y="48"/>
                </a:cxn>
                <a:cxn ang="0">
                  <a:pos x="247" y="60"/>
                </a:cxn>
                <a:cxn ang="0">
                  <a:pos x="247" y="72"/>
                </a:cxn>
                <a:cxn ang="0">
                  <a:pos x="255" y="84"/>
                </a:cxn>
                <a:cxn ang="0">
                  <a:pos x="263" y="96"/>
                </a:cxn>
                <a:cxn ang="0">
                  <a:pos x="271" y="120"/>
                </a:cxn>
                <a:cxn ang="0">
                  <a:pos x="275" y="140"/>
                </a:cxn>
                <a:cxn ang="0">
                  <a:pos x="279" y="152"/>
                </a:cxn>
                <a:cxn ang="0">
                  <a:pos x="279" y="172"/>
                </a:cxn>
                <a:cxn ang="0">
                  <a:pos x="279" y="192"/>
                </a:cxn>
                <a:cxn ang="0">
                  <a:pos x="283" y="208"/>
                </a:cxn>
                <a:cxn ang="0">
                  <a:pos x="283" y="232"/>
                </a:cxn>
                <a:cxn ang="0">
                  <a:pos x="287" y="248"/>
                </a:cxn>
                <a:cxn ang="0">
                  <a:pos x="303" y="252"/>
                </a:cxn>
                <a:cxn ang="0">
                  <a:pos x="307" y="272"/>
                </a:cxn>
                <a:cxn ang="0">
                  <a:pos x="287" y="288"/>
                </a:cxn>
                <a:cxn ang="0">
                  <a:pos x="263" y="304"/>
                </a:cxn>
                <a:cxn ang="0">
                  <a:pos x="243" y="320"/>
                </a:cxn>
                <a:cxn ang="0">
                  <a:pos x="223" y="343"/>
                </a:cxn>
                <a:cxn ang="0">
                  <a:pos x="200" y="351"/>
                </a:cxn>
                <a:cxn ang="0">
                  <a:pos x="180" y="351"/>
                </a:cxn>
                <a:cxn ang="0">
                  <a:pos x="172" y="335"/>
                </a:cxn>
                <a:cxn ang="0">
                  <a:pos x="160" y="327"/>
                </a:cxn>
                <a:cxn ang="0">
                  <a:pos x="152" y="320"/>
                </a:cxn>
                <a:cxn ang="0">
                  <a:pos x="136" y="304"/>
                </a:cxn>
                <a:cxn ang="0">
                  <a:pos x="112" y="284"/>
                </a:cxn>
                <a:cxn ang="0">
                  <a:pos x="84" y="260"/>
                </a:cxn>
                <a:cxn ang="0">
                  <a:pos x="60" y="240"/>
                </a:cxn>
                <a:cxn ang="0">
                  <a:pos x="36" y="224"/>
                </a:cxn>
                <a:cxn ang="0">
                  <a:pos x="20" y="212"/>
                </a:cxn>
                <a:cxn ang="0">
                  <a:pos x="0" y="192"/>
                </a:cxn>
                <a:cxn ang="0">
                  <a:pos x="4" y="164"/>
                </a:cxn>
                <a:cxn ang="0">
                  <a:pos x="16" y="156"/>
                </a:cxn>
                <a:cxn ang="0">
                  <a:pos x="32" y="152"/>
                </a:cxn>
                <a:cxn ang="0">
                  <a:pos x="44" y="144"/>
                </a:cxn>
                <a:cxn ang="0">
                  <a:pos x="56" y="136"/>
                </a:cxn>
                <a:cxn ang="0">
                  <a:pos x="72" y="124"/>
                </a:cxn>
                <a:cxn ang="0">
                  <a:pos x="72" y="116"/>
                </a:cxn>
                <a:cxn ang="0">
                  <a:pos x="80" y="108"/>
                </a:cxn>
                <a:cxn ang="0">
                  <a:pos x="100" y="100"/>
                </a:cxn>
                <a:cxn ang="0">
                  <a:pos x="116" y="100"/>
                </a:cxn>
                <a:cxn ang="0">
                  <a:pos x="112" y="92"/>
                </a:cxn>
                <a:cxn ang="0">
                  <a:pos x="108" y="72"/>
                </a:cxn>
                <a:cxn ang="0">
                  <a:pos x="104" y="56"/>
                </a:cxn>
                <a:cxn ang="0">
                  <a:pos x="100" y="44"/>
                </a:cxn>
                <a:cxn ang="0">
                  <a:pos x="112" y="36"/>
                </a:cxn>
                <a:cxn ang="0">
                  <a:pos x="128" y="24"/>
                </a:cxn>
                <a:cxn ang="0">
                  <a:pos x="140" y="20"/>
                </a:cxn>
                <a:cxn ang="0">
                  <a:pos x="152" y="12"/>
                </a:cxn>
                <a:cxn ang="0">
                  <a:pos x="172" y="12"/>
                </a:cxn>
                <a:cxn ang="0">
                  <a:pos x="188" y="8"/>
                </a:cxn>
              </a:cxnLst>
              <a:rect l="0" t="0" r="r" b="b"/>
              <a:pathLst>
                <a:path w="311" h="355">
                  <a:moveTo>
                    <a:pt x="200" y="4"/>
                  </a:moveTo>
                  <a:lnTo>
                    <a:pt x="204" y="4"/>
                  </a:lnTo>
                  <a:lnTo>
                    <a:pt x="207" y="8"/>
                  </a:lnTo>
                  <a:lnTo>
                    <a:pt x="211" y="12"/>
                  </a:lnTo>
                  <a:lnTo>
                    <a:pt x="215" y="12"/>
                  </a:lnTo>
                  <a:lnTo>
                    <a:pt x="215" y="8"/>
                  </a:lnTo>
                  <a:lnTo>
                    <a:pt x="219" y="8"/>
                  </a:lnTo>
                  <a:lnTo>
                    <a:pt x="223" y="8"/>
                  </a:lnTo>
                  <a:lnTo>
                    <a:pt x="223" y="4"/>
                  </a:lnTo>
                  <a:lnTo>
                    <a:pt x="227" y="4"/>
                  </a:lnTo>
                  <a:lnTo>
                    <a:pt x="227" y="0"/>
                  </a:lnTo>
                  <a:lnTo>
                    <a:pt x="231" y="0"/>
                  </a:lnTo>
                  <a:lnTo>
                    <a:pt x="231" y="4"/>
                  </a:lnTo>
                  <a:lnTo>
                    <a:pt x="235" y="4"/>
                  </a:lnTo>
                  <a:lnTo>
                    <a:pt x="239" y="4"/>
                  </a:lnTo>
                  <a:lnTo>
                    <a:pt x="243" y="4"/>
                  </a:lnTo>
                  <a:lnTo>
                    <a:pt x="239" y="4"/>
                  </a:lnTo>
                  <a:lnTo>
                    <a:pt x="239" y="0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3" y="0"/>
                  </a:lnTo>
                  <a:lnTo>
                    <a:pt x="243" y="4"/>
                  </a:lnTo>
                  <a:lnTo>
                    <a:pt x="247" y="4"/>
                  </a:lnTo>
                  <a:lnTo>
                    <a:pt x="251" y="4"/>
                  </a:lnTo>
                  <a:lnTo>
                    <a:pt x="251" y="8"/>
                  </a:lnTo>
                  <a:lnTo>
                    <a:pt x="255" y="8"/>
                  </a:lnTo>
                  <a:lnTo>
                    <a:pt x="255" y="4"/>
                  </a:lnTo>
                  <a:lnTo>
                    <a:pt x="259" y="4"/>
                  </a:lnTo>
                  <a:lnTo>
                    <a:pt x="263" y="4"/>
                  </a:lnTo>
                  <a:lnTo>
                    <a:pt x="263" y="8"/>
                  </a:lnTo>
                  <a:lnTo>
                    <a:pt x="259" y="8"/>
                  </a:lnTo>
                  <a:lnTo>
                    <a:pt x="259" y="12"/>
                  </a:lnTo>
                  <a:lnTo>
                    <a:pt x="255" y="12"/>
                  </a:lnTo>
                  <a:lnTo>
                    <a:pt x="255" y="16"/>
                  </a:lnTo>
                  <a:lnTo>
                    <a:pt x="255" y="12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5" y="24"/>
                  </a:lnTo>
                  <a:lnTo>
                    <a:pt x="255" y="28"/>
                  </a:lnTo>
                  <a:lnTo>
                    <a:pt x="259" y="28"/>
                  </a:lnTo>
                  <a:lnTo>
                    <a:pt x="259" y="32"/>
                  </a:lnTo>
                  <a:lnTo>
                    <a:pt x="259" y="36"/>
                  </a:lnTo>
                  <a:lnTo>
                    <a:pt x="259" y="40"/>
                  </a:lnTo>
                  <a:lnTo>
                    <a:pt x="255" y="44"/>
                  </a:lnTo>
                  <a:lnTo>
                    <a:pt x="255" y="48"/>
                  </a:lnTo>
                  <a:lnTo>
                    <a:pt x="255" y="52"/>
                  </a:lnTo>
                  <a:lnTo>
                    <a:pt x="251" y="52"/>
                  </a:lnTo>
                  <a:lnTo>
                    <a:pt x="251" y="56"/>
                  </a:lnTo>
                  <a:lnTo>
                    <a:pt x="251" y="60"/>
                  </a:lnTo>
                  <a:lnTo>
                    <a:pt x="247" y="60"/>
                  </a:lnTo>
                  <a:lnTo>
                    <a:pt x="247" y="64"/>
                  </a:lnTo>
                  <a:lnTo>
                    <a:pt x="243" y="64"/>
                  </a:lnTo>
                  <a:lnTo>
                    <a:pt x="243" y="68"/>
                  </a:lnTo>
                  <a:lnTo>
                    <a:pt x="247" y="68"/>
                  </a:lnTo>
                  <a:lnTo>
                    <a:pt x="247" y="72"/>
                  </a:lnTo>
                  <a:lnTo>
                    <a:pt x="247" y="76"/>
                  </a:lnTo>
                  <a:lnTo>
                    <a:pt x="247" y="80"/>
                  </a:lnTo>
                  <a:lnTo>
                    <a:pt x="251" y="80"/>
                  </a:lnTo>
                  <a:lnTo>
                    <a:pt x="255" y="80"/>
                  </a:lnTo>
                  <a:lnTo>
                    <a:pt x="255" y="84"/>
                  </a:lnTo>
                  <a:lnTo>
                    <a:pt x="255" y="88"/>
                  </a:lnTo>
                  <a:lnTo>
                    <a:pt x="259" y="88"/>
                  </a:lnTo>
                  <a:lnTo>
                    <a:pt x="259" y="92"/>
                  </a:lnTo>
                  <a:lnTo>
                    <a:pt x="259" y="96"/>
                  </a:lnTo>
                  <a:lnTo>
                    <a:pt x="263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71" y="104"/>
                  </a:lnTo>
                  <a:lnTo>
                    <a:pt x="271" y="112"/>
                  </a:lnTo>
                  <a:lnTo>
                    <a:pt x="271" y="120"/>
                  </a:lnTo>
                  <a:lnTo>
                    <a:pt x="271" y="124"/>
                  </a:lnTo>
                  <a:lnTo>
                    <a:pt x="275" y="128"/>
                  </a:lnTo>
                  <a:lnTo>
                    <a:pt x="275" y="132"/>
                  </a:lnTo>
                  <a:lnTo>
                    <a:pt x="275" y="136"/>
                  </a:lnTo>
                  <a:lnTo>
                    <a:pt x="275" y="140"/>
                  </a:lnTo>
                  <a:lnTo>
                    <a:pt x="271" y="140"/>
                  </a:lnTo>
                  <a:lnTo>
                    <a:pt x="275" y="144"/>
                  </a:lnTo>
                  <a:lnTo>
                    <a:pt x="275" y="148"/>
                  </a:lnTo>
                  <a:lnTo>
                    <a:pt x="279" y="148"/>
                  </a:lnTo>
                  <a:lnTo>
                    <a:pt x="279" y="152"/>
                  </a:lnTo>
                  <a:lnTo>
                    <a:pt x="279" y="156"/>
                  </a:lnTo>
                  <a:lnTo>
                    <a:pt x="279" y="160"/>
                  </a:lnTo>
                  <a:lnTo>
                    <a:pt x="279" y="164"/>
                  </a:lnTo>
                  <a:lnTo>
                    <a:pt x="279" y="168"/>
                  </a:lnTo>
                  <a:lnTo>
                    <a:pt x="279" y="172"/>
                  </a:lnTo>
                  <a:lnTo>
                    <a:pt x="279" y="176"/>
                  </a:lnTo>
                  <a:lnTo>
                    <a:pt x="279" y="180"/>
                  </a:lnTo>
                  <a:lnTo>
                    <a:pt x="283" y="184"/>
                  </a:lnTo>
                  <a:lnTo>
                    <a:pt x="283" y="188"/>
                  </a:lnTo>
                  <a:lnTo>
                    <a:pt x="279" y="192"/>
                  </a:lnTo>
                  <a:lnTo>
                    <a:pt x="279" y="196"/>
                  </a:lnTo>
                  <a:lnTo>
                    <a:pt x="279" y="200"/>
                  </a:lnTo>
                  <a:lnTo>
                    <a:pt x="279" y="204"/>
                  </a:lnTo>
                  <a:lnTo>
                    <a:pt x="283" y="204"/>
                  </a:lnTo>
                  <a:lnTo>
                    <a:pt x="283" y="208"/>
                  </a:lnTo>
                  <a:lnTo>
                    <a:pt x="279" y="212"/>
                  </a:lnTo>
                  <a:lnTo>
                    <a:pt x="275" y="216"/>
                  </a:lnTo>
                  <a:lnTo>
                    <a:pt x="275" y="220"/>
                  </a:lnTo>
                  <a:lnTo>
                    <a:pt x="279" y="228"/>
                  </a:lnTo>
                  <a:lnTo>
                    <a:pt x="283" y="232"/>
                  </a:lnTo>
                  <a:lnTo>
                    <a:pt x="283" y="236"/>
                  </a:lnTo>
                  <a:lnTo>
                    <a:pt x="283" y="240"/>
                  </a:lnTo>
                  <a:lnTo>
                    <a:pt x="283" y="244"/>
                  </a:lnTo>
                  <a:lnTo>
                    <a:pt x="287" y="244"/>
                  </a:lnTo>
                  <a:lnTo>
                    <a:pt x="287" y="248"/>
                  </a:lnTo>
                  <a:lnTo>
                    <a:pt x="291" y="252"/>
                  </a:lnTo>
                  <a:lnTo>
                    <a:pt x="291" y="248"/>
                  </a:lnTo>
                  <a:lnTo>
                    <a:pt x="295" y="248"/>
                  </a:lnTo>
                  <a:lnTo>
                    <a:pt x="299" y="252"/>
                  </a:lnTo>
                  <a:lnTo>
                    <a:pt x="303" y="252"/>
                  </a:lnTo>
                  <a:lnTo>
                    <a:pt x="307" y="252"/>
                  </a:lnTo>
                  <a:lnTo>
                    <a:pt x="311" y="260"/>
                  </a:lnTo>
                  <a:lnTo>
                    <a:pt x="311" y="268"/>
                  </a:lnTo>
                  <a:lnTo>
                    <a:pt x="311" y="272"/>
                  </a:lnTo>
                  <a:lnTo>
                    <a:pt x="307" y="272"/>
                  </a:lnTo>
                  <a:lnTo>
                    <a:pt x="299" y="280"/>
                  </a:lnTo>
                  <a:lnTo>
                    <a:pt x="295" y="280"/>
                  </a:lnTo>
                  <a:lnTo>
                    <a:pt x="295" y="284"/>
                  </a:lnTo>
                  <a:lnTo>
                    <a:pt x="291" y="284"/>
                  </a:lnTo>
                  <a:lnTo>
                    <a:pt x="287" y="288"/>
                  </a:lnTo>
                  <a:lnTo>
                    <a:pt x="283" y="288"/>
                  </a:lnTo>
                  <a:lnTo>
                    <a:pt x="279" y="292"/>
                  </a:lnTo>
                  <a:lnTo>
                    <a:pt x="275" y="296"/>
                  </a:lnTo>
                  <a:lnTo>
                    <a:pt x="267" y="300"/>
                  </a:lnTo>
                  <a:lnTo>
                    <a:pt x="263" y="304"/>
                  </a:lnTo>
                  <a:lnTo>
                    <a:pt x="263" y="308"/>
                  </a:lnTo>
                  <a:lnTo>
                    <a:pt x="255" y="312"/>
                  </a:lnTo>
                  <a:lnTo>
                    <a:pt x="251" y="316"/>
                  </a:lnTo>
                  <a:lnTo>
                    <a:pt x="247" y="316"/>
                  </a:lnTo>
                  <a:lnTo>
                    <a:pt x="243" y="320"/>
                  </a:lnTo>
                  <a:lnTo>
                    <a:pt x="235" y="327"/>
                  </a:lnTo>
                  <a:lnTo>
                    <a:pt x="231" y="331"/>
                  </a:lnTo>
                  <a:lnTo>
                    <a:pt x="231" y="335"/>
                  </a:lnTo>
                  <a:lnTo>
                    <a:pt x="227" y="339"/>
                  </a:lnTo>
                  <a:lnTo>
                    <a:pt x="223" y="343"/>
                  </a:lnTo>
                  <a:lnTo>
                    <a:pt x="219" y="347"/>
                  </a:lnTo>
                  <a:lnTo>
                    <a:pt x="215" y="347"/>
                  </a:lnTo>
                  <a:lnTo>
                    <a:pt x="211" y="347"/>
                  </a:lnTo>
                  <a:lnTo>
                    <a:pt x="207" y="347"/>
                  </a:lnTo>
                  <a:lnTo>
                    <a:pt x="200" y="351"/>
                  </a:lnTo>
                  <a:lnTo>
                    <a:pt x="196" y="351"/>
                  </a:lnTo>
                  <a:lnTo>
                    <a:pt x="192" y="351"/>
                  </a:lnTo>
                  <a:lnTo>
                    <a:pt x="188" y="351"/>
                  </a:lnTo>
                  <a:lnTo>
                    <a:pt x="184" y="355"/>
                  </a:lnTo>
                  <a:lnTo>
                    <a:pt x="180" y="351"/>
                  </a:lnTo>
                  <a:lnTo>
                    <a:pt x="180" y="347"/>
                  </a:lnTo>
                  <a:lnTo>
                    <a:pt x="180" y="343"/>
                  </a:lnTo>
                  <a:lnTo>
                    <a:pt x="180" y="339"/>
                  </a:lnTo>
                  <a:lnTo>
                    <a:pt x="176" y="335"/>
                  </a:lnTo>
                  <a:lnTo>
                    <a:pt x="172" y="335"/>
                  </a:lnTo>
                  <a:lnTo>
                    <a:pt x="168" y="335"/>
                  </a:lnTo>
                  <a:lnTo>
                    <a:pt x="168" y="331"/>
                  </a:lnTo>
                  <a:lnTo>
                    <a:pt x="164" y="331"/>
                  </a:lnTo>
                  <a:lnTo>
                    <a:pt x="160" y="331"/>
                  </a:lnTo>
                  <a:lnTo>
                    <a:pt x="160" y="327"/>
                  </a:lnTo>
                  <a:lnTo>
                    <a:pt x="156" y="327"/>
                  </a:lnTo>
                  <a:lnTo>
                    <a:pt x="156" y="324"/>
                  </a:lnTo>
                  <a:lnTo>
                    <a:pt x="152" y="324"/>
                  </a:lnTo>
                  <a:lnTo>
                    <a:pt x="148" y="320"/>
                  </a:lnTo>
                  <a:lnTo>
                    <a:pt x="152" y="320"/>
                  </a:lnTo>
                  <a:lnTo>
                    <a:pt x="152" y="316"/>
                  </a:lnTo>
                  <a:lnTo>
                    <a:pt x="148" y="316"/>
                  </a:lnTo>
                  <a:lnTo>
                    <a:pt x="144" y="312"/>
                  </a:lnTo>
                  <a:lnTo>
                    <a:pt x="140" y="304"/>
                  </a:lnTo>
                  <a:lnTo>
                    <a:pt x="136" y="304"/>
                  </a:lnTo>
                  <a:lnTo>
                    <a:pt x="132" y="300"/>
                  </a:lnTo>
                  <a:lnTo>
                    <a:pt x="124" y="296"/>
                  </a:lnTo>
                  <a:lnTo>
                    <a:pt x="120" y="292"/>
                  </a:lnTo>
                  <a:lnTo>
                    <a:pt x="116" y="288"/>
                  </a:lnTo>
                  <a:lnTo>
                    <a:pt x="112" y="284"/>
                  </a:lnTo>
                  <a:lnTo>
                    <a:pt x="104" y="280"/>
                  </a:lnTo>
                  <a:lnTo>
                    <a:pt x="100" y="276"/>
                  </a:lnTo>
                  <a:lnTo>
                    <a:pt x="96" y="268"/>
                  </a:lnTo>
                  <a:lnTo>
                    <a:pt x="88" y="264"/>
                  </a:lnTo>
                  <a:lnTo>
                    <a:pt x="84" y="260"/>
                  </a:lnTo>
                  <a:lnTo>
                    <a:pt x="80" y="256"/>
                  </a:lnTo>
                  <a:lnTo>
                    <a:pt x="76" y="252"/>
                  </a:lnTo>
                  <a:lnTo>
                    <a:pt x="68" y="248"/>
                  </a:lnTo>
                  <a:lnTo>
                    <a:pt x="64" y="244"/>
                  </a:lnTo>
                  <a:lnTo>
                    <a:pt x="60" y="240"/>
                  </a:lnTo>
                  <a:lnTo>
                    <a:pt x="56" y="240"/>
                  </a:lnTo>
                  <a:lnTo>
                    <a:pt x="52" y="236"/>
                  </a:lnTo>
                  <a:lnTo>
                    <a:pt x="48" y="232"/>
                  </a:lnTo>
                  <a:lnTo>
                    <a:pt x="44" y="228"/>
                  </a:lnTo>
                  <a:lnTo>
                    <a:pt x="36" y="224"/>
                  </a:lnTo>
                  <a:lnTo>
                    <a:pt x="32" y="220"/>
                  </a:lnTo>
                  <a:lnTo>
                    <a:pt x="28" y="216"/>
                  </a:lnTo>
                  <a:lnTo>
                    <a:pt x="24" y="216"/>
                  </a:lnTo>
                  <a:lnTo>
                    <a:pt x="24" y="212"/>
                  </a:lnTo>
                  <a:lnTo>
                    <a:pt x="20" y="212"/>
                  </a:lnTo>
                  <a:lnTo>
                    <a:pt x="16" y="208"/>
                  </a:lnTo>
                  <a:lnTo>
                    <a:pt x="8" y="204"/>
                  </a:lnTo>
                  <a:lnTo>
                    <a:pt x="8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0" y="168"/>
                  </a:lnTo>
                  <a:lnTo>
                    <a:pt x="4" y="168"/>
                  </a:lnTo>
                  <a:lnTo>
                    <a:pt x="4" y="164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32" y="152"/>
                  </a:lnTo>
                  <a:lnTo>
                    <a:pt x="32" y="148"/>
                  </a:lnTo>
                  <a:lnTo>
                    <a:pt x="36" y="148"/>
                  </a:lnTo>
                  <a:lnTo>
                    <a:pt x="40" y="148"/>
                  </a:lnTo>
                  <a:lnTo>
                    <a:pt x="44" y="148"/>
                  </a:lnTo>
                  <a:lnTo>
                    <a:pt x="44" y="144"/>
                  </a:lnTo>
                  <a:lnTo>
                    <a:pt x="48" y="144"/>
                  </a:lnTo>
                  <a:lnTo>
                    <a:pt x="52" y="144"/>
                  </a:lnTo>
                  <a:lnTo>
                    <a:pt x="52" y="140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6" y="132"/>
                  </a:lnTo>
                  <a:lnTo>
                    <a:pt x="60" y="132"/>
                  </a:lnTo>
                  <a:lnTo>
                    <a:pt x="64" y="132"/>
                  </a:lnTo>
                  <a:lnTo>
                    <a:pt x="68" y="128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72" y="116"/>
                  </a:lnTo>
                  <a:lnTo>
                    <a:pt x="72" y="112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84" y="108"/>
                  </a:lnTo>
                  <a:lnTo>
                    <a:pt x="88" y="108"/>
                  </a:lnTo>
                  <a:lnTo>
                    <a:pt x="88" y="104"/>
                  </a:lnTo>
                  <a:lnTo>
                    <a:pt x="96" y="100"/>
                  </a:lnTo>
                  <a:lnTo>
                    <a:pt x="100" y="100"/>
                  </a:lnTo>
                  <a:lnTo>
                    <a:pt x="104" y="100"/>
                  </a:lnTo>
                  <a:lnTo>
                    <a:pt x="108" y="100"/>
                  </a:lnTo>
                  <a:lnTo>
                    <a:pt x="112" y="100"/>
                  </a:lnTo>
                  <a:lnTo>
                    <a:pt x="112" y="104"/>
                  </a:lnTo>
                  <a:lnTo>
                    <a:pt x="116" y="100"/>
                  </a:lnTo>
                  <a:lnTo>
                    <a:pt x="112" y="100"/>
                  </a:lnTo>
                  <a:lnTo>
                    <a:pt x="112" y="96"/>
                  </a:lnTo>
                  <a:lnTo>
                    <a:pt x="116" y="96"/>
                  </a:lnTo>
                  <a:lnTo>
                    <a:pt x="116" y="92"/>
                  </a:lnTo>
                  <a:lnTo>
                    <a:pt x="112" y="92"/>
                  </a:lnTo>
                  <a:lnTo>
                    <a:pt x="112" y="88"/>
                  </a:lnTo>
                  <a:lnTo>
                    <a:pt x="108" y="84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8" y="72"/>
                  </a:lnTo>
                  <a:lnTo>
                    <a:pt x="104" y="68"/>
                  </a:lnTo>
                  <a:lnTo>
                    <a:pt x="108" y="68"/>
                  </a:lnTo>
                  <a:lnTo>
                    <a:pt x="108" y="64"/>
                  </a:lnTo>
                  <a:lnTo>
                    <a:pt x="104" y="60"/>
                  </a:lnTo>
                  <a:lnTo>
                    <a:pt x="104" y="56"/>
                  </a:lnTo>
                  <a:lnTo>
                    <a:pt x="108" y="56"/>
                  </a:lnTo>
                  <a:lnTo>
                    <a:pt x="104" y="56"/>
                  </a:lnTo>
                  <a:lnTo>
                    <a:pt x="104" y="52"/>
                  </a:lnTo>
                  <a:lnTo>
                    <a:pt x="104" y="48"/>
                  </a:lnTo>
                  <a:lnTo>
                    <a:pt x="100" y="44"/>
                  </a:lnTo>
                  <a:lnTo>
                    <a:pt x="104" y="44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36"/>
                  </a:lnTo>
                  <a:lnTo>
                    <a:pt x="112" y="36"/>
                  </a:lnTo>
                  <a:lnTo>
                    <a:pt x="112" y="32"/>
                  </a:lnTo>
                  <a:lnTo>
                    <a:pt x="116" y="32"/>
                  </a:lnTo>
                  <a:lnTo>
                    <a:pt x="120" y="28"/>
                  </a:lnTo>
                  <a:lnTo>
                    <a:pt x="124" y="28"/>
                  </a:lnTo>
                  <a:lnTo>
                    <a:pt x="128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24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2"/>
                  </a:lnTo>
                  <a:lnTo>
                    <a:pt x="152" y="12"/>
                  </a:lnTo>
                  <a:lnTo>
                    <a:pt x="156" y="12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200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8" name="Freeform 118">
              <a:extLst>
                <a:ext uri="{FF2B5EF4-FFF2-40B4-BE49-F238E27FC236}">
                  <a16:creationId xmlns:a16="http://schemas.microsoft.com/office/drawing/2014/main" id="{F8C663D9-4084-3440-A6CE-7271483FE5B6}"/>
                </a:ext>
              </a:extLst>
            </p:cNvPr>
            <p:cNvSpPr>
              <a:spLocks noEditPoints="1"/>
            </p:cNvSpPr>
            <p:nvPr>
              <p:custDataLst>
                <p:tags r:id="rId38"/>
              </p:custDataLst>
            </p:nvPr>
          </p:nvSpPr>
          <p:spPr bwMode="gray">
            <a:xfrm>
              <a:off x="4018672" y="6067771"/>
              <a:ext cx="231951" cy="317672"/>
            </a:xfrm>
            <a:custGeom>
              <a:avLst/>
              <a:gdLst/>
              <a:ahLst/>
              <a:cxnLst>
                <a:cxn ang="0">
                  <a:pos x="12" y="12"/>
                </a:cxn>
                <a:cxn ang="0">
                  <a:pos x="4" y="24"/>
                </a:cxn>
                <a:cxn ang="0">
                  <a:pos x="4" y="8"/>
                </a:cxn>
                <a:cxn ang="0">
                  <a:pos x="16" y="0"/>
                </a:cxn>
                <a:cxn ang="0">
                  <a:pos x="172" y="244"/>
                </a:cxn>
                <a:cxn ang="0">
                  <a:pos x="152" y="248"/>
                </a:cxn>
                <a:cxn ang="0">
                  <a:pos x="136" y="252"/>
                </a:cxn>
                <a:cxn ang="0">
                  <a:pos x="124" y="248"/>
                </a:cxn>
                <a:cxn ang="0">
                  <a:pos x="108" y="248"/>
                </a:cxn>
                <a:cxn ang="0">
                  <a:pos x="96" y="240"/>
                </a:cxn>
                <a:cxn ang="0">
                  <a:pos x="72" y="240"/>
                </a:cxn>
                <a:cxn ang="0">
                  <a:pos x="44" y="240"/>
                </a:cxn>
                <a:cxn ang="0">
                  <a:pos x="32" y="236"/>
                </a:cxn>
                <a:cxn ang="0">
                  <a:pos x="16" y="232"/>
                </a:cxn>
                <a:cxn ang="0">
                  <a:pos x="0" y="236"/>
                </a:cxn>
                <a:cxn ang="0">
                  <a:pos x="0" y="220"/>
                </a:cxn>
                <a:cxn ang="0">
                  <a:pos x="4" y="204"/>
                </a:cxn>
                <a:cxn ang="0">
                  <a:pos x="8" y="188"/>
                </a:cxn>
                <a:cxn ang="0">
                  <a:pos x="8" y="172"/>
                </a:cxn>
                <a:cxn ang="0">
                  <a:pos x="12" y="160"/>
                </a:cxn>
                <a:cxn ang="0">
                  <a:pos x="20" y="152"/>
                </a:cxn>
                <a:cxn ang="0">
                  <a:pos x="24" y="144"/>
                </a:cxn>
                <a:cxn ang="0">
                  <a:pos x="28" y="132"/>
                </a:cxn>
                <a:cxn ang="0">
                  <a:pos x="28" y="116"/>
                </a:cxn>
                <a:cxn ang="0">
                  <a:pos x="24" y="100"/>
                </a:cxn>
                <a:cxn ang="0">
                  <a:pos x="20" y="88"/>
                </a:cxn>
                <a:cxn ang="0">
                  <a:pos x="16" y="84"/>
                </a:cxn>
                <a:cxn ang="0">
                  <a:pos x="24" y="76"/>
                </a:cxn>
                <a:cxn ang="0">
                  <a:pos x="20" y="64"/>
                </a:cxn>
                <a:cxn ang="0">
                  <a:pos x="16" y="48"/>
                </a:cxn>
                <a:cxn ang="0">
                  <a:pos x="8" y="36"/>
                </a:cxn>
                <a:cxn ang="0">
                  <a:pos x="12" y="28"/>
                </a:cxn>
                <a:cxn ang="0">
                  <a:pos x="20" y="28"/>
                </a:cxn>
                <a:cxn ang="0">
                  <a:pos x="32" y="24"/>
                </a:cxn>
                <a:cxn ang="0">
                  <a:pos x="44" y="24"/>
                </a:cxn>
                <a:cxn ang="0">
                  <a:pos x="68" y="24"/>
                </a:cxn>
                <a:cxn ang="0">
                  <a:pos x="72" y="36"/>
                </a:cxn>
                <a:cxn ang="0">
                  <a:pos x="76" y="52"/>
                </a:cxn>
                <a:cxn ang="0">
                  <a:pos x="84" y="64"/>
                </a:cxn>
                <a:cxn ang="0">
                  <a:pos x="92" y="68"/>
                </a:cxn>
                <a:cxn ang="0">
                  <a:pos x="104" y="64"/>
                </a:cxn>
                <a:cxn ang="0">
                  <a:pos x="112" y="60"/>
                </a:cxn>
                <a:cxn ang="0">
                  <a:pos x="116" y="48"/>
                </a:cxn>
                <a:cxn ang="0">
                  <a:pos x="132" y="44"/>
                </a:cxn>
                <a:cxn ang="0">
                  <a:pos x="148" y="52"/>
                </a:cxn>
                <a:cxn ang="0">
                  <a:pos x="152" y="64"/>
                </a:cxn>
                <a:cxn ang="0">
                  <a:pos x="152" y="80"/>
                </a:cxn>
                <a:cxn ang="0">
                  <a:pos x="152" y="96"/>
                </a:cxn>
                <a:cxn ang="0">
                  <a:pos x="160" y="112"/>
                </a:cxn>
                <a:cxn ang="0">
                  <a:pos x="156" y="124"/>
                </a:cxn>
                <a:cxn ang="0">
                  <a:pos x="168" y="120"/>
                </a:cxn>
                <a:cxn ang="0">
                  <a:pos x="184" y="120"/>
                </a:cxn>
                <a:cxn ang="0">
                  <a:pos x="184" y="128"/>
                </a:cxn>
                <a:cxn ang="0">
                  <a:pos x="184" y="148"/>
                </a:cxn>
                <a:cxn ang="0">
                  <a:pos x="176" y="156"/>
                </a:cxn>
                <a:cxn ang="0">
                  <a:pos x="152" y="156"/>
                </a:cxn>
                <a:cxn ang="0">
                  <a:pos x="152" y="184"/>
                </a:cxn>
                <a:cxn ang="0">
                  <a:pos x="152" y="212"/>
                </a:cxn>
                <a:cxn ang="0">
                  <a:pos x="156" y="224"/>
                </a:cxn>
                <a:cxn ang="0">
                  <a:pos x="172" y="240"/>
                </a:cxn>
              </a:cxnLst>
              <a:rect l="0" t="0" r="r" b="b"/>
              <a:pathLst>
                <a:path w="184" h="252">
                  <a:moveTo>
                    <a:pt x="20" y="4"/>
                  </a:moveTo>
                  <a:lnTo>
                    <a:pt x="16" y="4"/>
                  </a:lnTo>
                  <a:lnTo>
                    <a:pt x="12" y="8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20" y="4"/>
                  </a:lnTo>
                  <a:close/>
                  <a:moveTo>
                    <a:pt x="176" y="244"/>
                  </a:moveTo>
                  <a:lnTo>
                    <a:pt x="172" y="244"/>
                  </a:lnTo>
                  <a:lnTo>
                    <a:pt x="168" y="244"/>
                  </a:lnTo>
                  <a:lnTo>
                    <a:pt x="164" y="248"/>
                  </a:lnTo>
                  <a:lnTo>
                    <a:pt x="160" y="248"/>
                  </a:lnTo>
                  <a:lnTo>
                    <a:pt x="152" y="248"/>
                  </a:lnTo>
                  <a:lnTo>
                    <a:pt x="144" y="252"/>
                  </a:lnTo>
                  <a:lnTo>
                    <a:pt x="144" y="248"/>
                  </a:lnTo>
                  <a:lnTo>
                    <a:pt x="140" y="248"/>
                  </a:lnTo>
                  <a:lnTo>
                    <a:pt x="136" y="252"/>
                  </a:lnTo>
                  <a:lnTo>
                    <a:pt x="132" y="252"/>
                  </a:lnTo>
                  <a:lnTo>
                    <a:pt x="132" y="248"/>
                  </a:lnTo>
                  <a:lnTo>
                    <a:pt x="128" y="248"/>
                  </a:lnTo>
                  <a:lnTo>
                    <a:pt x="124" y="248"/>
                  </a:lnTo>
                  <a:lnTo>
                    <a:pt x="120" y="248"/>
                  </a:lnTo>
                  <a:lnTo>
                    <a:pt x="116" y="248"/>
                  </a:lnTo>
                  <a:lnTo>
                    <a:pt x="112" y="248"/>
                  </a:lnTo>
                  <a:lnTo>
                    <a:pt x="108" y="248"/>
                  </a:lnTo>
                  <a:lnTo>
                    <a:pt x="104" y="248"/>
                  </a:lnTo>
                  <a:lnTo>
                    <a:pt x="104" y="244"/>
                  </a:lnTo>
                  <a:lnTo>
                    <a:pt x="100" y="240"/>
                  </a:lnTo>
                  <a:lnTo>
                    <a:pt x="96" y="240"/>
                  </a:lnTo>
                  <a:lnTo>
                    <a:pt x="92" y="240"/>
                  </a:lnTo>
                  <a:lnTo>
                    <a:pt x="88" y="240"/>
                  </a:lnTo>
                  <a:lnTo>
                    <a:pt x="84" y="240"/>
                  </a:lnTo>
                  <a:lnTo>
                    <a:pt x="72" y="240"/>
                  </a:lnTo>
                  <a:lnTo>
                    <a:pt x="64" y="240"/>
                  </a:lnTo>
                  <a:lnTo>
                    <a:pt x="56" y="240"/>
                  </a:lnTo>
                  <a:lnTo>
                    <a:pt x="48" y="240"/>
                  </a:lnTo>
                  <a:lnTo>
                    <a:pt x="44" y="240"/>
                  </a:lnTo>
                  <a:lnTo>
                    <a:pt x="40" y="240"/>
                  </a:lnTo>
                  <a:lnTo>
                    <a:pt x="36" y="240"/>
                  </a:lnTo>
                  <a:lnTo>
                    <a:pt x="32" y="240"/>
                  </a:lnTo>
                  <a:lnTo>
                    <a:pt x="32" y="236"/>
                  </a:lnTo>
                  <a:lnTo>
                    <a:pt x="28" y="236"/>
                  </a:lnTo>
                  <a:lnTo>
                    <a:pt x="24" y="232"/>
                  </a:lnTo>
                  <a:lnTo>
                    <a:pt x="20" y="232"/>
                  </a:lnTo>
                  <a:lnTo>
                    <a:pt x="16" y="232"/>
                  </a:lnTo>
                  <a:lnTo>
                    <a:pt x="12" y="236"/>
                  </a:lnTo>
                  <a:lnTo>
                    <a:pt x="8" y="236"/>
                  </a:lnTo>
                  <a:lnTo>
                    <a:pt x="4" y="236"/>
                  </a:lnTo>
                  <a:lnTo>
                    <a:pt x="0" y="236"/>
                  </a:lnTo>
                  <a:lnTo>
                    <a:pt x="0" y="232"/>
                  </a:lnTo>
                  <a:lnTo>
                    <a:pt x="0" y="228"/>
                  </a:lnTo>
                  <a:lnTo>
                    <a:pt x="0" y="224"/>
                  </a:lnTo>
                  <a:lnTo>
                    <a:pt x="0" y="220"/>
                  </a:lnTo>
                  <a:lnTo>
                    <a:pt x="0" y="216"/>
                  </a:lnTo>
                  <a:lnTo>
                    <a:pt x="0" y="212"/>
                  </a:lnTo>
                  <a:lnTo>
                    <a:pt x="0" y="208"/>
                  </a:lnTo>
                  <a:lnTo>
                    <a:pt x="4" y="204"/>
                  </a:lnTo>
                  <a:lnTo>
                    <a:pt x="4" y="200"/>
                  </a:lnTo>
                  <a:lnTo>
                    <a:pt x="4" y="196"/>
                  </a:lnTo>
                  <a:lnTo>
                    <a:pt x="4" y="192"/>
                  </a:lnTo>
                  <a:lnTo>
                    <a:pt x="8" y="188"/>
                  </a:lnTo>
                  <a:lnTo>
                    <a:pt x="8" y="184"/>
                  </a:lnTo>
                  <a:lnTo>
                    <a:pt x="8" y="180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68"/>
                  </a:lnTo>
                  <a:lnTo>
                    <a:pt x="8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16" y="152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20" y="152"/>
                  </a:lnTo>
                  <a:lnTo>
                    <a:pt x="24" y="148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8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32" y="120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0" y="68"/>
                  </a:lnTo>
                  <a:lnTo>
                    <a:pt x="20" y="64"/>
                  </a:lnTo>
                  <a:lnTo>
                    <a:pt x="20" y="60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60" y="24"/>
                  </a:lnTo>
                  <a:lnTo>
                    <a:pt x="64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2" y="36"/>
                  </a:lnTo>
                  <a:lnTo>
                    <a:pt x="76" y="40"/>
                  </a:lnTo>
                  <a:lnTo>
                    <a:pt x="76" y="44"/>
                  </a:lnTo>
                  <a:lnTo>
                    <a:pt x="76" y="48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4" y="60"/>
                  </a:lnTo>
                  <a:lnTo>
                    <a:pt x="84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100" y="64"/>
                  </a:lnTo>
                  <a:lnTo>
                    <a:pt x="104" y="64"/>
                  </a:lnTo>
                  <a:lnTo>
                    <a:pt x="108" y="64"/>
                  </a:lnTo>
                  <a:lnTo>
                    <a:pt x="116" y="64"/>
                  </a:lnTo>
                  <a:lnTo>
                    <a:pt x="112" y="64"/>
                  </a:lnTo>
                  <a:lnTo>
                    <a:pt x="112" y="60"/>
                  </a:lnTo>
                  <a:lnTo>
                    <a:pt x="116" y="60"/>
                  </a:lnTo>
                  <a:lnTo>
                    <a:pt x="116" y="56"/>
                  </a:lnTo>
                  <a:lnTo>
                    <a:pt x="116" y="52"/>
                  </a:lnTo>
                  <a:lnTo>
                    <a:pt x="116" y="48"/>
                  </a:lnTo>
                  <a:lnTo>
                    <a:pt x="124" y="48"/>
                  </a:lnTo>
                  <a:lnTo>
                    <a:pt x="128" y="48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2" y="52"/>
                  </a:lnTo>
                  <a:lnTo>
                    <a:pt x="140" y="52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2" y="56"/>
                  </a:lnTo>
                  <a:lnTo>
                    <a:pt x="152" y="60"/>
                  </a:lnTo>
                  <a:lnTo>
                    <a:pt x="152" y="64"/>
                  </a:lnTo>
                  <a:lnTo>
                    <a:pt x="152" y="68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52" y="80"/>
                  </a:lnTo>
                  <a:lnTo>
                    <a:pt x="152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56" y="100"/>
                  </a:lnTo>
                  <a:lnTo>
                    <a:pt x="156" y="104"/>
                  </a:lnTo>
                  <a:lnTo>
                    <a:pt x="160" y="108"/>
                  </a:lnTo>
                  <a:lnTo>
                    <a:pt x="160" y="112"/>
                  </a:lnTo>
                  <a:lnTo>
                    <a:pt x="160" y="116"/>
                  </a:lnTo>
                  <a:lnTo>
                    <a:pt x="156" y="116"/>
                  </a:lnTo>
                  <a:lnTo>
                    <a:pt x="156" y="120"/>
                  </a:lnTo>
                  <a:lnTo>
                    <a:pt x="156" y="124"/>
                  </a:lnTo>
                  <a:lnTo>
                    <a:pt x="160" y="124"/>
                  </a:lnTo>
                  <a:lnTo>
                    <a:pt x="160" y="120"/>
                  </a:lnTo>
                  <a:lnTo>
                    <a:pt x="164" y="120"/>
                  </a:lnTo>
                  <a:lnTo>
                    <a:pt x="168" y="120"/>
                  </a:lnTo>
                  <a:lnTo>
                    <a:pt x="172" y="120"/>
                  </a:lnTo>
                  <a:lnTo>
                    <a:pt x="176" y="120"/>
                  </a:lnTo>
                  <a:lnTo>
                    <a:pt x="180" y="120"/>
                  </a:lnTo>
                  <a:lnTo>
                    <a:pt x="184" y="120"/>
                  </a:lnTo>
                  <a:lnTo>
                    <a:pt x="184" y="116"/>
                  </a:lnTo>
                  <a:lnTo>
                    <a:pt x="184" y="120"/>
                  </a:lnTo>
                  <a:lnTo>
                    <a:pt x="184" y="124"/>
                  </a:lnTo>
                  <a:lnTo>
                    <a:pt x="184" y="128"/>
                  </a:lnTo>
                  <a:lnTo>
                    <a:pt x="184" y="132"/>
                  </a:lnTo>
                  <a:lnTo>
                    <a:pt x="184" y="136"/>
                  </a:lnTo>
                  <a:lnTo>
                    <a:pt x="184" y="144"/>
                  </a:lnTo>
                  <a:lnTo>
                    <a:pt x="184" y="148"/>
                  </a:lnTo>
                  <a:lnTo>
                    <a:pt x="184" y="152"/>
                  </a:lnTo>
                  <a:lnTo>
                    <a:pt x="184" y="156"/>
                  </a:lnTo>
                  <a:lnTo>
                    <a:pt x="180" y="156"/>
                  </a:lnTo>
                  <a:lnTo>
                    <a:pt x="176" y="156"/>
                  </a:lnTo>
                  <a:lnTo>
                    <a:pt x="172" y="156"/>
                  </a:lnTo>
                  <a:lnTo>
                    <a:pt x="168" y="156"/>
                  </a:lnTo>
                  <a:lnTo>
                    <a:pt x="160" y="156"/>
                  </a:lnTo>
                  <a:lnTo>
                    <a:pt x="152" y="156"/>
                  </a:lnTo>
                  <a:lnTo>
                    <a:pt x="152" y="164"/>
                  </a:lnTo>
                  <a:lnTo>
                    <a:pt x="152" y="172"/>
                  </a:lnTo>
                  <a:lnTo>
                    <a:pt x="152" y="176"/>
                  </a:lnTo>
                  <a:lnTo>
                    <a:pt x="152" y="184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204"/>
                  </a:lnTo>
                  <a:lnTo>
                    <a:pt x="152" y="212"/>
                  </a:lnTo>
                  <a:lnTo>
                    <a:pt x="152" y="216"/>
                  </a:lnTo>
                  <a:lnTo>
                    <a:pt x="156" y="216"/>
                  </a:lnTo>
                  <a:lnTo>
                    <a:pt x="156" y="220"/>
                  </a:lnTo>
                  <a:lnTo>
                    <a:pt x="156" y="224"/>
                  </a:lnTo>
                  <a:lnTo>
                    <a:pt x="160" y="224"/>
                  </a:lnTo>
                  <a:lnTo>
                    <a:pt x="160" y="228"/>
                  </a:lnTo>
                  <a:lnTo>
                    <a:pt x="164" y="232"/>
                  </a:lnTo>
                  <a:lnTo>
                    <a:pt x="172" y="240"/>
                  </a:lnTo>
                  <a:lnTo>
                    <a:pt x="176" y="2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49" name="Freeform 119">
              <a:extLst>
                <a:ext uri="{FF2B5EF4-FFF2-40B4-BE49-F238E27FC236}">
                  <a16:creationId xmlns:a16="http://schemas.microsoft.com/office/drawing/2014/main" id="{C98FBB53-A3C3-C04F-9C53-1E381B8237E6}"/>
                </a:ext>
              </a:extLst>
            </p:cNvPr>
            <p:cNvSpPr>
              <a:spLocks/>
            </p:cNvSpPr>
            <p:nvPr>
              <p:custDataLst>
                <p:tags r:id="rId39"/>
              </p:custDataLst>
            </p:nvPr>
          </p:nvSpPr>
          <p:spPr bwMode="gray">
            <a:xfrm>
              <a:off x="3808151" y="5675723"/>
              <a:ext cx="60509" cy="146230"/>
            </a:xfrm>
            <a:custGeom>
              <a:avLst/>
              <a:gdLst/>
              <a:ahLst/>
              <a:cxnLst>
                <a:cxn ang="0">
                  <a:pos x="32" y="96"/>
                </a:cxn>
                <a:cxn ang="0">
                  <a:pos x="28" y="104"/>
                </a:cxn>
                <a:cxn ang="0">
                  <a:pos x="28" y="112"/>
                </a:cxn>
                <a:cxn ang="0">
                  <a:pos x="28" y="112"/>
                </a:cxn>
                <a:cxn ang="0">
                  <a:pos x="24" y="112"/>
                </a:cxn>
                <a:cxn ang="0">
                  <a:pos x="20" y="116"/>
                </a:cxn>
                <a:cxn ang="0">
                  <a:pos x="12" y="116"/>
                </a:cxn>
                <a:cxn ang="0">
                  <a:pos x="12" y="116"/>
                </a:cxn>
                <a:cxn ang="0">
                  <a:pos x="16" y="116"/>
                </a:cxn>
                <a:cxn ang="0">
                  <a:pos x="12" y="108"/>
                </a:cxn>
                <a:cxn ang="0">
                  <a:pos x="12" y="108"/>
                </a:cxn>
                <a:cxn ang="0">
                  <a:pos x="12" y="104"/>
                </a:cxn>
                <a:cxn ang="0">
                  <a:pos x="12" y="96"/>
                </a:cxn>
                <a:cxn ang="0">
                  <a:pos x="12" y="92"/>
                </a:cxn>
                <a:cxn ang="0">
                  <a:pos x="12" y="84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8" y="60"/>
                </a:cxn>
                <a:cxn ang="0">
                  <a:pos x="8" y="56"/>
                </a:cxn>
                <a:cxn ang="0">
                  <a:pos x="8" y="52"/>
                </a:cxn>
                <a:cxn ang="0">
                  <a:pos x="8" y="44"/>
                </a:cxn>
                <a:cxn ang="0">
                  <a:pos x="0" y="40"/>
                </a:cxn>
                <a:cxn ang="0">
                  <a:pos x="0" y="36"/>
                </a:cxn>
                <a:cxn ang="0">
                  <a:pos x="0" y="32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8" y="20"/>
                </a:cxn>
                <a:cxn ang="0">
                  <a:pos x="8" y="20"/>
                </a:cxn>
                <a:cxn ang="0">
                  <a:pos x="12" y="20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16"/>
                </a:cxn>
                <a:cxn ang="0">
                  <a:pos x="24" y="12"/>
                </a:cxn>
                <a:cxn ang="0">
                  <a:pos x="24" y="8"/>
                </a:cxn>
                <a:cxn ang="0">
                  <a:pos x="28" y="4"/>
                </a:cxn>
                <a:cxn ang="0">
                  <a:pos x="32" y="0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44" y="16"/>
                </a:cxn>
                <a:cxn ang="0">
                  <a:pos x="44" y="24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8" y="32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44"/>
                </a:cxn>
                <a:cxn ang="0">
                  <a:pos x="40" y="48"/>
                </a:cxn>
                <a:cxn ang="0">
                  <a:pos x="40" y="52"/>
                </a:cxn>
                <a:cxn ang="0">
                  <a:pos x="36" y="56"/>
                </a:cxn>
                <a:cxn ang="0">
                  <a:pos x="36" y="60"/>
                </a:cxn>
                <a:cxn ang="0">
                  <a:pos x="32" y="64"/>
                </a:cxn>
                <a:cxn ang="0">
                  <a:pos x="32" y="64"/>
                </a:cxn>
                <a:cxn ang="0">
                  <a:pos x="28" y="72"/>
                </a:cxn>
                <a:cxn ang="0">
                  <a:pos x="28" y="76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8"/>
                </a:cxn>
              </a:cxnLst>
              <a:rect l="0" t="0" r="r" b="b"/>
              <a:pathLst>
                <a:path w="48" h="116">
                  <a:moveTo>
                    <a:pt x="28" y="88"/>
                  </a:moveTo>
                  <a:lnTo>
                    <a:pt x="28" y="88"/>
                  </a:lnTo>
                  <a:lnTo>
                    <a:pt x="28" y="92"/>
                  </a:lnTo>
                  <a:lnTo>
                    <a:pt x="32" y="96"/>
                  </a:lnTo>
                  <a:lnTo>
                    <a:pt x="32" y="100"/>
                  </a:lnTo>
                  <a:lnTo>
                    <a:pt x="28" y="100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4"/>
                  </a:lnTo>
                  <a:lnTo>
                    <a:pt x="44" y="48"/>
                  </a:lnTo>
                  <a:lnTo>
                    <a:pt x="44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48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lnTo>
                    <a:pt x="28" y="8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0" name="Freeform 120">
              <a:extLst>
                <a:ext uri="{FF2B5EF4-FFF2-40B4-BE49-F238E27FC236}">
                  <a16:creationId xmlns:a16="http://schemas.microsoft.com/office/drawing/2014/main" id="{91C055C8-CE58-7B49-9E2F-82FE2F88121E}"/>
                </a:ext>
              </a:extLst>
            </p:cNvPr>
            <p:cNvSpPr>
              <a:spLocks/>
            </p:cNvSpPr>
            <p:nvPr>
              <p:custDataLst>
                <p:tags r:id="rId40"/>
              </p:custDataLst>
            </p:nvPr>
          </p:nvSpPr>
          <p:spPr bwMode="gray">
            <a:xfrm>
              <a:off x="4174987" y="6380401"/>
              <a:ext cx="175224" cy="215563"/>
            </a:xfrm>
            <a:custGeom>
              <a:avLst/>
              <a:gdLst/>
              <a:ahLst/>
              <a:cxnLst>
                <a:cxn ang="0">
                  <a:pos x="88" y="132"/>
                </a:cxn>
                <a:cxn ang="0">
                  <a:pos x="84" y="144"/>
                </a:cxn>
                <a:cxn ang="0">
                  <a:pos x="80" y="152"/>
                </a:cxn>
                <a:cxn ang="0">
                  <a:pos x="72" y="152"/>
                </a:cxn>
                <a:cxn ang="0">
                  <a:pos x="68" y="148"/>
                </a:cxn>
                <a:cxn ang="0">
                  <a:pos x="64" y="148"/>
                </a:cxn>
                <a:cxn ang="0">
                  <a:pos x="56" y="144"/>
                </a:cxn>
                <a:cxn ang="0">
                  <a:pos x="48" y="140"/>
                </a:cxn>
                <a:cxn ang="0">
                  <a:pos x="44" y="148"/>
                </a:cxn>
                <a:cxn ang="0">
                  <a:pos x="40" y="156"/>
                </a:cxn>
                <a:cxn ang="0">
                  <a:pos x="32" y="163"/>
                </a:cxn>
                <a:cxn ang="0">
                  <a:pos x="28" y="167"/>
                </a:cxn>
                <a:cxn ang="0">
                  <a:pos x="28" y="171"/>
                </a:cxn>
                <a:cxn ang="0">
                  <a:pos x="20" y="171"/>
                </a:cxn>
                <a:cxn ang="0">
                  <a:pos x="16" y="171"/>
                </a:cxn>
                <a:cxn ang="0">
                  <a:pos x="12" y="171"/>
                </a:cxn>
                <a:cxn ang="0">
                  <a:pos x="8" y="163"/>
                </a:cxn>
                <a:cxn ang="0">
                  <a:pos x="12" y="160"/>
                </a:cxn>
                <a:cxn ang="0">
                  <a:pos x="8" y="148"/>
                </a:cxn>
                <a:cxn ang="0">
                  <a:pos x="4" y="136"/>
                </a:cxn>
                <a:cxn ang="0">
                  <a:pos x="0" y="132"/>
                </a:cxn>
                <a:cxn ang="0">
                  <a:pos x="0" y="112"/>
                </a:cxn>
                <a:cxn ang="0">
                  <a:pos x="0" y="96"/>
                </a:cxn>
                <a:cxn ang="0">
                  <a:pos x="0" y="80"/>
                </a:cxn>
                <a:cxn ang="0">
                  <a:pos x="16" y="72"/>
                </a:cxn>
                <a:cxn ang="0">
                  <a:pos x="16" y="24"/>
                </a:cxn>
                <a:cxn ang="0">
                  <a:pos x="28" y="8"/>
                </a:cxn>
                <a:cxn ang="0">
                  <a:pos x="48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0" y="8"/>
                </a:cxn>
                <a:cxn ang="0">
                  <a:pos x="68" y="4"/>
                </a:cxn>
                <a:cxn ang="0">
                  <a:pos x="72" y="0"/>
                </a:cxn>
                <a:cxn ang="0">
                  <a:pos x="80" y="0"/>
                </a:cxn>
                <a:cxn ang="0">
                  <a:pos x="80" y="4"/>
                </a:cxn>
                <a:cxn ang="0">
                  <a:pos x="84" y="8"/>
                </a:cxn>
                <a:cxn ang="0">
                  <a:pos x="88" y="20"/>
                </a:cxn>
                <a:cxn ang="0">
                  <a:pos x="92" y="24"/>
                </a:cxn>
                <a:cxn ang="0">
                  <a:pos x="96" y="32"/>
                </a:cxn>
                <a:cxn ang="0">
                  <a:pos x="100" y="36"/>
                </a:cxn>
                <a:cxn ang="0">
                  <a:pos x="108" y="40"/>
                </a:cxn>
                <a:cxn ang="0">
                  <a:pos x="112" y="48"/>
                </a:cxn>
                <a:cxn ang="0">
                  <a:pos x="116" y="48"/>
                </a:cxn>
                <a:cxn ang="0">
                  <a:pos x="116" y="56"/>
                </a:cxn>
                <a:cxn ang="0">
                  <a:pos x="120" y="68"/>
                </a:cxn>
                <a:cxn ang="0">
                  <a:pos x="123" y="72"/>
                </a:cxn>
                <a:cxn ang="0">
                  <a:pos x="127" y="72"/>
                </a:cxn>
                <a:cxn ang="0">
                  <a:pos x="135" y="72"/>
                </a:cxn>
                <a:cxn ang="0">
                  <a:pos x="135" y="80"/>
                </a:cxn>
                <a:cxn ang="0">
                  <a:pos x="139" y="80"/>
                </a:cxn>
                <a:cxn ang="0">
                  <a:pos x="135" y="84"/>
                </a:cxn>
                <a:cxn ang="0">
                  <a:pos x="135" y="88"/>
                </a:cxn>
                <a:cxn ang="0">
                  <a:pos x="123" y="92"/>
                </a:cxn>
                <a:cxn ang="0">
                  <a:pos x="120" y="96"/>
                </a:cxn>
                <a:cxn ang="0">
                  <a:pos x="116" y="104"/>
                </a:cxn>
                <a:cxn ang="0">
                  <a:pos x="108" y="108"/>
                </a:cxn>
                <a:cxn ang="0">
                  <a:pos x="104" y="116"/>
                </a:cxn>
                <a:cxn ang="0">
                  <a:pos x="100" y="124"/>
                </a:cxn>
                <a:cxn ang="0">
                  <a:pos x="96" y="128"/>
                </a:cxn>
              </a:cxnLst>
              <a:rect l="0" t="0" r="r" b="b"/>
              <a:pathLst>
                <a:path w="139" h="171">
                  <a:moveTo>
                    <a:pt x="96" y="128"/>
                  </a:move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4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4" y="148"/>
                  </a:lnTo>
                  <a:lnTo>
                    <a:pt x="80" y="148"/>
                  </a:lnTo>
                  <a:lnTo>
                    <a:pt x="80" y="152"/>
                  </a:lnTo>
                  <a:lnTo>
                    <a:pt x="80" y="152"/>
                  </a:lnTo>
                  <a:lnTo>
                    <a:pt x="76" y="152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48"/>
                  </a:lnTo>
                  <a:lnTo>
                    <a:pt x="76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72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52"/>
                  </a:lnTo>
                  <a:lnTo>
                    <a:pt x="68" y="148"/>
                  </a:lnTo>
                  <a:lnTo>
                    <a:pt x="68" y="148"/>
                  </a:lnTo>
                  <a:lnTo>
                    <a:pt x="68" y="152"/>
                  </a:lnTo>
                  <a:lnTo>
                    <a:pt x="64" y="152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4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60" y="148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6" y="144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40"/>
                  </a:lnTo>
                  <a:lnTo>
                    <a:pt x="48" y="140"/>
                  </a:lnTo>
                  <a:lnTo>
                    <a:pt x="44" y="140"/>
                  </a:lnTo>
                  <a:lnTo>
                    <a:pt x="44" y="140"/>
                  </a:lnTo>
                  <a:lnTo>
                    <a:pt x="44" y="144"/>
                  </a:lnTo>
                  <a:lnTo>
                    <a:pt x="44" y="144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4" y="148"/>
                  </a:lnTo>
                  <a:lnTo>
                    <a:pt x="40" y="148"/>
                  </a:lnTo>
                  <a:lnTo>
                    <a:pt x="40" y="148"/>
                  </a:lnTo>
                  <a:lnTo>
                    <a:pt x="40" y="152"/>
                  </a:lnTo>
                  <a:lnTo>
                    <a:pt x="40" y="152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40" y="156"/>
                  </a:lnTo>
                  <a:lnTo>
                    <a:pt x="36" y="160"/>
                  </a:lnTo>
                  <a:lnTo>
                    <a:pt x="36" y="160"/>
                  </a:lnTo>
                  <a:lnTo>
                    <a:pt x="32" y="160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3"/>
                  </a:lnTo>
                  <a:lnTo>
                    <a:pt x="32" y="167"/>
                  </a:lnTo>
                  <a:lnTo>
                    <a:pt x="32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67"/>
                  </a:lnTo>
                  <a:lnTo>
                    <a:pt x="28" y="171"/>
                  </a:lnTo>
                  <a:lnTo>
                    <a:pt x="28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4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20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12" y="171"/>
                  </a:lnTo>
                  <a:lnTo>
                    <a:pt x="8" y="171"/>
                  </a:lnTo>
                  <a:lnTo>
                    <a:pt x="8" y="167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63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8" y="148"/>
                  </a:lnTo>
                  <a:lnTo>
                    <a:pt x="12" y="148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40"/>
                  </a:lnTo>
                  <a:lnTo>
                    <a:pt x="4" y="136"/>
                  </a:lnTo>
                  <a:lnTo>
                    <a:pt x="4" y="136"/>
                  </a:lnTo>
                  <a:lnTo>
                    <a:pt x="4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12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24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8" y="8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08" y="40"/>
                  </a:lnTo>
                  <a:lnTo>
                    <a:pt x="108" y="44"/>
                  </a:lnTo>
                  <a:lnTo>
                    <a:pt x="112" y="44"/>
                  </a:lnTo>
                  <a:lnTo>
                    <a:pt x="112" y="44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2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56"/>
                  </a:lnTo>
                  <a:lnTo>
                    <a:pt x="116" y="60"/>
                  </a:lnTo>
                  <a:lnTo>
                    <a:pt x="116" y="60"/>
                  </a:lnTo>
                  <a:lnTo>
                    <a:pt x="116" y="64"/>
                  </a:lnTo>
                  <a:lnTo>
                    <a:pt x="116" y="64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3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27" y="72"/>
                  </a:lnTo>
                  <a:lnTo>
                    <a:pt x="131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2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76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5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9" y="80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5" y="88"/>
                  </a:lnTo>
                  <a:lnTo>
                    <a:pt x="131" y="88"/>
                  </a:lnTo>
                  <a:lnTo>
                    <a:pt x="131" y="88"/>
                  </a:lnTo>
                  <a:lnTo>
                    <a:pt x="127" y="88"/>
                  </a:lnTo>
                  <a:lnTo>
                    <a:pt x="127" y="88"/>
                  </a:lnTo>
                  <a:lnTo>
                    <a:pt x="123" y="88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3" y="92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20" y="96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0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6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12" y="104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2"/>
                  </a:lnTo>
                  <a:lnTo>
                    <a:pt x="104" y="116"/>
                  </a:lnTo>
                  <a:lnTo>
                    <a:pt x="104" y="116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0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1" name="Freeform 121">
              <a:extLst>
                <a:ext uri="{FF2B5EF4-FFF2-40B4-BE49-F238E27FC236}">
                  <a16:creationId xmlns:a16="http://schemas.microsoft.com/office/drawing/2014/main" id="{C7B79F78-822E-B244-B1AF-3CB48F68D14D}"/>
                </a:ext>
              </a:extLst>
            </p:cNvPr>
            <p:cNvSpPr>
              <a:spLocks/>
            </p:cNvSpPr>
            <p:nvPr>
              <p:custDataLst>
                <p:tags r:id="rId41"/>
              </p:custDataLst>
            </p:nvPr>
          </p:nvSpPr>
          <p:spPr bwMode="gray">
            <a:xfrm>
              <a:off x="3687133" y="5615214"/>
              <a:ext cx="151273" cy="131103"/>
            </a:xfrm>
            <a:custGeom>
              <a:avLst/>
              <a:gdLst/>
              <a:ahLst/>
              <a:cxnLst>
                <a:cxn ang="0">
                  <a:pos x="92" y="76"/>
                </a:cxn>
                <a:cxn ang="0">
                  <a:pos x="88" y="76"/>
                </a:cxn>
                <a:cxn ang="0">
                  <a:pos x="80" y="72"/>
                </a:cxn>
                <a:cxn ang="0">
                  <a:pos x="72" y="76"/>
                </a:cxn>
                <a:cxn ang="0">
                  <a:pos x="68" y="76"/>
                </a:cxn>
                <a:cxn ang="0">
                  <a:pos x="60" y="76"/>
                </a:cxn>
                <a:cxn ang="0">
                  <a:pos x="40" y="76"/>
                </a:cxn>
                <a:cxn ang="0">
                  <a:pos x="40" y="84"/>
                </a:cxn>
                <a:cxn ang="0">
                  <a:pos x="40" y="92"/>
                </a:cxn>
                <a:cxn ang="0">
                  <a:pos x="40" y="100"/>
                </a:cxn>
                <a:cxn ang="0">
                  <a:pos x="40" y="100"/>
                </a:cxn>
                <a:cxn ang="0">
                  <a:pos x="44" y="104"/>
                </a:cxn>
                <a:cxn ang="0">
                  <a:pos x="40" y="104"/>
                </a:cxn>
                <a:cxn ang="0">
                  <a:pos x="36" y="96"/>
                </a:cxn>
                <a:cxn ang="0">
                  <a:pos x="28" y="96"/>
                </a:cxn>
                <a:cxn ang="0">
                  <a:pos x="24" y="96"/>
                </a:cxn>
                <a:cxn ang="0">
                  <a:pos x="20" y="100"/>
                </a:cxn>
                <a:cxn ang="0">
                  <a:pos x="16" y="100"/>
                </a:cxn>
                <a:cxn ang="0">
                  <a:pos x="12" y="100"/>
                </a:cxn>
                <a:cxn ang="0">
                  <a:pos x="8" y="88"/>
                </a:cxn>
                <a:cxn ang="0">
                  <a:pos x="4" y="88"/>
                </a:cxn>
                <a:cxn ang="0">
                  <a:pos x="0" y="84"/>
                </a:cxn>
                <a:cxn ang="0">
                  <a:pos x="0" y="80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8" y="56"/>
                </a:cxn>
                <a:cxn ang="0">
                  <a:pos x="12" y="56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4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4" y="28"/>
                </a:cxn>
                <a:cxn ang="0">
                  <a:pos x="32" y="36"/>
                </a:cxn>
                <a:cxn ang="0">
                  <a:pos x="32" y="36"/>
                </a:cxn>
                <a:cxn ang="0">
                  <a:pos x="32" y="32"/>
                </a:cxn>
                <a:cxn ang="0">
                  <a:pos x="36" y="28"/>
                </a:cxn>
                <a:cxn ang="0">
                  <a:pos x="40" y="28"/>
                </a:cxn>
                <a:cxn ang="0">
                  <a:pos x="40" y="20"/>
                </a:cxn>
                <a:cxn ang="0">
                  <a:pos x="48" y="16"/>
                </a:cxn>
                <a:cxn ang="0">
                  <a:pos x="52" y="16"/>
                </a:cxn>
                <a:cxn ang="0">
                  <a:pos x="56" y="12"/>
                </a:cxn>
                <a:cxn ang="0">
                  <a:pos x="68" y="4"/>
                </a:cxn>
                <a:cxn ang="0">
                  <a:pos x="76" y="0"/>
                </a:cxn>
                <a:cxn ang="0">
                  <a:pos x="88" y="4"/>
                </a:cxn>
                <a:cxn ang="0">
                  <a:pos x="88" y="12"/>
                </a:cxn>
                <a:cxn ang="0">
                  <a:pos x="88" y="16"/>
                </a:cxn>
                <a:cxn ang="0">
                  <a:pos x="92" y="24"/>
                </a:cxn>
                <a:cxn ang="0">
                  <a:pos x="100" y="28"/>
                </a:cxn>
                <a:cxn ang="0">
                  <a:pos x="104" y="32"/>
                </a:cxn>
                <a:cxn ang="0">
                  <a:pos x="100" y="32"/>
                </a:cxn>
                <a:cxn ang="0">
                  <a:pos x="100" y="36"/>
                </a:cxn>
                <a:cxn ang="0">
                  <a:pos x="108" y="44"/>
                </a:cxn>
                <a:cxn ang="0">
                  <a:pos x="116" y="44"/>
                </a:cxn>
                <a:cxn ang="0">
                  <a:pos x="116" y="48"/>
                </a:cxn>
                <a:cxn ang="0">
                  <a:pos x="120" y="60"/>
                </a:cxn>
                <a:cxn ang="0">
                  <a:pos x="116" y="64"/>
                </a:cxn>
                <a:cxn ang="0">
                  <a:pos x="116" y="68"/>
                </a:cxn>
                <a:cxn ang="0">
                  <a:pos x="108" y="68"/>
                </a:cxn>
                <a:cxn ang="0">
                  <a:pos x="104" y="68"/>
                </a:cxn>
                <a:cxn ang="0">
                  <a:pos x="104" y="68"/>
                </a:cxn>
                <a:cxn ang="0">
                  <a:pos x="100" y="76"/>
                </a:cxn>
              </a:cxnLst>
              <a:rect l="0" t="0" r="r" b="b"/>
              <a:pathLst>
                <a:path w="120" h="104">
                  <a:moveTo>
                    <a:pt x="96" y="76"/>
                  </a:moveTo>
                  <a:lnTo>
                    <a:pt x="96" y="76"/>
                  </a:lnTo>
                  <a:lnTo>
                    <a:pt x="96" y="76"/>
                  </a:lnTo>
                  <a:lnTo>
                    <a:pt x="96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76"/>
                  </a:lnTo>
                  <a:lnTo>
                    <a:pt x="40" y="80"/>
                  </a:lnTo>
                  <a:lnTo>
                    <a:pt x="40" y="80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4"/>
                  </a:lnTo>
                  <a:lnTo>
                    <a:pt x="40" y="88"/>
                  </a:lnTo>
                  <a:lnTo>
                    <a:pt x="40" y="88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2"/>
                  </a:lnTo>
                  <a:lnTo>
                    <a:pt x="40" y="96"/>
                  </a:lnTo>
                  <a:lnTo>
                    <a:pt x="44" y="96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4" y="100"/>
                  </a:lnTo>
                  <a:lnTo>
                    <a:pt x="40" y="100"/>
                  </a:lnTo>
                  <a:lnTo>
                    <a:pt x="40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4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40" y="100"/>
                  </a:lnTo>
                  <a:lnTo>
                    <a:pt x="36" y="96"/>
                  </a:lnTo>
                  <a:lnTo>
                    <a:pt x="36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72" y="0"/>
                  </a:lnTo>
                  <a:lnTo>
                    <a:pt x="72" y="0"/>
                  </a:lnTo>
                  <a:lnTo>
                    <a:pt x="76" y="0"/>
                  </a:lnTo>
                  <a:lnTo>
                    <a:pt x="80" y="0"/>
                  </a:lnTo>
                  <a:lnTo>
                    <a:pt x="80" y="0"/>
                  </a:lnTo>
                  <a:lnTo>
                    <a:pt x="84" y="0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2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4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0"/>
                  </a:lnTo>
                  <a:lnTo>
                    <a:pt x="104" y="40"/>
                  </a:lnTo>
                  <a:lnTo>
                    <a:pt x="108" y="44"/>
                  </a:lnTo>
                  <a:lnTo>
                    <a:pt x="112" y="48"/>
                  </a:lnTo>
                  <a:lnTo>
                    <a:pt x="112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4"/>
                  </a:lnTo>
                  <a:lnTo>
                    <a:pt x="116" y="48"/>
                  </a:lnTo>
                  <a:lnTo>
                    <a:pt x="120" y="48"/>
                  </a:lnTo>
                  <a:lnTo>
                    <a:pt x="116" y="48"/>
                  </a:lnTo>
                  <a:lnTo>
                    <a:pt x="116" y="48"/>
                  </a:lnTo>
                  <a:lnTo>
                    <a:pt x="116" y="52"/>
                  </a:lnTo>
                  <a:lnTo>
                    <a:pt x="116" y="52"/>
                  </a:lnTo>
                  <a:lnTo>
                    <a:pt x="120" y="56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0"/>
                  </a:lnTo>
                  <a:lnTo>
                    <a:pt x="120" y="64"/>
                  </a:lnTo>
                  <a:lnTo>
                    <a:pt x="120" y="64"/>
                  </a:lnTo>
                  <a:lnTo>
                    <a:pt x="116" y="64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6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68"/>
                  </a:lnTo>
                  <a:lnTo>
                    <a:pt x="104" y="72"/>
                  </a:lnTo>
                  <a:lnTo>
                    <a:pt x="104" y="72"/>
                  </a:lnTo>
                  <a:lnTo>
                    <a:pt x="100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76"/>
                  </a:lnTo>
                  <a:lnTo>
                    <a:pt x="96" y="7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2" name="Freeform 122">
              <a:extLst>
                <a:ext uri="{FF2B5EF4-FFF2-40B4-BE49-F238E27FC236}">
                  <a16:creationId xmlns:a16="http://schemas.microsoft.com/office/drawing/2014/main" id="{A1BBBE44-6951-1A42-A1BB-4EAEC589ABD8}"/>
                </a:ext>
              </a:extLst>
            </p:cNvPr>
            <p:cNvSpPr>
              <a:spLocks/>
            </p:cNvSpPr>
            <p:nvPr>
              <p:custDataLst>
                <p:tags r:id="rId42"/>
              </p:custDataLst>
            </p:nvPr>
          </p:nvSpPr>
          <p:spPr bwMode="gray">
            <a:xfrm>
              <a:off x="4345168" y="6018608"/>
              <a:ext cx="35297" cy="49163"/>
            </a:xfrm>
            <a:custGeom>
              <a:avLst/>
              <a:gdLst/>
              <a:ahLst/>
              <a:cxnLst>
                <a:cxn ang="0">
                  <a:pos x="28" y="15"/>
                </a:cxn>
                <a:cxn ang="0">
                  <a:pos x="28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4" y="19"/>
                </a:cxn>
                <a:cxn ang="0">
                  <a:pos x="20" y="23"/>
                </a:cxn>
                <a:cxn ang="0">
                  <a:pos x="20" y="27"/>
                </a:cxn>
                <a:cxn ang="0">
                  <a:pos x="20" y="27"/>
                </a:cxn>
                <a:cxn ang="0">
                  <a:pos x="20" y="31"/>
                </a:cxn>
                <a:cxn ang="0">
                  <a:pos x="12" y="39"/>
                </a:cxn>
                <a:cxn ang="0">
                  <a:pos x="8" y="39"/>
                </a:cxn>
                <a:cxn ang="0">
                  <a:pos x="8" y="35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4" y="19"/>
                </a:cxn>
                <a:cxn ang="0">
                  <a:pos x="4" y="19"/>
                </a:cxn>
                <a:cxn ang="0">
                  <a:pos x="4" y="15"/>
                </a:cxn>
                <a:cxn ang="0">
                  <a:pos x="4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4"/>
                </a:cxn>
                <a:cxn ang="0">
                  <a:pos x="16" y="0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0" y="12"/>
                </a:cxn>
                <a:cxn ang="0">
                  <a:pos x="24" y="12"/>
                </a:cxn>
                <a:cxn ang="0">
                  <a:pos x="24" y="12"/>
                </a:cxn>
              </a:cxnLst>
              <a:rect l="0" t="0" r="r" b="b"/>
              <a:pathLst>
                <a:path w="28" h="39">
                  <a:moveTo>
                    <a:pt x="28" y="12"/>
                  </a:moveTo>
                  <a:lnTo>
                    <a:pt x="28" y="12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5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8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19"/>
                  </a:lnTo>
                  <a:lnTo>
                    <a:pt x="24" y="23"/>
                  </a:lnTo>
                  <a:lnTo>
                    <a:pt x="24" y="23"/>
                  </a:lnTo>
                  <a:lnTo>
                    <a:pt x="20" y="23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27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20" y="31"/>
                  </a:lnTo>
                  <a:lnTo>
                    <a:pt x="16" y="35"/>
                  </a:lnTo>
                  <a:lnTo>
                    <a:pt x="16" y="35"/>
                  </a:lnTo>
                  <a:lnTo>
                    <a:pt x="12" y="39"/>
                  </a:lnTo>
                  <a:lnTo>
                    <a:pt x="12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9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8" y="35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23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9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5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3" name="Freeform 123">
              <a:extLst>
                <a:ext uri="{FF2B5EF4-FFF2-40B4-BE49-F238E27FC236}">
                  <a16:creationId xmlns:a16="http://schemas.microsoft.com/office/drawing/2014/main" id="{E0FDE1FD-3653-3641-9F08-88A91753A86F}"/>
                </a:ext>
              </a:extLst>
            </p:cNvPr>
            <p:cNvSpPr>
              <a:spLocks/>
            </p:cNvSpPr>
            <p:nvPr>
              <p:custDataLst>
                <p:tags r:id="rId43"/>
              </p:custDataLst>
            </p:nvPr>
          </p:nvSpPr>
          <p:spPr bwMode="gray">
            <a:xfrm>
              <a:off x="3953120" y="5660596"/>
              <a:ext cx="151273" cy="267248"/>
            </a:xfrm>
            <a:custGeom>
              <a:avLst/>
              <a:gdLst/>
              <a:ahLst/>
              <a:cxnLst>
                <a:cxn ang="0">
                  <a:pos x="24" y="200"/>
                </a:cxn>
                <a:cxn ang="0">
                  <a:pos x="20" y="188"/>
                </a:cxn>
                <a:cxn ang="0">
                  <a:pos x="20" y="180"/>
                </a:cxn>
                <a:cxn ang="0">
                  <a:pos x="20" y="172"/>
                </a:cxn>
                <a:cxn ang="0">
                  <a:pos x="12" y="172"/>
                </a:cxn>
                <a:cxn ang="0">
                  <a:pos x="8" y="164"/>
                </a:cxn>
                <a:cxn ang="0">
                  <a:pos x="8" y="160"/>
                </a:cxn>
                <a:cxn ang="0">
                  <a:pos x="4" y="160"/>
                </a:cxn>
                <a:cxn ang="0">
                  <a:pos x="4" y="152"/>
                </a:cxn>
                <a:cxn ang="0">
                  <a:pos x="8" y="140"/>
                </a:cxn>
                <a:cxn ang="0">
                  <a:pos x="12" y="128"/>
                </a:cxn>
                <a:cxn ang="0">
                  <a:pos x="20" y="120"/>
                </a:cxn>
                <a:cxn ang="0">
                  <a:pos x="28" y="112"/>
                </a:cxn>
                <a:cxn ang="0">
                  <a:pos x="32" y="112"/>
                </a:cxn>
                <a:cxn ang="0">
                  <a:pos x="40" y="116"/>
                </a:cxn>
                <a:cxn ang="0">
                  <a:pos x="44" y="124"/>
                </a:cxn>
                <a:cxn ang="0">
                  <a:pos x="48" y="116"/>
                </a:cxn>
                <a:cxn ang="0">
                  <a:pos x="52" y="104"/>
                </a:cxn>
                <a:cxn ang="0">
                  <a:pos x="56" y="96"/>
                </a:cxn>
                <a:cxn ang="0">
                  <a:pos x="56" y="92"/>
                </a:cxn>
                <a:cxn ang="0">
                  <a:pos x="60" y="84"/>
                </a:cxn>
                <a:cxn ang="0">
                  <a:pos x="68" y="76"/>
                </a:cxn>
                <a:cxn ang="0">
                  <a:pos x="72" y="68"/>
                </a:cxn>
                <a:cxn ang="0">
                  <a:pos x="72" y="56"/>
                </a:cxn>
                <a:cxn ang="0">
                  <a:pos x="76" y="48"/>
                </a:cxn>
                <a:cxn ang="0">
                  <a:pos x="84" y="36"/>
                </a:cxn>
                <a:cxn ang="0">
                  <a:pos x="92" y="32"/>
                </a:cxn>
                <a:cxn ang="0">
                  <a:pos x="92" y="24"/>
                </a:cxn>
                <a:cxn ang="0">
                  <a:pos x="92" y="20"/>
                </a:cxn>
                <a:cxn ang="0">
                  <a:pos x="92" y="16"/>
                </a:cxn>
                <a:cxn ang="0">
                  <a:pos x="88" y="8"/>
                </a:cxn>
                <a:cxn ang="0">
                  <a:pos x="88" y="0"/>
                </a:cxn>
                <a:cxn ang="0">
                  <a:pos x="92" y="8"/>
                </a:cxn>
                <a:cxn ang="0">
                  <a:pos x="100" y="20"/>
                </a:cxn>
                <a:cxn ang="0">
                  <a:pos x="100" y="32"/>
                </a:cxn>
                <a:cxn ang="0">
                  <a:pos x="100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92" y="60"/>
                </a:cxn>
                <a:cxn ang="0">
                  <a:pos x="88" y="72"/>
                </a:cxn>
                <a:cxn ang="0">
                  <a:pos x="100" y="80"/>
                </a:cxn>
                <a:cxn ang="0">
                  <a:pos x="104" y="92"/>
                </a:cxn>
                <a:cxn ang="0">
                  <a:pos x="108" y="100"/>
                </a:cxn>
                <a:cxn ang="0">
                  <a:pos x="104" y="108"/>
                </a:cxn>
                <a:cxn ang="0">
                  <a:pos x="100" y="116"/>
                </a:cxn>
                <a:cxn ang="0">
                  <a:pos x="96" y="128"/>
                </a:cxn>
                <a:cxn ang="0">
                  <a:pos x="92" y="136"/>
                </a:cxn>
                <a:cxn ang="0">
                  <a:pos x="92" y="144"/>
                </a:cxn>
                <a:cxn ang="0">
                  <a:pos x="96" y="156"/>
                </a:cxn>
                <a:cxn ang="0">
                  <a:pos x="100" y="164"/>
                </a:cxn>
                <a:cxn ang="0">
                  <a:pos x="104" y="172"/>
                </a:cxn>
                <a:cxn ang="0">
                  <a:pos x="112" y="184"/>
                </a:cxn>
                <a:cxn ang="0">
                  <a:pos x="116" y="196"/>
                </a:cxn>
                <a:cxn ang="0">
                  <a:pos x="116" y="200"/>
                </a:cxn>
                <a:cxn ang="0">
                  <a:pos x="116" y="212"/>
                </a:cxn>
                <a:cxn ang="0">
                  <a:pos x="108" y="208"/>
                </a:cxn>
                <a:cxn ang="0">
                  <a:pos x="100" y="204"/>
                </a:cxn>
                <a:cxn ang="0">
                  <a:pos x="88" y="204"/>
                </a:cxn>
                <a:cxn ang="0">
                  <a:pos x="72" y="200"/>
                </a:cxn>
                <a:cxn ang="0">
                  <a:pos x="60" y="200"/>
                </a:cxn>
                <a:cxn ang="0">
                  <a:pos x="48" y="200"/>
                </a:cxn>
                <a:cxn ang="0">
                  <a:pos x="40" y="204"/>
                </a:cxn>
              </a:cxnLst>
              <a:rect l="0" t="0" r="r" b="b"/>
              <a:pathLst>
                <a:path w="120" h="212">
                  <a:moveTo>
                    <a:pt x="28" y="204"/>
                  </a:moveTo>
                  <a:lnTo>
                    <a:pt x="24" y="204"/>
                  </a:lnTo>
                  <a:lnTo>
                    <a:pt x="24" y="200"/>
                  </a:lnTo>
                  <a:lnTo>
                    <a:pt x="20" y="200"/>
                  </a:lnTo>
                  <a:lnTo>
                    <a:pt x="20" y="196"/>
                  </a:lnTo>
                  <a:lnTo>
                    <a:pt x="20" y="188"/>
                  </a:lnTo>
                  <a:lnTo>
                    <a:pt x="24" y="188"/>
                  </a:lnTo>
                  <a:lnTo>
                    <a:pt x="24" y="184"/>
                  </a:lnTo>
                  <a:lnTo>
                    <a:pt x="20" y="180"/>
                  </a:lnTo>
                  <a:lnTo>
                    <a:pt x="20" y="176"/>
                  </a:lnTo>
                  <a:lnTo>
                    <a:pt x="16" y="172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8" y="168"/>
                  </a:lnTo>
                  <a:lnTo>
                    <a:pt x="8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8" y="160"/>
                  </a:lnTo>
                  <a:lnTo>
                    <a:pt x="4" y="160"/>
                  </a:lnTo>
                  <a:lnTo>
                    <a:pt x="4" y="156"/>
                  </a:lnTo>
                  <a:lnTo>
                    <a:pt x="4" y="160"/>
                  </a:lnTo>
                  <a:lnTo>
                    <a:pt x="0" y="160"/>
                  </a:lnTo>
                  <a:lnTo>
                    <a:pt x="0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8" y="144"/>
                  </a:lnTo>
                  <a:lnTo>
                    <a:pt x="8" y="140"/>
                  </a:lnTo>
                  <a:lnTo>
                    <a:pt x="8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6" y="124"/>
                  </a:lnTo>
                  <a:lnTo>
                    <a:pt x="20" y="124"/>
                  </a:lnTo>
                  <a:lnTo>
                    <a:pt x="20" y="120"/>
                  </a:lnTo>
                  <a:lnTo>
                    <a:pt x="20" y="116"/>
                  </a:lnTo>
                  <a:lnTo>
                    <a:pt x="24" y="116"/>
                  </a:lnTo>
                  <a:lnTo>
                    <a:pt x="28" y="112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2" y="112"/>
                  </a:lnTo>
                  <a:lnTo>
                    <a:pt x="36" y="112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0" y="124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8" y="120"/>
                  </a:lnTo>
                  <a:lnTo>
                    <a:pt x="48" y="116"/>
                  </a:lnTo>
                  <a:lnTo>
                    <a:pt x="52" y="112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2"/>
                  </a:lnTo>
                  <a:lnTo>
                    <a:pt x="60" y="92"/>
                  </a:lnTo>
                  <a:lnTo>
                    <a:pt x="56" y="92"/>
                  </a:lnTo>
                  <a:lnTo>
                    <a:pt x="56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72" y="68"/>
                  </a:lnTo>
                  <a:lnTo>
                    <a:pt x="72" y="64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76" y="56"/>
                  </a:lnTo>
                  <a:lnTo>
                    <a:pt x="76" y="52"/>
                  </a:lnTo>
                  <a:lnTo>
                    <a:pt x="76" y="48"/>
                  </a:lnTo>
                  <a:lnTo>
                    <a:pt x="80" y="44"/>
                  </a:lnTo>
                  <a:lnTo>
                    <a:pt x="80" y="40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88" y="32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92" y="28"/>
                  </a:lnTo>
                  <a:lnTo>
                    <a:pt x="92" y="24"/>
                  </a:lnTo>
                  <a:lnTo>
                    <a:pt x="96" y="24"/>
                  </a:lnTo>
                  <a:lnTo>
                    <a:pt x="96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16"/>
                  </a:lnTo>
                  <a:lnTo>
                    <a:pt x="92" y="16"/>
                  </a:lnTo>
                  <a:lnTo>
                    <a:pt x="88" y="16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32"/>
                  </a:lnTo>
                  <a:lnTo>
                    <a:pt x="100" y="36"/>
                  </a:lnTo>
                  <a:lnTo>
                    <a:pt x="100" y="40"/>
                  </a:lnTo>
                  <a:lnTo>
                    <a:pt x="100" y="44"/>
                  </a:lnTo>
                  <a:lnTo>
                    <a:pt x="100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04" y="60"/>
                  </a:lnTo>
                  <a:lnTo>
                    <a:pt x="100" y="60"/>
                  </a:lnTo>
                  <a:lnTo>
                    <a:pt x="96" y="60"/>
                  </a:lnTo>
                  <a:lnTo>
                    <a:pt x="92" y="60"/>
                  </a:lnTo>
                  <a:lnTo>
                    <a:pt x="88" y="60"/>
                  </a:lnTo>
                  <a:lnTo>
                    <a:pt x="84" y="64"/>
                  </a:lnTo>
                  <a:lnTo>
                    <a:pt x="88" y="72"/>
                  </a:lnTo>
                  <a:lnTo>
                    <a:pt x="92" y="76"/>
                  </a:lnTo>
                  <a:lnTo>
                    <a:pt x="96" y="80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8" y="96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08" y="108"/>
                  </a:lnTo>
                  <a:lnTo>
                    <a:pt x="104" y="108"/>
                  </a:lnTo>
                  <a:lnTo>
                    <a:pt x="104" y="112"/>
                  </a:lnTo>
                  <a:lnTo>
                    <a:pt x="100" y="112"/>
                  </a:lnTo>
                  <a:lnTo>
                    <a:pt x="100" y="116"/>
                  </a:lnTo>
                  <a:lnTo>
                    <a:pt x="100" y="120"/>
                  </a:lnTo>
                  <a:lnTo>
                    <a:pt x="96" y="124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92" y="136"/>
                  </a:lnTo>
                  <a:lnTo>
                    <a:pt x="96" y="136"/>
                  </a:lnTo>
                  <a:lnTo>
                    <a:pt x="92" y="140"/>
                  </a:lnTo>
                  <a:lnTo>
                    <a:pt x="92" y="144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6" y="156"/>
                  </a:lnTo>
                  <a:lnTo>
                    <a:pt x="96" y="160"/>
                  </a:lnTo>
                  <a:lnTo>
                    <a:pt x="100" y="160"/>
                  </a:lnTo>
                  <a:lnTo>
                    <a:pt x="100" y="164"/>
                  </a:lnTo>
                  <a:lnTo>
                    <a:pt x="100" y="168"/>
                  </a:lnTo>
                  <a:lnTo>
                    <a:pt x="100" y="172"/>
                  </a:lnTo>
                  <a:lnTo>
                    <a:pt x="104" y="172"/>
                  </a:lnTo>
                  <a:lnTo>
                    <a:pt x="104" y="176"/>
                  </a:lnTo>
                  <a:lnTo>
                    <a:pt x="108" y="180"/>
                  </a:lnTo>
                  <a:lnTo>
                    <a:pt x="112" y="184"/>
                  </a:lnTo>
                  <a:lnTo>
                    <a:pt x="116" y="188"/>
                  </a:lnTo>
                  <a:lnTo>
                    <a:pt x="116" y="192"/>
                  </a:lnTo>
                  <a:lnTo>
                    <a:pt x="116" y="196"/>
                  </a:lnTo>
                  <a:lnTo>
                    <a:pt x="116" y="200"/>
                  </a:lnTo>
                  <a:lnTo>
                    <a:pt x="120" y="200"/>
                  </a:lnTo>
                  <a:lnTo>
                    <a:pt x="116" y="200"/>
                  </a:lnTo>
                  <a:lnTo>
                    <a:pt x="116" y="204"/>
                  </a:lnTo>
                  <a:lnTo>
                    <a:pt x="116" y="208"/>
                  </a:lnTo>
                  <a:lnTo>
                    <a:pt x="116" y="212"/>
                  </a:lnTo>
                  <a:lnTo>
                    <a:pt x="116" y="208"/>
                  </a:lnTo>
                  <a:lnTo>
                    <a:pt x="112" y="208"/>
                  </a:lnTo>
                  <a:lnTo>
                    <a:pt x="108" y="208"/>
                  </a:lnTo>
                  <a:lnTo>
                    <a:pt x="108" y="204"/>
                  </a:lnTo>
                  <a:lnTo>
                    <a:pt x="104" y="204"/>
                  </a:lnTo>
                  <a:lnTo>
                    <a:pt x="100" y="204"/>
                  </a:lnTo>
                  <a:lnTo>
                    <a:pt x="96" y="204"/>
                  </a:lnTo>
                  <a:lnTo>
                    <a:pt x="92" y="204"/>
                  </a:lnTo>
                  <a:lnTo>
                    <a:pt x="88" y="204"/>
                  </a:lnTo>
                  <a:lnTo>
                    <a:pt x="80" y="204"/>
                  </a:lnTo>
                  <a:lnTo>
                    <a:pt x="72" y="204"/>
                  </a:lnTo>
                  <a:lnTo>
                    <a:pt x="72" y="200"/>
                  </a:lnTo>
                  <a:lnTo>
                    <a:pt x="68" y="200"/>
                  </a:lnTo>
                  <a:lnTo>
                    <a:pt x="64" y="200"/>
                  </a:lnTo>
                  <a:lnTo>
                    <a:pt x="60" y="200"/>
                  </a:lnTo>
                  <a:lnTo>
                    <a:pt x="56" y="200"/>
                  </a:lnTo>
                  <a:lnTo>
                    <a:pt x="52" y="200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32" y="204"/>
                  </a:lnTo>
                  <a:lnTo>
                    <a:pt x="28" y="2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4" name="Freeform 124">
              <a:extLst>
                <a:ext uri="{FF2B5EF4-FFF2-40B4-BE49-F238E27FC236}">
                  <a16:creationId xmlns:a16="http://schemas.microsoft.com/office/drawing/2014/main" id="{F8E26D5D-806A-0E4F-A511-F8EB192DEA48}"/>
                </a:ext>
              </a:extLst>
            </p:cNvPr>
            <p:cNvSpPr>
              <a:spLocks noEditPoints="1"/>
            </p:cNvSpPr>
            <p:nvPr>
              <p:custDataLst>
                <p:tags r:id="rId44"/>
              </p:custDataLst>
            </p:nvPr>
          </p:nvSpPr>
          <p:spPr bwMode="gray">
            <a:xfrm>
              <a:off x="3310212" y="5564790"/>
              <a:ext cx="50424" cy="5546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36" y="12"/>
                </a:cxn>
                <a:cxn ang="0">
                  <a:pos x="36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36" y="24"/>
                </a:cxn>
                <a:cxn ang="0">
                  <a:pos x="36" y="20"/>
                </a:cxn>
                <a:cxn ang="0">
                  <a:pos x="40" y="20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32" y="36"/>
                </a:cxn>
                <a:cxn ang="0">
                  <a:pos x="32" y="40"/>
                </a:cxn>
                <a:cxn ang="0">
                  <a:pos x="32" y="40"/>
                </a:cxn>
                <a:cxn ang="0">
                  <a:pos x="24" y="44"/>
                </a:cxn>
                <a:cxn ang="0">
                  <a:pos x="24" y="40"/>
                </a:cxn>
                <a:cxn ang="0">
                  <a:pos x="24" y="40"/>
                </a:cxn>
                <a:cxn ang="0">
                  <a:pos x="24" y="36"/>
                </a:cxn>
                <a:cxn ang="0">
                  <a:pos x="28" y="40"/>
                </a:cxn>
                <a:cxn ang="0">
                  <a:pos x="28" y="40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6" y="44"/>
                </a:cxn>
                <a:cxn ang="0">
                  <a:pos x="16" y="44"/>
                </a:cxn>
                <a:cxn ang="0">
                  <a:pos x="16" y="44"/>
                </a:cxn>
              </a:cxnLst>
              <a:rect l="0" t="0" r="r" b="b"/>
              <a:pathLst>
                <a:path w="40" h="44">
                  <a:moveTo>
                    <a:pt x="0" y="4"/>
                  </a:move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close/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36" y="12"/>
                  </a:moveTo>
                  <a:lnTo>
                    <a:pt x="36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close/>
                  <a:moveTo>
                    <a:pt x="16" y="12"/>
                  </a:move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close/>
                  <a:moveTo>
                    <a:pt x="36" y="24"/>
                  </a:move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36" y="24"/>
                  </a:lnTo>
                  <a:close/>
                  <a:moveTo>
                    <a:pt x="32" y="40"/>
                  </a:move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32" y="40"/>
                  </a:lnTo>
                  <a:close/>
                  <a:moveTo>
                    <a:pt x="28" y="44"/>
                  </a:move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close/>
                  <a:moveTo>
                    <a:pt x="12" y="44"/>
                  </a:move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5" name="Freeform 125">
              <a:extLst>
                <a:ext uri="{FF2B5EF4-FFF2-40B4-BE49-F238E27FC236}">
                  <a16:creationId xmlns:a16="http://schemas.microsoft.com/office/drawing/2014/main" id="{2572341E-4BB4-0044-BAA3-C57AA62F6176}"/>
                </a:ext>
              </a:extLst>
            </p:cNvPr>
            <p:cNvSpPr>
              <a:spLocks/>
            </p:cNvSpPr>
            <p:nvPr>
              <p:custDataLst>
                <p:tags r:id="rId45"/>
              </p:custDataLst>
            </p:nvPr>
          </p:nvSpPr>
          <p:spPr bwMode="gray">
            <a:xfrm>
              <a:off x="4069096" y="5711020"/>
              <a:ext cx="247078" cy="201697"/>
            </a:xfrm>
            <a:custGeom>
              <a:avLst/>
              <a:gdLst/>
              <a:ahLst/>
              <a:cxnLst>
                <a:cxn ang="0">
                  <a:pos x="88" y="112"/>
                </a:cxn>
                <a:cxn ang="0">
                  <a:pos x="76" y="108"/>
                </a:cxn>
                <a:cxn ang="0">
                  <a:pos x="64" y="120"/>
                </a:cxn>
                <a:cxn ang="0">
                  <a:pos x="64" y="124"/>
                </a:cxn>
                <a:cxn ang="0">
                  <a:pos x="64" y="140"/>
                </a:cxn>
                <a:cxn ang="0">
                  <a:pos x="56" y="140"/>
                </a:cxn>
                <a:cxn ang="0">
                  <a:pos x="44" y="136"/>
                </a:cxn>
                <a:cxn ang="0">
                  <a:pos x="36" y="136"/>
                </a:cxn>
                <a:cxn ang="0">
                  <a:pos x="28" y="148"/>
                </a:cxn>
                <a:cxn ang="0">
                  <a:pos x="28" y="156"/>
                </a:cxn>
                <a:cxn ang="0">
                  <a:pos x="24" y="152"/>
                </a:cxn>
                <a:cxn ang="0">
                  <a:pos x="12" y="136"/>
                </a:cxn>
                <a:cxn ang="0">
                  <a:pos x="8" y="124"/>
                </a:cxn>
                <a:cxn ang="0">
                  <a:pos x="4" y="112"/>
                </a:cxn>
                <a:cxn ang="0">
                  <a:pos x="4" y="96"/>
                </a:cxn>
                <a:cxn ang="0">
                  <a:pos x="4" y="88"/>
                </a:cxn>
                <a:cxn ang="0">
                  <a:pos x="8" y="72"/>
                </a:cxn>
                <a:cxn ang="0">
                  <a:pos x="16" y="64"/>
                </a:cxn>
                <a:cxn ang="0">
                  <a:pos x="28" y="60"/>
                </a:cxn>
                <a:cxn ang="0">
                  <a:pos x="36" y="60"/>
                </a:cxn>
                <a:cxn ang="0">
                  <a:pos x="52" y="56"/>
                </a:cxn>
                <a:cxn ang="0">
                  <a:pos x="64" y="52"/>
                </a:cxn>
                <a:cxn ang="0">
                  <a:pos x="72" y="44"/>
                </a:cxn>
                <a:cxn ang="0">
                  <a:pos x="76" y="36"/>
                </a:cxn>
                <a:cxn ang="0">
                  <a:pos x="92" y="36"/>
                </a:cxn>
                <a:cxn ang="0">
                  <a:pos x="104" y="20"/>
                </a:cxn>
                <a:cxn ang="0">
                  <a:pos x="112" y="12"/>
                </a:cxn>
                <a:cxn ang="0">
                  <a:pos x="116" y="4"/>
                </a:cxn>
                <a:cxn ang="0">
                  <a:pos x="128" y="0"/>
                </a:cxn>
                <a:cxn ang="0">
                  <a:pos x="136" y="16"/>
                </a:cxn>
                <a:cxn ang="0">
                  <a:pos x="140" y="32"/>
                </a:cxn>
                <a:cxn ang="0">
                  <a:pos x="136" y="44"/>
                </a:cxn>
                <a:cxn ang="0">
                  <a:pos x="144" y="44"/>
                </a:cxn>
                <a:cxn ang="0">
                  <a:pos x="152" y="52"/>
                </a:cxn>
                <a:cxn ang="0">
                  <a:pos x="164" y="56"/>
                </a:cxn>
                <a:cxn ang="0">
                  <a:pos x="168" y="68"/>
                </a:cxn>
                <a:cxn ang="0">
                  <a:pos x="180" y="80"/>
                </a:cxn>
                <a:cxn ang="0">
                  <a:pos x="180" y="88"/>
                </a:cxn>
                <a:cxn ang="0">
                  <a:pos x="188" y="96"/>
                </a:cxn>
                <a:cxn ang="0">
                  <a:pos x="192" y="100"/>
                </a:cxn>
                <a:cxn ang="0">
                  <a:pos x="196" y="112"/>
                </a:cxn>
                <a:cxn ang="0">
                  <a:pos x="184" y="108"/>
                </a:cxn>
                <a:cxn ang="0">
                  <a:pos x="176" y="108"/>
                </a:cxn>
                <a:cxn ang="0">
                  <a:pos x="164" y="104"/>
                </a:cxn>
                <a:cxn ang="0">
                  <a:pos x="156" y="112"/>
                </a:cxn>
                <a:cxn ang="0">
                  <a:pos x="148" y="112"/>
                </a:cxn>
                <a:cxn ang="0">
                  <a:pos x="132" y="116"/>
                </a:cxn>
                <a:cxn ang="0">
                  <a:pos x="124" y="116"/>
                </a:cxn>
                <a:cxn ang="0">
                  <a:pos x="120" y="128"/>
                </a:cxn>
                <a:cxn ang="0">
                  <a:pos x="108" y="124"/>
                </a:cxn>
                <a:cxn ang="0">
                  <a:pos x="92" y="120"/>
                </a:cxn>
              </a:cxnLst>
              <a:rect l="0" t="0" r="r" b="b"/>
              <a:pathLst>
                <a:path w="196" h="160">
                  <a:moveTo>
                    <a:pt x="92" y="120"/>
                  </a:moveTo>
                  <a:lnTo>
                    <a:pt x="92" y="116"/>
                  </a:lnTo>
                  <a:lnTo>
                    <a:pt x="88" y="116"/>
                  </a:lnTo>
                  <a:lnTo>
                    <a:pt x="88" y="112"/>
                  </a:lnTo>
                  <a:lnTo>
                    <a:pt x="84" y="112"/>
                  </a:lnTo>
                  <a:lnTo>
                    <a:pt x="80" y="112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2" y="112"/>
                  </a:lnTo>
                  <a:lnTo>
                    <a:pt x="68" y="112"/>
                  </a:lnTo>
                  <a:lnTo>
                    <a:pt x="68" y="116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64" y="120"/>
                  </a:lnTo>
                  <a:lnTo>
                    <a:pt x="60" y="124"/>
                  </a:lnTo>
                  <a:lnTo>
                    <a:pt x="64" y="124"/>
                  </a:lnTo>
                  <a:lnTo>
                    <a:pt x="64" y="128"/>
                  </a:lnTo>
                  <a:lnTo>
                    <a:pt x="64" y="132"/>
                  </a:lnTo>
                  <a:lnTo>
                    <a:pt x="64" y="136"/>
                  </a:lnTo>
                  <a:lnTo>
                    <a:pt x="64" y="140"/>
                  </a:lnTo>
                  <a:lnTo>
                    <a:pt x="64" y="136"/>
                  </a:lnTo>
                  <a:lnTo>
                    <a:pt x="60" y="136"/>
                  </a:lnTo>
                  <a:lnTo>
                    <a:pt x="56" y="136"/>
                  </a:lnTo>
                  <a:lnTo>
                    <a:pt x="56" y="140"/>
                  </a:lnTo>
                  <a:lnTo>
                    <a:pt x="56" y="136"/>
                  </a:lnTo>
                  <a:lnTo>
                    <a:pt x="52" y="136"/>
                  </a:lnTo>
                  <a:lnTo>
                    <a:pt x="48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6"/>
                  </a:lnTo>
                  <a:lnTo>
                    <a:pt x="40" y="136"/>
                  </a:lnTo>
                  <a:lnTo>
                    <a:pt x="36" y="136"/>
                  </a:lnTo>
                  <a:lnTo>
                    <a:pt x="32" y="136"/>
                  </a:lnTo>
                  <a:lnTo>
                    <a:pt x="32" y="140"/>
                  </a:lnTo>
                  <a:lnTo>
                    <a:pt x="32" y="144"/>
                  </a:lnTo>
                  <a:lnTo>
                    <a:pt x="28" y="148"/>
                  </a:lnTo>
                  <a:lnTo>
                    <a:pt x="32" y="148"/>
                  </a:lnTo>
                  <a:lnTo>
                    <a:pt x="32" y="152"/>
                  </a:lnTo>
                  <a:lnTo>
                    <a:pt x="28" y="152"/>
                  </a:lnTo>
                  <a:lnTo>
                    <a:pt x="28" y="156"/>
                  </a:lnTo>
                  <a:lnTo>
                    <a:pt x="28" y="160"/>
                  </a:lnTo>
                  <a:lnTo>
                    <a:pt x="24" y="160"/>
                  </a:lnTo>
                  <a:lnTo>
                    <a:pt x="24" y="156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4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20" y="64"/>
                  </a:lnTo>
                  <a:lnTo>
                    <a:pt x="24" y="64"/>
                  </a:lnTo>
                  <a:lnTo>
                    <a:pt x="28" y="64"/>
                  </a:lnTo>
                  <a:lnTo>
                    <a:pt x="28" y="60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56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6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68" y="40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8" y="36"/>
                  </a:lnTo>
                  <a:lnTo>
                    <a:pt x="92" y="36"/>
                  </a:lnTo>
                  <a:lnTo>
                    <a:pt x="92" y="32"/>
                  </a:lnTo>
                  <a:lnTo>
                    <a:pt x="96" y="28"/>
                  </a:lnTo>
                  <a:lnTo>
                    <a:pt x="100" y="24"/>
                  </a:lnTo>
                  <a:lnTo>
                    <a:pt x="104" y="20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4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32" y="8"/>
                  </a:lnTo>
                  <a:lnTo>
                    <a:pt x="136" y="12"/>
                  </a:lnTo>
                  <a:lnTo>
                    <a:pt x="136" y="16"/>
                  </a:lnTo>
                  <a:lnTo>
                    <a:pt x="140" y="20"/>
                  </a:lnTo>
                  <a:lnTo>
                    <a:pt x="140" y="24"/>
                  </a:lnTo>
                  <a:lnTo>
                    <a:pt x="140" y="28"/>
                  </a:lnTo>
                  <a:lnTo>
                    <a:pt x="140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36" y="40"/>
                  </a:lnTo>
                  <a:lnTo>
                    <a:pt x="136" y="44"/>
                  </a:lnTo>
                  <a:lnTo>
                    <a:pt x="140" y="44"/>
                  </a:lnTo>
                  <a:lnTo>
                    <a:pt x="140" y="40"/>
                  </a:lnTo>
                  <a:lnTo>
                    <a:pt x="144" y="40"/>
                  </a:lnTo>
                  <a:lnTo>
                    <a:pt x="144" y="44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52" y="52"/>
                  </a:lnTo>
                  <a:lnTo>
                    <a:pt x="156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4" y="56"/>
                  </a:lnTo>
                  <a:lnTo>
                    <a:pt x="164" y="60"/>
                  </a:lnTo>
                  <a:lnTo>
                    <a:pt x="164" y="64"/>
                  </a:lnTo>
                  <a:lnTo>
                    <a:pt x="164" y="68"/>
                  </a:lnTo>
                  <a:lnTo>
                    <a:pt x="168" y="68"/>
                  </a:lnTo>
                  <a:lnTo>
                    <a:pt x="172" y="72"/>
                  </a:lnTo>
                  <a:lnTo>
                    <a:pt x="176" y="72"/>
                  </a:lnTo>
                  <a:lnTo>
                    <a:pt x="176" y="76"/>
                  </a:lnTo>
                  <a:lnTo>
                    <a:pt x="180" y="80"/>
                  </a:lnTo>
                  <a:lnTo>
                    <a:pt x="180" y="84"/>
                  </a:lnTo>
                  <a:lnTo>
                    <a:pt x="180" y="88"/>
                  </a:lnTo>
                  <a:lnTo>
                    <a:pt x="184" y="88"/>
                  </a:lnTo>
                  <a:lnTo>
                    <a:pt x="180" y="88"/>
                  </a:lnTo>
                  <a:lnTo>
                    <a:pt x="180" y="92"/>
                  </a:lnTo>
                  <a:lnTo>
                    <a:pt x="184" y="92"/>
                  </a:lnTo>
                  <a:lnTo>
                    <a:pt x="188" y="92"/>
                  </a:lnTo>
                  <a:lnTo>
                    <a:pt x="188" y="96"/>
                  </a:lnTo>
                  <a:lnTo>
                    <a:pt x="192" y="96"/>
                  </a:lnTo>
                  <a:lnTo>
                    <a:pt x="192" y="100"/>
                  </a:lnTo>
                  <a:lnTo>
                    <a:pt x="196" y="100"/>
                  </a:lnTo>
                  <a:lnTo>
                    <a:pt x="192" y="100"/>
                  </a:lnTo>
                  <a:lnTo>
                    <a:pt x="192" y="104"/>
                  </a:lnTo>
                  <a:lnTo>
                    <a:pt x="196" y="104"/>
                  </a:lnTo>
                  <a:lnTo>
                    <a:pt x="196" y="108"/>
                  </a:lnTo>
                  <a:lnTo>
                    <a:pt x="196" y="112"/>
                  </a:lnTo>
                  <a:lnTo>
                    <a:pt x="196" y="108"/>
                  </a:lnTo>
                  <a:lnTo>
                    <a:pt x="192" y="108"/>
                  </a:lnTo>
                  <a:lnTo>
                    <a:pt x="188" y="108"/>
                  </a:lnTo>
                  <a:lnTo>
                    <a:pt x="184" y="108"/>
                  </a:lnTo>
                  <a:lnTo>
                    <a:pt x="180" y="108"/>
                  </a:lnTo>
                  <a:lnTo>
                    <a:pt x="176" y="108"/>
                  </a:lnTo>
                  <a:lnTo>
                    <a:pt x="176" y="104"/>
                  </a:lnTo>
                  <a:lnTo>
                    <a:pt x="176" y="108"/>
                  </a:lnTo>
                  <a:lnTo>
                    <a:pt x="172" y="108"/>
                  </a:lnTo>
                  <a:lnTo>
                    <a:pt x="172" y="104"/>
                  </a:lnTo>
                  <a:lnTo>
                    <a:pt x="168" y="104"/>
                  </a:lnTo>
                  <a:lnTo>
                    <a:pt x="164" y="104"/>
                  </a:lnTo>
                  <a:lnTo>
                    <a:pt x="164" y="108"/>
                  </a:lnTo>
                  <a:lnTo>
                    <a:pt x="164" y="112"/>
                  </a:lnTo>
                  <a:lnTo>
                    <a:pt x="160" y="112"/>
                  </a:lnTo>
                  <a:lnTo>
                    <a:pt x="156" y="112"/>
                  </a:lnTo>
                  <a:lnTo>
                    <a:pt x="152" y="108"/>
                  </a:lnTo>
                  <a:lnTo>
                    <a:pt x="148" y="108"/>
                  </a:lnTo>
                  <a:lnTo>
                    <a:pt x="152" y="108"/>
                  </a:lnTo>
                  <a:lnTo>
                    <a:pt x="148" y="112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28" y="116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4" y="116"/>
                  </a:lnTo>
                  <a:lnTo>
                    <a:pt x="124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20" y="128"/>
                  </a:lnTo>
                  <a:lnTo>
                    <a:pt x="116" y="128"/>
                  </a:lnTo>
                  <a:lnTo>
                    <a:pt x="116" y="124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0" y="124"/>
                  </a:lnTo>
                  <a:lnTo>
                    <a:pt x="100" y="120"/>
                  </a:lnTo>
                  <a:lnTo>
                    <a:pt x="96" y="120"/>
                  </a:lnTo>
                  <a:lnTo>
                    <a:pt x="92" y="12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6" name="Freeform 126">
              <a:extLst>
                <a:ext uri="{FF2B5EF4-FFF2-40B4-BE49-F238E27FC236}">
                  <a16:creationId xmlns:a16="http://schemas.microsoft.com/office/drawing/2014/main" id="{0D647DA7-7558-0F46-87B8-D074123EB371}"/>
                </a:ext>
              </a:extLst>
            </p:cNvPr>
            <p:cNvSpPr>
              <a:spLocks/>
            </p:cNvSpPr>
            <p:nvPr>
              <p:custDataLst>
                <p:tags r:id="rId46"/>
              </p:custDataLst>
            </p:nvPr>
          </p:nvSpPr>
          <p:spPr bwMode="gray">
            <a:xfrm>
              <a:off x="4048926" y="5419820"/>
              <a:ext cx="201697" cy="371878"/>
            </a:xfrm>
            <a:custGeom>
              <a:avLst/>
              <a:gdLst/>
              <a:ahLst/>
              <a:cxnLst>
                <a:cxn ang="0">
                  <a:pos x="24" y="251"/>
                </a:cxn>
                <a:cxn ang="0">
                  <a:pos x="32" y="251"/>
                </a:cxn>
                <a:cxn ang="0">
                  <a:pos x="28" y="243"/>
                </a:cxn>
                <a:cxn ang="0">
                  <a:pos x="24" y="235"/>
                </a:cxn>
                <a:cxn ang="0">
                  <a:pos x="24" y="223"/>
                </a:cxn>
                <a:cxn ang="0">
                  <a:pos x="24" y="211"/>
                </a:cxn>
                <a:cxn ang="0">
                  <a:pos x="16" y="199"/>
                </a:cxn>
                <a:cxn ang="0">
                  <a:pos x="16" y="191"/>
                </a:cxn>
                <a:cxn ang="0">
                  <a:pos x="0" y="175"/>
                </a:cxn>
                <a:cxn ang="0">
                  <a:pos x="4" y="167"/>
                </a:cxn>
                <a:cxn ang="0">
                  <a:pos x="4" y="159"/>
                </a:cxn>
                <a:cxn ang="0">
                  <a:pos x="16" y="139"/>
                </a:cxn>
                <a:cxn ang="0">
                  <a:pos x="32" y="119"/>
                </a:cxn>
                <a:cxn ang="0">
                  <a:pos x="36" y="71"/>
                </a:cxn>
                <a:cxn ang="0">
                  <a:pos x="32" y="52"/>
                </a:cxn>
                <a:cxn ang="0">
                  <a:pos x="32" y="44"/>
                </a:cxn>
                <a:cxn ang="0">
                  <a:pos x="28" y="28"/>
                </a:cxn>
                <a:cxn ang="0">
                  <a:pos x="40" y="0"/>
                </a:cxn>
                <a:cxn ang="0">
                  <a:pos x="84" y="24"/>
                </a:cxn>
                <a:cxn ang="0">
                  <a:pos x="144" y="63"/>
                </a:cxn>
                <a:cxn ang="0">
                  <a:pos x="160" y="95"/>
                </a:cxn>
                <a:cxn ang="0">
                  <a:pos x="156" y="143"/>
                </a:cxn>
                <a:cxn ang="0">
                  <a:pos x="152" y="143"/>
                </a:cxn>
                <a:cxn ang="0">
                  <a:pos x="148" y="143"/>
                </a:cxn>
                <a:cxn ang="0">
                  <a:pos x="144" y="151"/>
                </a:cxn>
                <a:cxn ang="0">
                  <a:pos x="144" y="155"/>
                </a:cxn>
                <a:cxn ang="0">
                  <a:pos x="136" y="163"/>
                </a:cxn>
                <a:cxn ang="0">
                  <a:pos x="136" y="171"/>
                </a:cxn>
                <a:cxn ang="0">
                  <a:pos x="132" y="175"/>
                </a:cxn>
                <a:cxn ang="0">
                  <a:pos x="132" y="191"/>
                </a:cxn>
                <a:cxn ang="0">
                  <a:pos x="128" y="199"/>
                </a:cxn>
                <a:cxn ang="0">
                  <a:pos x="132" y="199"/>
                </a:cxn>
                <a:cxn ang="0">
                  <a:pos x="140" y="211"/>
                </a:cxn>
                <a:cxn ang="0">
                  <a:pos x="140" y="219"/>
                </a:cxn>
                <a:cxn ang="0">
                  <a:pos x="144" y="231"/>
                </a:cxn>
                <a:cxn ang="0">
                  <a:pos x="132" y="235"/>
                </a:cxn>
                <a:cxn ang="0">
                  <a:pos x="124" y="239"/>
                </a:cxn>
                <a:cxn ang="0">
                  <a:pos x="124" y="247"/>
                </a:cxn>
                <a:cxn ang="0">
                  <a:pos x="120" y="251"/>
                </a:cxn>
                <a:cxn ang="0">
                  <a:pos x="112" y="259"/>
                </a:cxn>
                <a:cxn ang="0">
                  <a:pos x="108" y="263"/>
                </a:cxn>
                <a:cxn ang="0">
                  <a:pos x="100" y="267"/>
                </a:cxn>
                <a:cxn ang="0">
                  <a:pos x="84" y="267"/>
                </a:cxn>
                <a:cxn ang="0">
                  <a:pos x="84" y="271"/>
                </a:cxn>
                <a:cxn ang="0">
                  <a:pos x="84" y="279"/>
                </a:cxn>
                <a:cxn ang="0">
                  <a:pos x="80" y="283"/>
                </a:cxn>
                <a:cxn ang="0">
                  <a:pos x="68" y="287"/>
                </a:cxn>
                <a:cxn ang="0">
                  <a:pos x="60" y="287"/>
                </a:cxn>
                <a:cxn ang="0">
                  <a:pos x="52" y="295"/>
                </a:cxn>
                <a:cxn ang="0">
                  <a:pos x="48" y="287"/>
                </a:cxn>
                <a:cxn ang="0">
                  <a:pos x="40" y="295"/>
                </a:cxn>
                <a:cxn ang="0">
                  <a:pos x="36" y="295"/>
                </a:cxn>
                <a:cxn ang="0">
                  <a:pos x="32" y="295"/>
                </a:cxn>
                <a:cxn ang="0">
                  <a:pos x="32" y="291"/>
                </a:cxn>
                <a:cxn ang="0">
                  <a:pos x="28" y="283"/>
                </a:cxn>
                <a:cxn ang="0">
                  <a:pos x="20" y="271"/>
                </a:cxn>
                <a:cxn ang="0">
                  <a:pos x="8" y="255"/>
                </a:cxn>
                <a:cxn ang="0">
                  <a:pos x="12" y="251"/>
                </a:cxn>
              </a:cxnLst>
              <a:rect l="0" t="0" r="r" b="b"/>
              <a:pathLst>
                <a:path w="160" h="295">
                  <a:moveTo>
                    <a:pt x="12" y="251"/>
                  </a:moveTo>
                  <a:lnTo>
                    <a:pt x="16" y="251"/>
                  </a:lnTo>
                  <a:lnTo>
                    <a:pt x="16" y="251"/>
                  </a:lnTo>
                  <a:lnTo>
                    <a:pt x="20" y="251"/>
                  </a:lnTo>
                  <a:lnTo>
                    <a:pt x="20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4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28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51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32" y="247"/>
                  </a:lnTo>
                  <a:lnTo>
                    <a:pt x="28" y="243"/>
                  </a:lnTo>
                  <a:lnTo>
                    <a:pt x="28" y="243"/>
                  </a:lnTo>
                  <a:lnTo>
                    <a:pt x="28" y="239"/>
                  </a:lnTo>
                  <a:lnTo>
                    <a:pt x="24" y="239"/>
                  </a:lnTo>
                  <a:lnTo>
                    <a:pt x="24" y="239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5"/>
                  </a:lnTo>
                  <a:lnTo>
                    <a:pt x="24" y="231"/>
                  </a:lnTo>
                  <a:lnTo>
                    <a:pt x="24" y="231"/>
                  </a:lnTo>
                  <a:lnTo>
                    <a:pt x="24" y="227"/>
                  </a:lnTo>
                  <a:lnTo>
                    <a:pt x="24" y="227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23"/>
                  </a:lnTo>
                  <a:lnTo>
                    <a:pt x="24" y="219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11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4" y="207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20" y="199"/>
                  </a:lnTo>
                  <a:lnTo>
                    <a:pt x="16" y="199"/>
                  </a:lnTo>
                  <a:lnTo>
                    <a:pt x="16" y="199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7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6" y="143"/>
                  </a:lnTo>
                  <a:lnTo>
                    <a:pt x="16" y="139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8" y="127"/>
                  </a:lnTo>
                  <a:lnTo>
                    <a:pt x="28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23"/>
                  </a:lnTo>
                  <a:lnTo>
                    <a:pt x="32" y="119"/>
                  </a:lnTo>
                  <a:lnTo>
                    <a:pt x="32" y="111"/>
                  </a:lnTo>
                  <a:lnTo>
                    <a:pt x="32" y="99"/>
                  </a:lnTo>
                  <a:lnTo>
                    <a:pt x="32" y="95"/>
                  </a:lnTo>
                  <a:lnTo>
                    <a:pt x="32" y="95"/>
                  </a:lnTo>
                  <a:lnTo>
                    <a:pt x="32" y="87"/>
                  </a:lnTo>
                  <a:lnTo>
                    <a:pt x="32" y="83"/>
                  </a:lnTo>
                  <a:lnTo>
                    <a:pt x="32" y="83"/>
                  </a:lnTo>
                  <a:lnTo>
                    <a:pt x="36" y="71"/>
                  </a:lnTo>
                  <a:lnTo>
                    <a:pt x="36" y="67"/>
                  </a:lnTo>
                  <a:lnTo>
                    <a:pt x="36" y="63"/>
                  </a:lnTo>
                  <a:lnTo>
                    <a:pt x="36" y="63"/>
                  </a:lnTo>
                  <a:lnTo>
                    <a:pt x="36" y="59"/>
                  </a:lnTo>
                  <a:lnTo>
                    <a:pt x="40" y="55"/>
                  </a:lnTo>
                  <a:lnTo>
                    <a:pt x="40" y="55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32" y="44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28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52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8" y="16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8"/>
                  </a:lnTo>
                  <a:lnTo>
                    <a:pt x="96" y="32"/>
                  </a:lnTo>
                  <a:lnTo>
                    <a:pt x="104" y="40"/>
                  </a:lnTo>
                  <a:lnTo>
                    <a:pt x="116" y="44"/>
                  </a:lnTo>
                  <a:lnTo>
                    <a:pt x="120" y="48"/>
                  </a:lnTo>
                  <a:lnTo>
                    <a:pt x="128" y="52"/>
                  </a:lnTo>
                  <a:lnTo>
                    <a:pt x="136" y="55"/>
                  </a:lnTo>
                  <a:lnTo>
                    <a:pt x="144" y="63"/>
                  </a:lnTo>
                  <a:lnTo>
                    <a:pt x="152" y="67"/>
                  </a:lnTo>
                  <a:lnTo>
                    <a:pt x="160" y="71"/>
                  </a:lnTo>
                  <a:lnTo>
                    <a:pt x="160" y="71"/>
                  </a:lnTo>
                  <a:lnTo>
                    <a:pt x="160" y="75"/>
                  </a:lnTo>
                  <a:lnTo>
                    <a:pt x="160" y="83"/>
                  </a:lnTo>
                  <a:lnTo>
                    <a:pt x="160" y="87"/>
                  </a:lnTo>
                  <a:lnTo>
                    <a:pt x="160" y="91"/>
                  </a:lnTo>
                  <a:lnTo>
                    <a:pt x="160" y="95"/>
                  </a:lnTo>
                  <a:lnTo>
                    <a:pt x="160" y="131"/>
                  </a:lnTo>
                  <a:lnTo>
                    <a:pt x="160" y="135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60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52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8" y="143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47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1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4" y="155"/>
                  </a:lnTo>
                  <a:lnTo>
                    <a:pt x="140" y="155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59"/>
                  </a:lnTo>
                  <a:lnTo>
                    <a:pt x="140" y="163"/>
                  </a:lnTo>
                  <a:lnTo>
                    <a:pt x="140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3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67"/>
                  </a:lnTo>
                  <a:lnTo>
                    <a:pt x="136" y="171"/>
                  </a:lnTo>
                  <a:lnTo>
                    <a:pt x="136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40" y="171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6" y="175"/>
                  </a:lnTo>
                  <a:lnTo>
                    <a:pt x="132" y="175"/>
                  </a:lnTo>
                  <a:lnTo>
                    <a:pt x="132" y="175"/>
                  </a:lnTo>
                  <a:lnTo>
                    <a:pt x="132" y="179"/>
                  </a:lnTo>
                  <a:lnTo>
                    <a:pt x="132" y="183"/>
                  </a:lnTo>
                  <a:lnTo>
                    <a:pt x="132" y="183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6" y="187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28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2" y="199"/>
                  </a:lnTo>
                  <a:lnTo>
                    <a:pt x="136" y="199"/>
                  </a:lnTo>
                  <a:lnTo>
                    <a:pt x="136" y="199"/>
                  </a:lnTo>
                  <a:lnTo>
                    <a:pt x="136" y="203"/>
                  </a:lnTo>
                  <a:lnTo>
                    <a:pt x="136" y="207"/>
                  </a:lnTo>
                  <a:lnTo>
                    <a:pt x="136" y="211"/>
                  </a:lnTo>
                  <a:lnTo>
                    <a:pt x="140" y="211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40" y="215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19"/>
                  </a:lnTo>
                  <a:lnTo>
                    <a:pt x="140" y="223"/>
                  </a:lnTo>
                  <a:lnTo>
                    <a:pt x="140" y="223"/>
                  </a:lnTo>
                  <a:lnTo>
                    <a:pt x="144" y="223"/>
                  </a:lnTo>
                  <a:lnTo>
                    <a:pt x="144" y="227"/>
                  </a:lnTo>
                  <a:lnTo>
                    <a:pt x="144" y="227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4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32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8" y="235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39"/>
                  </a:lnTo>
                  <a:lnTo>
                    <a:pt x="124" y="243"/>
                  </a:lnTo>
                  <a:lnTo>
                    <a:pt x="128" y="243"/>
                  </a:lnTo>
                  <a:lnTo>
                    <a:pt x="124" y="243"/>
                  </a:lnTo>
                  <a:lnTo>
                    <a:pt x="124" y="243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4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47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20" y="251"/>
                  </a:lnTo>
                  <a:lnTo>
                    <a:pt x="116" y="255"/>
                  </a:lnTo>
                  <a:lnTo>
                    <a:pt x="116" y="255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12" y="259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3"/>
                  </a:lnTo>
                  <a:lnTo>
                    <a:pt x="108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4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100" y="267"/>
                  </a:lnTo>
                  <a:lnTo>
                    <a:pt x="96" y="267"/>
                  </a:lnTo>
                  <a:lnTo>
                    <a:pt x="92" y="267"/>
                  </a:lnTo>
                  <a:lnTo>
                    <a:pt x="92" y="267"/>
                  </a:lnTo>
                  <a:lnTo>
                    <a:pt x="88" y="267"/>
                  </a:lnTo>
                  <a:lnTo>
                    <a:pt x="88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67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4" y="271"/>
                  </a:lnTo>
                  <a:lnTo>
                    <a:pt x="88" y="275"/>
                  </a:lnTo>
                  <a:lnTo>
                    <a:pt x="88" y="275"/>
                  </a:lnTo>
                  <a:lnTo>
                    <a:pt x="84" y="275"/>
                  </a:lnTo>
                  <a:lnTo>
                    <a:pt x="84" y="275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4" y="279"/>
                  </a:lnTo>
                  <a:lnTo>
                    <a:pt x="80" y="279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3"/>
                  </a:lnTo>
                  <a:lnTo>
                    <a:pt x="80" y="287"/>
                  </a:lnTo>
                  <a:lnTo>
                    <a:pt x="80" y="287"/>
                  </a:lnTo>
                  <a:lnTo>
                    <a:pt x="76" y="287"/>
                  </a:lnTo>
                  <a:lnTo>
                    <a:pt x="76" y="287"/>
                  </a:lnTo>
                  <a:lnTo>
                    <a:pt x="72" y="287"/>
                  </a:lnTo>
                  <a:lnTo>
                    <a:pt x="68" y="287"/>
                  </a:lnTo>
                  <a:lnTo>
                    <a:pt x="68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4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60" y="287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6" y="291"/>
                  </a:lnTo>
                  <a:lnTo>
                    <a:pt x="52" y="291"/>
                  </a:lnTo>
                  <a:lnTo>
                    <a:pt x="52" y="291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52" y="295"/>
                  </a:lnTo>
                  <a:lnTo>
                    <a:pt x="48" y="291"/>
                  </a:lnTo>
                  <a:lnTo>
                    <a:pt x="48" y="291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8" y="287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1"/>
                  </a:lnTo>
                  <a:lnTo>
                    <a:pt x="44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40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6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5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91"/>
                  </a:lnTo>
                  <a:lnTo>
                    <a:pt x="32" y="287"/>
                  </a:lnTo>
                  <a:lnTo>
                    <a:pt x="32" y="287"/>
                  </a:lnTo>
                  <a:lnTo>
                    <a:pt x="28" y="287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83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8" y="279"/>
                  </a:lnTo>
                  <a:lnTo>
                    <a:pt x="24" y="275"/>
                  </a:lnTo>
                  <a:lnTo>
                    <a:pt x="24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20" y="271"/>
                  </a:lnTo>
                  <a:lnTo>
                    <a:pt x="16" y="267"/>
                  </a:lnTo>
                  <a:lnTo>
                    <a:pt x="16" y="267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12" y="263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8" y="255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lnTo>
                    <a:pt x="12" y="251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7" name="Freeform 127">
              <a:extLst>
                <a:ext uri="{FF2B5EF4-FFF2-40B4-BE49-F238E27FC236}">
                  <a16:creationId xmlns:a16="http://schemas.microsoft.com/office/drawing/2014/main" id="{A5FE9161-6526-E949-B752-5A47BD2C1C5B}"/>
                </a:ext>
              </a:extLst>
            </p:cNvPr>
            <p:cNvSpPr>
              <a:spLocks noEditPoints="1"/>
            </p:cNvSpPr>
            <p:nvPr>
              <p:custDataLst>
                <p:tags r:id="rId47"/>
              </p:custDataLst>
            </p:nvPr>
          </p:nvSpPr>
          <p:spPr bwMode="gray">
            <a:xfrm>
              <a:off x="4617458" y="6229128"/>
              <a:ext cx="25212" cy="20170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16" y="16"/>
                </a:cxn>
                <a:cxn ang="0">
                  <a:pos x="16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8" y="16"/>
                </a:cxn>
              </a:cxnLst>
              <a:rect l="0" t="0" r="r" b="b"/>
              <a:pathLst>
                <a:path w="20" h="16">
                  <a:moveTo>
                    <a:pt x="4" y="8"/>
                  </a:moveTo>
                  <a:lnTo>
                    <a:pt x="4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close/>
                  <a:moveTo>
                    <a:pt x="20" y="16"/>
                  </a:move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8" name="Freeform 128">
              <a:extLst>
                <a:ext uri="{FF2B5EF4-FFF2-40B4-BE49-F238E27FC236}">
                  <a16:creationId xmlns:a16="http://schemas.microsoft.com/office/drawing/2014/main" id="{BC0E46B2-A59B-1F42-8B54-8FA34DFED3FF}"/>
                </a:ext>
              </a:extLst>
            </p:cNvPr>
            <p:cNvSpPr>
              <a:spLocks/>
            </p:cNvSpPr>
            <p:nvPr>
              <p:custDataLst>
                <p:tags r:id="rId48"/>
              </p:custDataLst>
            </p:nvPr>
          </p:nvSpPr>
          <p:spPr bwMode="gray">
            <a:xfrm>
              <a:off x="4003545" y="5877420"/>
              <a:ext cx="146230" cy="200436"/>
            </a:xfrm>
            <a:custGeom>
              <a:avLst/>
              <a:gdLst/>
              <a:ahLst/>
              <a:cxnLst>
                <a:cxn ang="0">
                  <a:pos x="68" y="147"/>
                </a:cxn>
                <a:cxn ang="0">
                  <a:pos x="60" y="155"/>
                </a:cxn>
                <a:cxn ang="0">
                  <a:pos x="52" y="159"/>
                </a:cxn>
                <a:cxn ang="0">
                  <a:pos x="52" y="147"/>
                </a:cxn>
                <a:cxn ang="0">
                  <a:pos x="40" y="151"/>
                </a:cxn>
                <a:cxn ang="0">
                  <a:pos x="36" y="159"/>
                </a:cxn>
                <a:cxn ang="0">
                  <a:pos x="32" y="155"/>
                </a:cxn>
                <a:cxn ang="0">
                  <a:pos x="24" y="151"/>
                </a:cxn>
                <a:cxn ang="0">
                  <a:pos x="16" y="159"/>
                </a:cxn>
                <a:cxn ang="0">
                  <a:pos x="12" y="151"/>
                </a:cxn>
                <a:cxn ang="0">
                  <a:pos x="4" y="147"/>
                </a:cxn>
                <a:cxn ang="0">
                  <a:pos x="0" y="139"/>
                </a:cxn>
                <a:cxn ang="0">
                  <a:pos x="12" y="135"/>
                </a:cxn>
                <a:cxn ang="0">
                  <a:pos x="8" y="127"/>
                </a:cxn>
                <a:cxn ang="0">
                  <a:pos x="8" y="124"/>
                </a:cxn>
                <a:cxn ang="0">
                  <a:pos x="8" y="112"/>
                </a:cxn>
                <a:cxn ang="0">
                  <a:pos x="16" y="112"/>
                </a:cxn>
                <a:cxn ang="0">
                  <a:pos x="20" y="108"/>
                </a:cxn>
                <a:cxn ang="0">
                  <a:pos x="28" y="104"/>
                </a:cxn>
                <a:cxn ang="0">
                  <a:pos x="32" y="112"/>
                </a:cxn>
                <a:cxn ang="0">
                  <a:pos x="40" y="112"/>
                </a:cxn>
                <a:cxn ang="0">
                  <a:pos x="44" y="116"/>
                </a:cxn>
                <a:cxn ang="0">
                  <a:pos x="48" y="108"/>
                </a:cxn>
                <a:cxn ang="0">
                  <a:pos x="52" y="100"/>
                </a:cxn>
                <a:cxn ang="0">
                  <a:pos x="52" y="88"/>
                </a:cxn>
                <a:cxn ang="0">
                  <a:pos x="48" y="80"/>
                </a:cxn>
                <a:cxn ang="0">
                  <a:pos x="44" y="72"/>
                </a:cxn>
                <a:cxn ang="0">
                  <a:pos x="44" y="60"/>
                </a:cxn>
                <a:cxn ang="0">
                  <a:pos x="52" y="52"/>
                </a:cxn>
                <a:cxn ang="0">
                  <a:pos x="44" y="44"/>
                </a:cxn>
                <a:cxn ang="0">
                  <a:pos x="36" y="48"/>
                </a:cxn>
                <a:cxn ang="0">
                  <a:pos x="32" y="40"/>
                </a:cxn>
                <a:cxn ang="0">
                  <a:pos x="40" y="32"/>
                </a:cxn>
                <a:cxn ang="0">
                  <a:pos x="56" y="32"/>
                </a:cxn>
                <a:cxn ang="0">
                  <a:pos x="68" y="32"/>
                </a:cxn>
                <a:cxn ang="0">
                  <a:pos x="76" y="36"/>
                </a:cxn>
                <a:cxn ang="0">
                  <a:pos x="76" y="32"/>
                </a:cxn>
                <a:cxn ang="0">
                  <a:pos x="80" y="24"/>
                </a:cxn>
                <a:cxn ang="0">
                  <a:pos x="84" y="16"/>
                </a:cxn>
                <a:cxn ang="0">
                  <a:pos x="84" y="8"/>
                </a:cxn>
                <a:cxn ang="0">
                  <a:pos x="92" y="4"/>
                </a:cxn>
                <a:cxn ang="0">
                  <a:pos x="96" y="4"/>
                </a:cxn>
                <a:cxn ang="0">
                  <a:pos x="108" y="4"/>
                </a:cxn>
                <a:cxn ang="0">
                  <a:pos x="112" y="4"/>
                </a:cxn>
                <a:cxn ang="0">
                  <a:pos x="116" y="12"/>
                </a:cxn>
                <a:cxn ang="0">
                  <a:pos x="112" y="20"/>
                </a:cxn>
                <a:cxn ang="0">
                  <a:pos x="108" y="28"/>
                </a:cxn>
                <a:cxn ang="0">
                  <a:pos x="108" y="40"/>
                </a:cxn>
                <a:cxn ang="0">
                  <a:pos x="104" y="56"/>
                </a:cxn>
                <a:cxn ang="0">
                  <a:pos x="104" y="68"/>
                </a:cxn>
                <a:cxn ang="0">
                  <a:pos x="100" y="76"/>
                </a:cxn>
                <a:cxn ang="0">
                  <a:pos x="96" y="88"/>
                </a:cxn>
                <a:cxn ang="0">
                  <a:pos x="88" y="96"/>
                </a:cxn>
                <a:cxn ang="0">
                  <a:pos x="84" y="104"/>
                </a:cxn>
                <a:cxn ang="0">
                  <a:pos x="76" y="108"/>
                </a:cxn>
                <a:cxn ang="0">
                  <a:pos x="80" y="120"/>
                </a:cxn>
                <a:cxn ang="0">
                  <a:pos x="76" y="127"/>
                </a:cxn>
                <a:cxn ang="0">
                  <a:pos x="76" y="135"/>
                </a:cxn>
                <a:cxn ang="0">
                  <a:pos x="72" y="143"/>
                </a:cxn>
              </a:cxnLst>
              <a:rect l="0" t="0" r="r" b="b"/>
              <a:pathLst>
                <a:path w="116" h="159">
                  <a:moveTo>
                    <a:pt x="72" y="143"/>
                  </a:moveTo>
                  <a:lnTo>
                    <a:pt x="68" y="143"/>
                  </a:lnTo>
                  <a:lnTo>
                    <a:pt x="68" y="147"/>
                  </a:lnTo>
                  <a:lnTo>
                    <a:pt x="64" y="147"/>
                  </a:lnTo>
                  <a:lnTo>
                    <a:pt x="60" y="151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6" y="159"/>
                  </a:lnTo>
                  <a:lnTo>
                    <a:pt x="52" y="159"/>
                  </a:lnTo>
                  <a:lnTo>
                    <a:pt x="52" y="155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48" y="147"/>
                  </a:lnTo>
                  <a:lnTo>
                    <a:pt x="44" y="151"/>
                  </a:lnTo>
                  <a:lnTo>
                    <a:pt x="40" y="151"/>
                  </a:lnTo>
                  <a:lnTo>
                    <a:pt x="40" y="155"/>
                  </a:lnTo>
                  <a:lnTo>
                    <a:pt x="36" y="155"/>
                  </a:lnTo>
                  <a:lnTo>
                    <a:pt x="36" y="159"/>
                  </a:lnTo>
                  <a:lnTo>
                    <a:pt x="32" y="155"/>
                  </a:lnTo>
                  <a:lnTo>
                    <a:pt x="32" y="151"/>
                  </a:lnTo>
                  <a:lnTo>
                    <a:pt x="32" y="155"/>
                  </a:lnTo>
                  <a:lnTo>
                    <a:pt x="28" y="155"/>
                  </a:lnTo>
                  <a:lnTo>
                    <a:pt x="28" y="151"/>
                  </a:lnTo>
                  <a:lnTo>
                    <a:pt x="24" y="151"/>
                  </a:lnTo>
                  <a:lnTo>
                    <a:pt x="20" y="155"/>
                  </a:lnTo>
                  <a:lnTo>
                    <a:pt x="16" y="155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4" y="147"/>
                  </a:lnTo>
                  <a:lnTo>
                    <a:pt x="4" y="143"/>
                  </a:lnTo>
                  <a:lnTo>
                    <a:pt x="0" y="143"/>
                  </a:lnTo>
                  <a:lnTo>
                    <a:pt x="0" y="139"/>
                  </a:lnTo>
                  <a:lnTo>
                    <a:pt x="4" y="135"/>
                  </a:lnTo>
                  <a:lnTo>
                    <a:pt x="8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27"/>
                  </a:lnTo>
                  <a:lnTo>
                    <a:pt x="8" y="127"/>
                  </a:lnTo>
                  <a:lnTo>
                    <a:pt x="12" y="124"/>
                  </a:lnTo>
                  <a:lnTo>
                    <a:pt x="8" y="120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6" y="112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20" y="104"/>
                  </a:lnTo>
                  <a:lnTo>
                    <a:pt x="24" y="104"/>
                  </a:lnTo>
                  <a:lnTo>
                    <a:pt x="28" y="104"/>
                  </a:lnTo>
                  <a:lnTo>
                    <a:pt x="28" y="108"/>
                  </a:lnTo>
                  <a:lnTo>
                    <a:pt x="28" y="112"/>
                  </a:lnTo>
                  <a:lnTo>
                    <a:pt x="32" y="112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4" y="112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48" y="112"/>
                  </a:lnTo>
                  <a:lnTo>
                    <a:pt x="48" y="108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0"/>
                  </a:lnTo>
                  <a:lnTo>
                    <a:pt x="48" y="80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0"/>
                  </a:lnTo>
                  <a:lnTo>
                    <a:pt x="48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48" y="48"/>
                  </a:lnTo>
                  <a:lnTo>
                    <a:pt x="48" y="44"/>
                  </a:lnTo>
                  <a:lnTo>
                    <a:pt x="44" y="44"/>
                  </a:lnTo>
                  <a:lnTo>
                    <a:pt x="40" y="44"/>
                  </a:lnTo>
                  <a:lnTo>
                    <a:pt x="40" y="48"/>
                  </a:lnTo>
                  <a:lnTo>
                    <a:pt x="36" y="48"/>
                  </a:lnTo>
                  <a:lnTo>
                    <a:pt x="32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4" y="32"/>
                  </a:lnTo>
                  <a:lnTo>
                    <a:pt x="68" y="32"/>
                  </a:lnTo>
                  <a:lnTo>
                    <a:pt x="68" y="36"/>
                  </a:lnTo>
                  <a:lnTo>
                    <a:pt x="72" y="36"/>
                  </a:lnTo>
                  <a:lnTo>
                    <a:pt x="76" y="36"/>
                  </a:lnTo>
                  <a:lnTo>
                    <a:pt x="76" y="40"/>
                  </a:lnTo>
                  <a:lnTo>
                    <a:pt x="76" y="36"/>
                  </a:lnTo>
                  <a:lnTo>
                    <a:pt x="76" y="32"/>
                  </a:lnTo>
                  <a:lnTo>
                    <a:pt x="76" y="28"/>
                  </a:lnTo>
                  <a:lnTo>
                    <a:pt x="80" y="28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4" y="20"/>
                  </a:lnTo>
                  <a:lnTo>
                    <a:pt x="84" y="16"/>
                  </a:lnTo>
                  <a:lnTo>
                    <a:pt x="80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0"/>
                  </a:lnTo>
                  <a:lnTo>
                    <a:pt x="96" y="4"/>
                  </a:lnTo>
                  <a:lnTo>
                    <a:pt x="100" y="4"/>
                  </a:lnTo>
                  <a:lnTo>
                    <a:pt x="104" y="4"/>
                  </a:lnTo>
                  <a:lnTo>
                    <a:pt x="108" y="4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16" y="12"/>
                  </a:lnTo>
                  <a:lnTo>
                    <a:pt x="112" y="12"/>
                  </a:lnTo>
                  <a:lnTo>
                    <a:pt x="112" y="16"/>
                  </a:lnTo>
                  <a:lnTo>
                    <a:pt x="112" y="20"/>
                  </a:lnTo>
                  <a:lnTo>
                    <a:pt x="112" y="24"/>
                  </a:lnTo>
                  <a:lnTo>
                    <a:pt x="108" y="24"/>
                  </a:lnTo>
                  <a:lnTo>
                    <a:pt x="108" y="28"/>
                  </a:lnTo>
                  <a:lnTo>
                    <a:pt x="108" y="32"/>
                  </a:lnTo>
                  <a:lnTo>
                    <a:pt x="108" y="36"/>
                  </a:lnTo>
                  <a:lnTo>
                    <a:pt x="108" y="40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4"/>
                  </a:lnTo>
                  <a:lnTo>
                    <a:pt x="104" y="68"/>
                  </a:lnTo>
                  <a:lnTo>
                    <a:pt x="100" y="68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96" y="88"/>
                  </a:lnTo>
                  <a:lnTo>
                    <a:pt x="92" y="88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8"/>
                  </a:lnTo>
                  <a:lnTo>
                    <a:pt x="76" y="108"/>
                  </a:lnTo>
                  <a:lnTo>
                    <a:pt x="76" y="112"/>
                  </a:lnTo>
                  <a:lnTo>
                    <a:pt x="80" y="116"/>
                  </a:lnTo>
                  <a:lnTo>
                    <a:pt x="80" y="120"/>
                  </a:lnTo>
                  <a:lnTo>
                    <a:pt x="76" y="120"/>
                  </a:lnTo>
                  <a:lnTo>
                    <a:pt x="76" y="124"/>
                  </a:lnTo>
                  <a:lnTo>
                    <a:pt x="76" y="127"/>
                  </a:lnTo>
                  <a:lnTo>
                    <a:pt x="80" y="131"/>
                  </a:lnTo>
                  <a:lnTo>
                    <a:pt x="76" y="131"/>
                  </a:lnTo>
                  <a:lnTo>
                    <a:pt x="76" y="135"/>
                  </a:lnTo>
                  <a:lnTo>
                    <a:pt x="76" y="139"/>
                  </a:lnTo>
                  <a:lnTo>
                    <a:pt x="72" y="139"/>
                  </a:lnTo>
                  <a:lnTo>
                    <a:pt x="72" y="143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59" name="Freeform 129">
              <a:extLst>
                <a:ext uri="{FF2B5EF4-FFF2-40B4-BE49-F238E27FC236}">
                  <a16:creationId xmlns:a16="http://schemas.microsoft.com/office/drawing/2014/main" id="{22053432-C551-B245-A437-5C2A3A70DA84}"/>
                </a:ext>
              </a:extLst>
            </p:cNvPr>
            <p:cNvSpPr>
              <a:spLocks/>
            </p:cNvSpPr>
            <p:nvPr>
              <p:custDataLst>
                <p:tags r:id="rId49"/>
              </p:custDataLst>
            </p:nvPr>
          </p:nvSpPr>
          <p:spPr bwMode="gray">
            <a:xfrm>
              <a:off x="4023714" y="5842123"/>
              <a:ext cx="366835" cy="432387"/>
            </a:xfrm>
            <a:custGeom>
              <a:avLst/>
              <a:gdLst/>
              <a:ahLst/>
              <a:cxnLst>
                <a:cxn ang="0">
                  <a:pos x="32" y="207"/>
                </a:cxn>
                <a:cxn ang="0">
                  <a:pos x="12" y="203"/>
                </a:cxn>
                <a:cxn ang="0">
                  <a:pos x="4" y="203"/>
                </a:cxn>
                <a:cxn ang="0">
                  <a:pos x="16" y="183"/>
                </a:cxn>
                <a:cxn ang="0">
                  <a:pos x="24" y="179"/>
                </a:cxn>
                <a:cxn ang="0">
                  <a:pos x="36" y="187"/>
                </a:cxn>
                <a:cxn ang="0">
                  <a:pos x="52" y="175"/>
                </a:cxn>
                <a:cxn ang="0">
                  <a:pos x="60" y="159"/>
                </a:cxn>
                <a:cxn ang="0">
                  <a:pos x="64" y="144"/>
                </a:cxn>
                <a:cxn ang="0">
                  <a:pos x="68" y="128"/>
                </a:cxn>
                <a:cxn ang="0">
                  <a:pos x="84" y="112"/>
                </a:cxn>
                <a:cxn ang="0">
                  <a:pos x="88" y="92"/>
                </a:cxn>
                <a:cxn ang="0">
                  <a:pos x="92" y="64"/>
                </a:cxn>
                <a:cxn ang="0">
                  <a:pos x="96" y="44"/>
                </a:cxn>
                <a:cxn ang="0">
                  <a:pos x="100" y="24"/>
                </a:cxn>
                <a:cxn ang="0">
                  <a:pos x="104" y="12"/>
                </a:cxn>
                <a:cxn ang="0">
                  <a:pos x="120" y="8"/>
                </a:cxn>
                <a:cxn ang="0">
                  <a:pos x="136" y="16"/>
                </a:cxn>
                <a:cxn ang="0">
                  <a:pos x="156" y="24"/>
                </a:cxn>
                <a:cxn ang="0">
                  <a:pos x="164" y="8"/>
                </a:cxn>
                <a:cxn ang="0">
                  <a:pos x="184" y="8"/>
                </a:cxn>
                <a:cxn ang="0">
                  <a:pos x="200" y="8"/>
                </a:cxn>
                <a:cxn ang="0">
                  <a:pos x="212" y="4"/>
                </a:cxn>
                <a:cxn ang="0">
                  <a:pos x="228" y="4"/>
                </a:cxn>
                <a:cxn ang="0">
                  <a:pos x="243" y="16"/>
                </a:cxn>
                <a:cxn ang="0">
                  <a:pos x="259" y="16"/>
                </a:cxn>
                <a:cxn ang="0">
                  <a:pos x="267" y="16"/>
                </a:cxn>
                <a:cxn ang="0">
                  <a:pos x="279" y="28"/>
                </a:cxn>
                <a:cxn ang="0">
                  <a:pos x="283" y="48"/>
                </a:cxn>
                <a:cxn ang="0">
                  <a:pos x="287" y="60"/>
                </a:cxn>
                <a:cxn ang="0">
                  <a:pos x="275" y="80"/>
                </a:cxn>
                <a:cxn ang="0">
                  <a:pos x="267" y="96"/>
                </a:cxn>
                <a:cxn ang="0">
                  <a:pos x="263" y="116"/>
                </a:cxn>
                <a:cxn ang="0">
                  <a:pos x="259" y="136"/>
                </a:cxn>
                <a:cxn ang="0">
                  <a:pos x="259" y="155"/>
                </a:cxn>
                <a:cxn ang="0">
                  <a:pos x="263" y="179"/>
                </a:cxn>
                <a:cxn ang="0">
                  <a:pos x="263" y="195"/>
                </a:cxn>
                <a:cxn ang="0">
                  <a:pos x="267" y="219"/>
                </a:cxn>
                <a:cxn ang="0">
                  <a:pos x="279" y="235"/>
                </a:cxn>
                <a:cxn ang="0">
                  <a:pos x="275" y="247"/>
                </a:cxn>
                <a:cxn ang="0">
                  <a:pos x="255" y="259"/>
                </a:cxn>
                <a:cxn ang="0">
                  <a:pos x="251" y="279"/>
                </a:cxn>
                <a:cxn ang="0">
                  <a:pos x="247" y="299"/>
                </a:cxn>
                <a:cxn ang="0">
                  <a:pos x="251" y="319"/>
                </a:cxn>
                <a:cxn ang="0">
                  <a:pos x="267" y="323"/>
                </a:cxn>
                <a:cxn ang="0">
                  <a:pos x="267" y="343"/>
                </a:cxn>
                <a:cxn ang="0">
                  <a:pos x="251" y="335"/>
                </a:cxn>
                <a:cxn ang="0">
                  <a:pos x="236" y="323"/>
                </a:cxn>
                <a:cxn ang="0">
                  <a:pos x="224" y="319"/>
                </a:cxn>
                <a:cxn ang="0">
                  <a:pos x="200" y="311"/>
                </a:cxn>
                <a:cxn ang="0">
                  <a:pos x="184" y="307"/>
                </a:cxn>
                <a:cxn ang="0">
                  <a:pos x="180" y="299"/>
                </a:cxn>
                <a:cxn ang="0">
                  <a:pos x="156" y="299"/>
                </a:cxn>
                <a:cxn ang="0">
                  <a:pos x="156" y="291"/>
                </a:cxn>
                <a:cxn ang="0">
                  <a:pos x="148" y="267"/>
                </a:cxn>
                <a:cxn ang="0">
                  <a:pos x="148" y="243"/>
                </a:cxn>
                <a:cxn ang="0">
                  <a:pos x="128" y="231"/>
                </a:cxn>
                <a:cxn ang="0">
                  <a:pos x="112" y="227"/>
                </a:cxn>
                <a:cxn ang="0">
                  <a:pos x="112" y="243"/>
                </a:cxn>
                <a:cxn ang="0">
                  <a:pos x="88" y="247"/>
                </a:cxn>
                <a:cxn ang="0">
                  <a:pos x="76" y="235"/>
                </a:cxn>
                <a:cxn ang="0">
                  <a:pos x="68" y="215"/>
                </a:cxn>
              </a:cxnLst>
              <a:rect l="0" t="0" r="r" b="b"/>
              <a:pathLst>
                <a:path w="291" h="343">
                  <a:moveTo>
                    <a:pt x="60" y="203"/>
                  </a:moveTo>
                  <a:lnTo>
                    <a:pt x="56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36" y="207"/>
                  </a:lnTo>
                  <a:lnTo>
                    <a:pt x="32" y="207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8" y="203"/>
                  </a:lnTo>
                  <a:lnTo>
                    <a:pt x="8" y="207"/>
                  </a:lnTo>
                  <a:lnTo>
                    <a:pt x="4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4" y="203"/>
                  </a:lnTo>
                  <a:lnTo>
                    <a:pt x="8" y="203"/>
                  </a:lnTo>
                  <a:lnTo>
                    <a:pt x="8" y="195"/>
                  </a:lnTo>
                  <a:lnTo>
                    <a:pt x="8" y="191"/>
                  </a:lnTo>
                  <a:lnTo>
                    <a:pt x="8" y="187"/>
                  </a:lnTo>
                  <a:lnTo>
                    <a:pt x="12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4" y="183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75"/>
                  </a:lnTo>
                  <a:lnTo>
                    <a:pt x="36" y="175"/>
                  </a:lnTo>
                  <a:lnTo>
                    <a:pt x="36" y="179"/>
                  </a:lnTo>
                  <a:lnTo>
                    <a:pt x="36" y="183"/>
                  </a:lnTo>
                  <a:lnTo>
                    <a:pt x="36" y="187"/>
                  </a:lnTo>
                  <a:lnTo>
                    <a:pt x="40" y="187"/>
                  </a:lnTo>
                  <a:lnTo>
                    <a:pt x="40" y="183"/>
                  </a:lnTo>
                  <a:lnTo>
                    <a:pt x="44" y="183"/>
                  </a:lnTo>
                  <a:lnTo>
                    <a:pt x="44" y="179"/>
                  </a:lnTo>
                  <a:lnTo>
                    <a:pt x="48" y="175"/>
                  </a:lnTo>
                  <a:lnTo>
                    <a:pt x="52" y="175"/>
                  </a:lnTo>
                  <a:lnTo>
                    <a:pt x="52" y="171"/>
                  </a:lnTo>
                  <a:lnTo>
                    <a:pt x="56" y="171"/>
                  </a:lnTo>
                  <a:lnTo>
                    <a:pt x="56" y="167"/>
                  </a:lnTo>
                  <a:lnTo>
                    <a:pt x="60" y="167"/>
                  </a:lnTo>
                  <a:lnTo>
                    <a:pt x="60" y="163"/>
                  </a:lnTo>
                  <a:lnTo>
                    <a:pt x="60" y="159"/>
                  </a:lnTo>
                  <a:lnTo>
                    <a:pt x="64" y="159"/>
                  </a:lnTo>
                  <a:lnTo>
                    <a:pt x="60" y="155"/>
                  </a:lnTo>
                  <a:lnTo>
                    <a:pt x="60" y="152"/>
                  </a:lnTo>
                  <a:lnTo>
                    <a:pt x="60" y="148"/>
                  </a:lnTo>
                  <a:lnTo>
                    <a:pt x="64" y="148"/>
                  </a:lnTo>
                  <a:lnTo>
                    <a:pt x="64" y="144"/>
                  </a:lnTo>
                  <a:lnTo>
                    <a:pt x="60" y="140"/>
                  </a:lnTo>
                  <a:lnTo>
                    <a:pt x="60" y="136"/>
                  </a:lnTo>
                  <a:lnTo>
                    <a:pt x="64" y="136"/>
                  </a:lnTo>
                  <a:lnTo>
                    <a:pt x="64" y="132"/>
                  </a:lnTo>
                  <a:lnTo>
                    <a:pt x="68" y="132"/>
                  </a:lnTo>
                  <a:lnTo>
                    <a:pt x="68" y="128"/>
                  </a:lnTo>
                  <a:lnTo>
                    <a:pt x="68" y="124"/>
                  </a:lnTo>
                  <a:lnTo>
                    <a:pt x="72" y="124"/>
                  </a:lnTo>
                  <a:lnTo>
                    <a:pt x="72" y="120"/>
                  </a:lnTo>
                  <a:lnTo>
                    <a:pt x="76" y="116"/>
                  </a:lnTo>
                  <a:lnTo>
                    <a:pt x="80" y="116"/>
                  </a:lnTo>
                  <a:lnTo>
                    <a:pt x="84" y="112"/>
                  </a:lnTo>
                  <a:lnTo>
                    <a:pt x="84" y="108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8" y="96"/>
                  </a:lnTo>
                  <a:lnTo>
                    <a:pt x="88" y="92"/>
                  </a:lnTo>
                  <a:lnTo>
                    <a:pt x="88" y="88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8" y="76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92" y="60"/>
                  </a:lnTo>
                  <a:lnTo>
                    <a:pt x="92" y="56"/>
                  </a:lnTo>
                  <a:lnTo>
                    <a:pt x="92" y="52"/>
                  </a:lnTo>
                  <a:lnTo>
                    <a:pt x="96" y="52"/>
                  </a:lnTo>
                  <a:lnTo>
                    <a:pt x="96" y="48"/>
                  </a:lnTo>
                  <a:lnTo>
                    <a:pt x="96" y="44"/>
                  </a:lnTo>
                  <a:lnTo>
                    <a:pt x="96" y="40"/>
                  </a:lnTo>
                  <a:lnTo>
                    <a:pt x="100" y="40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0" y="24"/>
                  </a:lnTo>
                  <a:lnTo>
                    <a:pt x="100" y="20"/>
                  </a:lnTo>
                  <a:lnTo>
                    <a:pt x="96" y="20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0" y="16"/>
                  </a:lnTo>
                  <a:lnTo>
                    <a:pt x="104" y="12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8"/>
                  </a:lnTo>
                  <a:lnTo>
                    <a:pt x="120" y="8"/>
                  </a:lnTo>
                  <a:lnTo>
                    <a:pt x="124" y="8"/>
                  </a:lnTo>
                  <a:lnTo>
                    <a:pt x="124" y="12"/>
                  </a:lnTo>
                  <a:lnTo>
                    <a:pt x="128" y="12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4" y="20"/>
                  </a:lnTo>
                  <a:lnTo>
                    <a:pt x="148" y="20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6" y="24"/>
                  </a:lnTo>
                  <a:lnTo>
                    <a:pt x="156" y="20"/>
                  </a:lnTo>
                  <a:lnTo>
                    <a:pt x="160" y="20"/>
                  </a:lnTo>
                  <a:lnTo>
                    <a:pt x="160" y="16"/>
                  </a:lnTo>
                  <a:lnTo>
                    <a:pt x="160" y="12"/>
                  </a:lnTo>
                  <a:lnTo>
                    <a:pt x="164" y="12"/>
                  </a:lnTo>
                  <a:lnTo>
                    <a:pt x="164" y="8"/>
                  </a:lnTo>
                  <a:lnTo>
                    <a:pt x="164" y="12"/>
                  </a:lnTo>
                  <a:lnTo>
                    <a:pt x="168" y="12"/>
                  </a:lnTo>
                  <a:lnTo>
                    <a:pt x="172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4"/>
                  </a:lnTo>
                  <a:lnTo>
                    <a:pt x="184" y="4"/>
                  </a:lnTo>
                  <a:lnTo>
                    <a:pt x="188" y="4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0" y="4"/>
                  </a:lnTo>
                  <a:lnTo>
                    <a:pt x="200" y="0"/>
                  </a:lnTo>
                  <a:lnTo>
                    <a:pt x="204" y="0"/>
                  </a:lnTo>
                  <a:lnTo>
                    <a:pt x="208" y="0"/>
                  </a:lnTo>
                  <a:lnTo>
                    <a:pt x="208" y="4"/>
                  </a:lnTo>
                  <a:lnTo>
                    <a:pt x="212" y="4"/>
                  </a:lnTo>
                  <a:lnTo>
                    <a:pt x="212" y="0"/>
                  </a:lnTo>
                  <a:lnTo>
                    <a:pt x="212" y="4"/>
                  </a:lnTo>
                  <a:lnTo>
                    <a:pt x="216" y="4"/>
                  </a:lnTo>
                  <a:lnTo>
                    <a:pt x="220" y="4"/>
                  </a:lnTo>
                  <a:lnTo>
                    <a:pt x="224" y="4"/>
                  </a:lnTo>
                  <a:lnTo>
                    <a:pt x="228" y="4"/>
                  </a:lnTo>
                  <a:lnTo>
                    <a:pt x="232" y="4"/>
                  </a:lnTo>
                  <a:lnTo>
                    <a:pt x="232" y="8"/>
                  </a:lnTo>
                  <a:lnTo>
                    <a:pt x="236" y="8"/>
                  </a:lnTo>
                  <a:lnTo>
                    <a:pt x="236" y="12"/>
                  </a:lnTo>
                  <a:lnTo>
                    <a:pt x="240" y="16"/>
                  </a:lnTo>
                  <a:lnTo>
                    <a:pt x="243" y="16"/>
                  </a:lnTo>
                  <a:lnTo>
                    <a:pt x="243" y="20"/>
                  </a:lnTo>
                  <a:lnTo>
                    <a:pt x="247" y="20"/>
                  </a:lnTo>
                  <a:lnTo>
                    <a:pt x="247" y="16"/>
                  </a:lnTo>
                  <a:lnTo>
                    <a:pt x="251" y="16"/>
                  </a:lnTo>
                  <a:lnTo>
                    <a:pt x="255" y="16"/>
                  </a:lnTo>
                  <a:lnTo>
                    <a:pt x="259" y="16"/>
                  </a:lnTo>
                  <a:lnTo>
                    <a:pt x="259" y="20"/>
                  </a:lnTo>
                  <a:lnTo>
                    <a:pt x="259" y="16"/>
                  </a:lnTo>
                  <a:lnTo>
                    <a:pt x="263" y="16"/>
                  </a:lnTo>
                  <a:lnTo>
                    <a:pt x="263" y="12"/>
                  </a:lnTo>
                  <a:lnTo>
                    <a:pt x="267" y="12"/>
                  </a:lnTo>
                  <a:lnTo>
                    <a:pt x="267" y="16"/>
                  </a:lnTo>
                  <a:lnTo>
                    <a:pt x="267" y="20"/>
                  </a:lnTo>
                  <a:lnTo>
                    <a:pt x="271" y="20"/>
                  </a:lnTo>
                  <a:lnTo>
                    <a:pt x="271" y="24"/>
                  </a:lnTo>
                  <a:lnTo>
                    <a:pt x="275" y="24"/>
                  </a:lnTo>
                  <a:lnTo>
                    <a:pt x="275" y="28"/>
                  </a:lnTo>
                  <a:lnTo>
                    <a:pt x="279" y="28"/>
                  </a:lnTo>
                  <a:lnTo>
                    <a:pt x="279" y="32"/>
                  </a:lnTo>
                  <a:lnTo>
                    <a:pt x="283" y="32"/>
                  </a:lnTo>
                  <a:lnTo>
                    <a:pt x="283" y="36"/>
                  </a:lnTo>
                  <a:lnTo>
                    <a:pt x="283" y="40"/>
                  </a:lnTo>
                  <a:lnTo>
                    <a:pt x="283" y="44"/>
                  </a:lnTo>
                  <a:lnTo>
                    <a:pt x="283" y="48"/>
                  </a:lnTo>
                  <a:lnTo>
                    <a:pt x="283" y="52"/>
                  </a:lnTo>
                  <a:lnTo>
                    <a:pt x="283" y="56"/>
                  </a:lnTo>
                  <a:lnTo>
                    <a:pt x="287" y="52"/>
                  </a:lnTo>
                  <a:lnTo>
                    <a:pt x="287" y="56"/>
                  </a:lnTo>
                  <a:lnTo>
                    <a:pt x="291" y="60"/>
                  </a:lnTo>
                  <a:lnTo>
                    <a:pt x="287" y="60"/>
                  </a:lnTo>
                  <a:lnTo>
                    <a:pt x="287" y="64"/>
                  </a:lnTo>
                  <a:lnTo>
                    <a:pt x="283" y="68"/>
                  </a:lnTo>
                  <a:lnTo>
                    <a:pt x="279" y="72"/>
                  </a:lnTo>
                  <a:lnTo>
                    <a:pt x="279" y="76"/>
                  </a:lnTo>
                  <a:lnTo>
                    <a:pt x="275" y="76"/>
                  </a:lnTo>
                  <a:lnTo>
                    <a:pt x="275" y="80"/>
                  </a:lnTo>
                  <a:lnTo>
                    <a:pt x="271" y="80"/>
                  </a:lnTo>
                  <a:lnTo>
                    <a:pt x="271" y="84"/>
                  </a:lnTo>
                  <a:lnTo>
                    <a:pt x="271" y="88"/>
                  </a:lnTo>
                  <a:lnTo>
                    <a:pt x="271" y="92"/>
                  </a:lnTo>
                  <a:lnTo>
                    <a:pt x="267" y="92"/>
                  </a:lnTo>
                  <a:lnTo>
                    <a:pt x="267" y="96"/>
                  </a:lnTo>
                  <a:lnTo>
                    <a:pt x="267" y="100"/>
                  </a:lnTo>
                  <a:lnTo>
                    <a:pt x="267" y="104"/>
                  </a:lnTo>
                  <a:lnTo>
                    <a:pt x="267" y="108"/>
                  </a:lnTo>
                  <a:lnTo>
                    <a:pt x="263" y="108"/>
                  </a:lnTo>
                  <a:lnTo>
                    <a:pt x="263" y="112"/>
                  </a:lnTo>
                  <a:lnTo>
                    <a:pt x="263" y="116"/>
                  </a:lnTo>
                  <a:lnTo>
                    <a:pt x="263" y="120"/>
                  </a:lnTo>
                  <a:lnTo>
                    <a:pt x="263" y="124"/>
                  </a:lnTo>
                  <a:lnTo>
                    <a:pt x="259" y="124"/>
                  </a:lnTo>
                  <a:lnTo>
                    <a:pt x="259" y="128"/>
                  </a:lnTo>
                  <a:lnTo>
                    <a:pt x="259" y="132"/>
                  </a:lnTo>
                  <a:lnTo>
                    <a:pt x="259" y="136"/>
                  </a:lnTo>
                  <a:lnTo>
                    <a:pt x="259" y="140"/>
                  </a:lnTo>
                  <a:lnTo>
                    <a:pt x="255" y="140"/>
                  </a:lnTo>
                  <a:lnTo>
                    <a:pt x="255" y="144"/>
                  </a:lnTo>
                  <a:lnTo>
                    <a:pt x="255" y="148"/>
                  </a:lnTo>
                  <a:lnTo>
                    <a:pt x="259" y="152"/>
                  </a:lnTo>
                  <a:lnTo>
                    <a:pt x="259" y="155"/>
                  </a:lnTo>
                  <a:lnTo>
                    <a:pt x="259" y="159"/>
                  </a:lnTo>
                  <a:lnTo>
                    <a:pt x="259" y="163"/>
                  </a:lnTo>
                  <a:lnTo>
                    <a:pt x="259" y="167"/>
                  </a:lnTo>
                  <a:lnTo>
                    <a:pt x="259" y="171"/>
                  </a:lnTo>
                  <a:lnTo>
                    <a:pt x="263" y="175"/>
                  </a:lnTo>
                  <a:lnTo>
                    <a:pt x="263" y="179"/>
                  </a:lnTo>
                  <a:lnTo>
                    <a:pt x="263" y="183"/>
                  </a:lnTo>
                  <a:lnTo>
                    <a:pt x="259" y="183"/>
                  </a:lnTo>
                  <a:lnTo>
                    <a:pt x="259" y="187"/>
                  </a:lnTo>
                  <a:lnTo>
                    <a:pt x="259" y="191"/>
                  </a:lnTo>
                  <a:lnTo>
                    <a:pt x="263" y="191"/>
                  </a:lnTo>
                  <a:lnTo>
                    <a:pt x="263" y="195"/>
                  </a:lnTo>
                  <a:lnTo>
                    <a:pt x="263" y="199"/>
                  </a:lnTo>
                  <a:lnTo>
                    <a:pt x="263" y="203"/>
                  </a:lnTo>
                  <a:lnTo>
                    <a:pt x="263" y="207"/>
                  </a:lnTo>
                  <a:lnTo>
                    <a:pt x="263" y="211"/>
                  </a:lnTo>
                  <a:lnTo>
                    <a:pt x="263" y="215"/>
                  </a:lnTo>
                  <a:lnTo>
                    <a:pt x="267" y="219"/>
                  </a:lnTo>
                  <a:lnTo>
                    <a:pt x="271" y="223"/>
                  </a:lnTo>
                  <a:lnTo>
                    <a:pt x="275" y="223"/>
                  </a:lnTo>
                  <a:lnTo>
                    <a:pt x="275" y="227"/>
                  </a:lnTo>
                  <a:lnTo>
                    <a:pt x="275" y="231"/>
                  </a:lnTo>
                  <a:lnTo>
                    <a:pt x="275" y="235"/>
                  </a:lnTo>
                  <a:lnTo>
                    <a:pt x="279" y="235"/>
                  </a:lnTo>
                  <a:lnTo>
                    <a:pt x="279" y="239"/>
                  </a:lnTo>
                  <a:lnTo>
                    <a:pt x="279" y="243"/>
                  </a:lnTo>
                  <a:lnTo>
                    <a:pt x="283" y="243"/>
                  </a:lnTo>
                  <a:lnTo>
                    <a:pt x="283" y="247"/>
                  </a:lnTo>
                  <a:lnTo>
                    <a:pt x="279" y="247"/>
                  </a:lnTo>
                  <a:lnTo>
                    <a:pt x="275" y="247"/>
                  </a:lnTo>
                  <a:lnTo>
                    <a:pt x="271" y="251"/>
                  </a:lnTo>
                  <a:lnTo>
                    <a:pt x="263" y="251"/>
                  </a:lnTo>
                  <a:lnTo>
                    <a:pt x="259" y="251"/>
                  </a:lnTo>
                  <a:lnTo>
                    <a:pt x="255" y="251"/>
                  </a:lnTo>
                  <a:lnTo>
                    <a:pt x="255" y="255"/>
                  </a:lnTo>
                  <a:lnTo>
                    <a:pt x="255" y="259"/>
                  </a:lnTo>
                  <a:lnTo>
                    <a:pt x="251" y="259"/>
                  </a:lnTo>
                  <a:lnTo>
                    <a:pt x="251" y="263"/>
                  </a:lnTo>
                  <a:lnTo>
                    <a:pt x="247" y="267"/>
                  </a:lnTo>
                  <a:lnTo>
                    <a:pt x="247" y="271"/>
                  </a:lnTo>
                  <a:lnTo>
                    <a:pt x="251" y="275"/>
                  </a:lnTo>
                  <a:lnTo>
                    <a:pt x="251" y="279"/>
                  </a:lnTo>
                  <a:lnTo>
                    <a:pt x="251" y="283"/>
                  </a:lnTo>
                  <a:lnTo>
                    <a:pt x="251" y="287"/>
                  </a:lnTo>
                  <a:lnTo>
                    <a:pt x="251" y="291"/>
                  </a:lnTo>
                  <a:lnTo>
                    <a:pt x="251" y="295"/>
                  </a:lnTo>
                  <a:lnTo>
                    <a:pt x="247" y="295"/>
                  </a:lnTo>
                  <a:lnTo>
                    <a:pt x="247" y="299"/>
                  </a:lnTo>
                  <a:lnTo>
                    <a:pt x="247" y="303"/>
                  </a:lnTo>
                  <a:lnTo>
                    <a:pt x="247" y="307"/>
                  </a:lnTo>
                  <a:lnTo>
                    <a:pt x="247" y="311"/>
                  </a:lnTo>
                  <a:lnTo>
                    <a:pt x="247" y="315"/>
                  </a:lnTo>
                  <a:lnTo>
                    <a:pt x="251" y="315"/>
                  </a:lnTo>
                  <a:lnTo>
                    <a:pt x="251" y="319"/>
                  </a:lnTo>
                  <a:lnTo>
                    <a:pt x="255" y="323"/>
                  </a:lnTo>
                  <a:lnTo>
                    <a:pt x="259" y="323"/>
                  </a:lnTo>
                  <a:lnTo>
                    <a:pt x="263" y="327"/>
                  </a:lnTo>
                  <a:lnTo>
                    <a:pt x="263" y="323"/>
                  </a:lnTo>
                  <a:lnTo>
                    <a:pt x="267" y="319"/>
                  </a:lnTo>
                  <a:lnTo>
                    <a:pt x="267" y="323"/>
                  </a:lnTo>
                  <a:lnTo>
                    <a:pt x="267" y="327"/>
                  </a:lnTo>
                  <a:lnTo>
                    <a:pt x="267" y="331"/>
                  </a:lnTo>
                  <a:lnTo>
                    <a:pt x="267" y="339"/>
                  </a:lnTo>
                  <a:lnTo>
                    <a:pt x="267" y="343"/>
                  </a:lnTo>
                  <a:lnTo>
                    <a:pt x="263" y="343"/>
                  </a:lnTo>
                  <a:lnTo>
                    <a:pt x="267" y="343"/>
                  </a:lnTo>
                  <a:lnTo>
                    <a:pt x="263" y="339"/>
                  </a:lnTo>
                  <a:lnTo>
                    <a:pt x="263" y="343"/>
                  </a:lnTo>
                  <a:lnTo>
                    <a:pt x="259" y="343"/>
                  </a:lnTo>
                  <a:lnTo>
                    <a:pt x="255" y="343"/>
                  </a:lnTo>
                  <a:lnTo>
                    <a:pt x="255" y="339"/>
                  </a:lnTo>
                  <a:lnTo>
                    <a:pt x="251" y="335"/>
                  </a:lnTo>
                  <a:lnTo>
                    <a:pt x="247" y="335"/>
                  </a:lnTo>
                  <a:lnTo>
                    <a:pt x="247" y="331"/>
                  </a:lnTo>
                  <a:lnTo>
                    <a:pt x="247" y="327"/>
                  </a:lnTo>
                  <a:lnTo>
                    <a:pt x="243" y="327"/>
                  </a:lnTo>
                  <a:lnTo>
                    <a:pt x="240" y="323"/>
                  </a:lnTo>
                  <a:lnTo>
                    <a:pt x="236" y="323"/>
                  </a:lnTo>
                  <a:lnTo>
                    <a:pt x="232" y="319"/>
                  </a:lnTo>
                  <a:lnTo>
                    <a:pt x="232" y="315"/>
                  </a:lnTo>
                  <a:lnTo>
                    <a:pt x="228" y="315"/>
                  </a:lnTo>
                  <a:lnTo>
                    <a:pt x="228" y="311"/>
                  </a:lnTo>
                  <a:lnTo>
                    <a:pt x="224" y="315"/>
                  </a:lnTo>
                  <a:lnTo>
                    <a:pt x="224" y="319"/>
                  </a:lnTo>
                  <a:lnTo>
                    <a:pt x="220" y="319"/>
                  </a:lnTo>
                  <a:lnTo>
                    <a:pt x="216" y="315"/>
                  </a:lnTo>
                  <a:lnTo>
                    <a:pt x="212" y="315"/>
                  </a:lnTo>
                  <a:lnTo>
                    <a:pt x="208" y="315"/>
                  </a:lnTo>
                  <a:lnTo>
                    <a:pt x="204" y="311"/>
                  </a:lnTo>
                  <a:lnTo>
                    <a:pt x="200" y="311"/>
                  </a:lnTo>
                  <a:lnTo>
                    <a:pt x="200" y="307"/>
                  </a:lnTo>
                  <a:lnTo>
                    <a:pt x="200" y="303"/>
                  </a:lnTo>
                  <a:lnTo>
                    <a:pt x="196" y="303"/>
                  </a:lnTo>
                  <a:lnTo>
                    <a:pt x="192" y="307"/>
                  </a:lnTo>
                  <a:lnTo>
                    <a:pt x="188" y="307"/>
                  </a:lnTo>
                  <a:lnTo>
                    <a:pt x="184" y="307"/>
                  </a:lnTo>
                  <a:lnTo>
                    <a:pt x="188" y="303"/>
                  </a:lnTo>
                  <a:lnTo>
                    <a:pt x="188" y="299"/>
                  </a:lnTo>
                  <a:lnTo>
                    <a:pt x="184" y="299"/>
                  </a:lnTo>
                  <a:lnTo>
                    <a:pt x="180" y="299"/>
                  </a:lnTo>
                  <a:lnTo>
                    <a:pt x="180" y="295"/>
                  </a:lnTo>
                  <a:lnTo>
                    <a:pt x="180" y="299"/>
                  </a:lnTo>
                  <a:lnTo>
                    <a:pt x="176" y="299"/>
                  </a:lnTo>
                  <a:lnTo>
                    <a:pt x="172" y="299"/>
                  </a:lnTo>
                  <a:lnTo>
                    <a:pt x="168" y="299"/>
                  </a:lnTo>
                  <a:lnTo>
                    <a:pt x="164" y="299"/>
                  </a:lnTo>
                  <a:lnTo>
                    <a:pt x="160" y="299"/>
                  </a:lnTo>
                  <a:lnTo>
                    <a:pt x="156" y="299"/>
                  </a:lnTo>
                  <a:lnTo>
                    <a:pt x="156" y="303"/>
                  </a:lnTo>
                  <a:lnTo>
                    <a:pt x="152" y="303"/>
                  </a:lnTo>
                  <a:lnTo>
                    <a:pt x="152" y="299"/>
                  </a:lnTo>
                  <a:lnTo>
                    <a:pt x="152" y="295"/>
                  </a:lnTo>
                  <a:lnTo>
                    <a:pt x="156" y="295"/>
                  </a:lnTo>
                  <a:lnTo>
                    <a:pt x="156" y="291"/>
                  </a:lnTo>
                  <a:lnTo>
                    <a:pt x="156" y="287"/>
                  </a:lnTo>
                  <a:lnTo>
                    <a:pt x="152" y="283"/>
                  </a:lnTo>
                  <a:lnTo>
                    <a:pt x="152" y="279"/>
                  </a:lnTo>
                  <a:lnTo>
                    <a:pt x="148" y="275"/>
                  </a:lnTo>
                  <a:lnTo>
                    <a:pt x="148" y="271"/>
                  </a:lnTo>
                  <a:lnTo>
                    <a:pt x="148" y="267"/>
                  </a:lnTo>
                  <a:lnTo>
                    <a:pt x="148" y="263"/>
                  </a:lnTo>
                  <a:lnTo>
                    <a:pt x="148" y="259"/>
                  </a:lnTo>
                  <a:lnTo>
                    <a:pt x="148" y="255"/>
                  </a:lnTo>
                  <a:lnTo>
                    <a:pt x="148" y="251"/>
                  </a:lnTo>
                  <a:lnTo>
                    <a:pt x="148" y="247"/>
                  </a:lnTo>
                  <a:lnTo>
                    <a:pt x="148" y="243"/>
                  </a:lnTo>
                  <a:lnTo>
                    <a:pt x="148" y="239"/>
                  </a:lnTo>
                  <a:lnTo>
                    <a:pt x="148" y="235"/>
                  </a:lnTo>
                  <a:lnTo>
                    <a:pt x="148" y="231"/>
                  </a:lnTo>
                  <a:lnTo>
                    <a:pt x="144" y="231"/>
                  </a:lnTo>
                  <a:lnTo>
                    <a:pt x="136" y="231"/>
                  </a:lnTo>
                  <a:lnTo>
                    <a:pt x="128" y="231"/>
                  </a:lnTo>
                  <a:lnTo>
                    <a:pt x="128" y="227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7"/>
                  </a:lnTo>
                  <a:lnTo>
                    <a:pt x="120" y="227"/>
                  </a:lnTo>
                  <a:lnTo>
                    <a:pt x="112" y="227"/>
                  </a:lnTo>
                  <a:lnTo>
                    <a:pt x="112" y="231"/>
                  </a:lnTo>
                  <a:lnTo>
                    <a:pt x="112" y="235"/>
                  </a:lnTo>
                  <a:lnTo>
                    <a:pt x="112" y="239"/>
                  </a:lnTo>
                  <a:lnTo>
                    <a:pt x="108" y="239"/>
                  </a:lnTo>
                  <a:lnTo>
                    <a:pt x="108" y="243"/>
                  </a:lnTo>
                  <a:lnTo>
                    <a:pt x="112" y="243"/>
                  </a:lnTo>
                  <a:lnTo>
                    <a:pt x="104" y="243"/>
                  </a:lnTo>
                  <a:lnTo>
                    <a:pt x="100" y="243"/>
                  </a:lnTo>
                  <a:lnTo>
                    <a:pt x="96" y="243"/>
                  </a:lnTo>
                  <a:lnTo>
                    <a:pt x="92" y="243"/>
                  </a:lnTo>
                  <a:lnTo>
                    <a:pt x="92" y="247"/>
                  </a:lnTo>
                  <a:lnTo>
                    <a:pt x="88" y="247"/>
                  </a:lnTo>
                  <a:lnTo>
                    <a:pt x="88" y="243"/>
                  </a:lnTo>
                  <a:lnTo>
                    <a:pt x="84" y="247"/>
                  </a:lnTo>
                  <a:lnTo>
                    <a:pt x="84" y="243"/>
                  </a:lnTo>
                  <a:lnTo>
                    <a:pt x="80" y="243"/>
                  </a:lnTo>
                  <a:lnTo>
                    <a:pt x="80" y="239"/>
                  </a:lnTo>
                  <a:lnTo>
                    <a:pt x="76" y="235"/>
                  </a:lnTo>
                  <a:lnTo>
                    <a:pt x="76" y="231"/>
                  </a:lnTo>
                  <a:lnTo>
                    <a:pt x="72" y="231"/>
                  </a:lnTo>
                  <a:lnTo>
                    <a:pt x="72" y="227"/>
                  </a:lnTo>
                  <a:lnTo>
                    <a:pt x="72" y="223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8" y="207"/>
                  </a:lnTo>
                  <a:lnTo>
                    <a:pt x="68" y="203"/>
                  </a:lnTo>
                  <a:lnTo>
                    <a:pt x="64" y="203"/>
                  </a:lnTo>
                  <a:lnTo>
                    <a:pt x="60" y="203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0" name="Freeform 130">
              <a:extLst>
                <a:ext uri="{FF2B5EF4-FFF2-40B4-BE49-F238E27FC236}">
                  <a16:creationId xmlns:a16="http://schemas.microsoft.com/office/drawing/2014/main" id="{AF2EA6B9-19AC-B34A-A2D7-5EF66C04011E}"/>
                </a:ext>
              </a:extLst>
            </p:cNvPr>
            <p:cNvSpPr>
              <a:spLocks noEditPoints="1"/>
            </p:cNvSpPr>
            <p:nvPr>
              <p:custDataLst>
                <p:tags r:id="rId50"/>
              </p:custDataLst>
            </p:nvPr>
          </p:nvSpPr>
          <p:spPr bwMode="gray">
            <a:xfrm>
              <a:off x="3626624" y="5716063"/>
              <a:ext cx="121018" cy="151272"/>
            </a:xfrm>
            <a:custGeom>
              <a:avLst/>
              <a:gdLst/>
              <a:ahLst/>
              <a:cxnLst>
                <a:cxn ang="0">
                  <a:pos x="48" y="104"/>
                </a:cxn>
                <a:cxn ang="0">
                  <a:pos x="56" y="104"/>
                </a:cxn>
                <a:cxn ang="0">
                  <a:pos x="48" y="104"/>
                </a:cxn>
                <a:cxn ang="0">
                  <a:pos x="36" y="108"/>
                </a:cxn>
                <a:cxn ang="0">
                  <a:pos x="32" y="112"/>
                </a:cxn>
                <a:cxn ang="0">
                  <a:pos x="24" y="116"/>
                </a:cxn>
                <a:cxn ang="0">
                  <a:pos x="20" y="120"/>
                </a:cxn>
                <a:cxn ang="0">
                  <a:pos x="16" y="112"/>
                </a:cxn>
                <a:cxn ang="0">
                  <a:pos x="20" y="100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2" y="84"/>
                </a:cxn>
                <a:cxn ang="0">
                  <a:pos x="0" y="80"/>
                </a:cxn>
                <a:cxn ang="0">
                  <a:pos x="4" y="76"/>
                </a:cxn>
                <a:cxn ang="0">
                  <a:pos x="4" y="72"/>
                </a:cxn>
                <a:cxn ang="0">
                  <a:pos x="4" y="60"/>
                </a:cxn>
                <a:cxn ang="0">
                  <a:pos x="8" y="60"/>
                </a:cxn>
                <a:cxn ang="0">
                  <a:pos x="8" y="52"/>
                </a:cxn>
                <a:cxn ang="0">
                  <a:pos x="8" y="48"/>
                </a:cxn>
                <a:cxn ang="0">
                  <a:pos x="12" y="40"/>
                </a:cxn>
                <a:cxn ang="0">
                  <a:pos x="16" y="44"/>
                </a:cxn>
                <a:cxn ang="0">
                  <a:pos x="12" y="36"/>
                </a:cxn>
                <a:cxn ang="0">
                  <a:pos x="16" y="32"/>
                </a:cxn>
                <a:cxn ang="0">
                  <a:pos x="8" y="24"/>
                </a:cxn>
                <a:cxn ang="0">
                  <a:pos x="8" y="16"/>
                </a:cxn>
                <a:cxn ang="0">
                  <a:pos x="8" y="12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40" y="8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52" y="8"/>
                </a:cxn>
                <a:cxn ang="0">
                  <a:pos x="60" y="16"/>
                </a:cxn>
                <a:cxn ang="0">
                  <a:pos x="64" y="20"/>
                </a:cxn>
                <a:cxn ang="0">
                  <a:pos x="72" y="16"/>
                </a:cxn>
                <a:cxn ang="0">
                  <a:pos x="80" y="16"/>
                </a:cxn>
                <a:cxn ang="0">
                  <a:pos x="88" y="24"/>
                </a:cxn>
                <a:cxn ang="0">
                  <a:pos x="92" y="28"/>
                </a:cxn>
                <a:cxn ang="0">
                  <a:pos x="92" y="36"/>
                </a:cxn>
                <a:cxn ang="0">
                  <a:pos x="92" y="48"/>
                </a:cxn>
                <a:cxn ang="0">
                  <a:pos x="88" y="64"/>
                </a:cxn>
                <a:cxn ang="0">
                  <a:pos x="84" y="76"/>
                </a:cxn>
                <a:cxn ang="0">
                  <a:pos x="84" y="84"/>
                </a:cxn>
                <a:cxn ang="0">
                  <a:pos x="88" y="96"/>
                </a:cxn>
                <a:cxn ang="0">
                  <a:pos x="92" y="104"/>
                </a:cxn>
                <a:cxn ang="0">
                  <a:pos x="88" y="104"/>
                </a:cxn>
                <a:cxn ang="0">
                  <a:pos x="84" y="100"/>
                </a:cxn>
                <a:cxn ang="0">
                  <a:pos x="80" y="104"/>
                </a:cxn>
                <a:cxn ang="0">
                  <a:pos x="76" y="104"/>
                </a:cxn>
                <a:cxn ang="0">
                  <a:pos x="76" y="100"/>
                </a:cxn>
                <a:cxn ang="0">
                  <a:pos x="76" y="100"/>
                </a:cxn>
                <a:cxn ang="0">
                  <a:pos x="64" y="100"/>
                </a:cxn>
                <a:cxn ang="0">
                  <a:pos x="64" y="104"/>
                </a:cxn>
                <a:cxn ang="0">
                  <a:pos x="68" y="100"/>
                </a:cxn>
                <a:cxn ang="0">
                  <a:pos x="60" y="104"/>
                </a:cxn>
                <a:cxn ang="0">
                  <a:pos x="56" y="104"/>
                </a:cxn>
                <a:cxn ang="0">
                  <a:pos x="52" y="104"/>
                </a:cxn>
                <a:cxn ang="0">
                  <a:pos x="84" y="104"/>
                </a:cxn>
              </a:cxnLst>
              <a:rect l="0" t="0" r="r" b="b"/>
              <a:pathLst>
                <a:path w="96" h="120">
                  <a:moveTo>
                    <a:pt x="52" y="104"/>
                  </a:move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12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8"/>
                  </a:lnTo>
                  <a:lnTo>
                    <a:pt x="16" y="104"/>
                  </a:lnTo>
                  <a:lnTo>
                    <a:pt x="20" y="104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100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12" y="40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6"/>
                  </a:lnTo>
                  <a:lnTo>
                    <a:pt x="60" y="16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2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2" y="28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36"/>
                  </a:lnTo>
                  <a:lnTo>
                    <a:pt x="92" y="40"/>
                  </a:lnTo>
                  <a:lnTo>
                    <a:pt x="92" y="40"/>
                  </a:lnTo>
                  <a:lnTo>
                    <a:pt x="96" y="48"/>
                  </a:lnTo>
                  <a:lnTo>
                    <a:pt x="96" y="48"/>
                  </a:lnTo>
                  <a:lnTo>
                    <a:pt x="92" y="48"/>
                  </a:lnTo>
                  <a:lnTo>
                    <a:pt x="92" y="48"/>
                  </a:lnTo>
                  <a:lnTo>
                    <a:pt x="92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4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8" y="92"/>
                  </a:lnTo>
                  <a:lnTo>
                    <a:pt x="88" y="92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88" y="96"/>
                  </a:lnTo>
                  <a:lnTo>
                    <a:pt x="92" y="96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8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80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6" y="104"/>
                  </a:lnTo>
                  <a:lnTo>
                    <a:pt x="72" y="104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6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72" y="100"/>
                  </a:lnTo>
                  <a:lnTo>
                    <a:pt x="68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4" y="104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68" y="100"/>
                  </a:lnTo>
                  <a:lnTo>
                    <a:pt x="72" y="100"/>
                  </a:lnTo>
                  <a:lnTo>
                    <a:pt x="72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8" y="104"/>
                  </a:lnTo>
                  <a:lnTo>
                    <a:pt x="64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close/>
                  <a:moveTo>
                    <a:pt x="84" y="104"/>
                  </a:move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lnTo>
                    <a:pt x="84" y="10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1" name="Freeform 131">
              <a:extLst>
                <a:ext uri="{FF2B5EF4-FFF2-40B4-BE49-F238E27FC236}">
                  <a16:creationId xmlns:a16="http://schemas.microsoft.com/office/drawing/2014/main" id="{1A779704-B9CB-1841-B31F-FE9B40D849E0}"/>
                </a:ext>
              </a:extLst>
            </p:cNvPr>
            <p:cNvSpPr>
              <a:spLocks/>
            </p:cNvSpPr>
            <p:nvPr>
              <p:custDataLst>
                <p:tags r:id="rId51"/>
              </p:custDataLst>
            </p:nvPr>
          </p:nvSpPr>
          <p:spPr bwMode="gray">
            <a:xfrm>
              <a:off x="4587204" y="5670681"/>
              <a:ext cx="35297" cy="40339"/>
            </a:xfrm>
            <a:custGeom>
              <a:avLst/>
              <a:gdLst/>
              <a:ahLst/>
              <a:cxnLst>
                <a:cxn ang="0">
                  <a:pos x="24" y="4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2"/>
                </a:cxn>
                <a:cxn ang="0">
                  <a:pos x="24" y="12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20" y="16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6" y="24"/>
                </a:cxn>
                <a:cxn ang="0">
                  <a:pos x="16" y="24"/>
                </a:cxn>
                <a:cxn ang="0">
                  <a:pos x="16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28"/>
                </a:cxn>
                <a:cxn ang="0">
                  <a:pos x="4" y="28"/>
                </a:cxn>
                <a:cxn ang="0">
                  <a:pos x="0" y="24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4"/>
                </a:cxn>
              </a:cxnLst>
              <a:rect l="0" t="0" r="r" b="b"/>
              <a:pathLst>
                <a:path w="28" h="32">
                  <a:moveTo>
                    <a:pt x="24" y="4"/>
                  </a:moveTo>
                  <a:lnTo>
                    <a:pt x="24" y="4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0" y="28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2" name="Freeform 132">
              <a:extLst>
                <a:ext uri="{FF2B5EF4-FFF2-40B4-BE49-F238E27FC236}">
                  <a16:creationId xmlns:a16="http://schemas.microsoft.com/office/drawing/2014/main" id="{5C32F717-37CD-B94A-8156-46948DC37866}"/>
                </a:ext>
              </a:extLst>
            </p:cNvPr>
            <p:cNvSpPr>
              <a:spLocks/>
            </p:cNvSpPr>
            <p:nvPr>
              <p:custDataLst>
                <p:tags r:id="rId52"/>
              </p:custDataLst>
            </p:nvPr>
          </p:nvSpPr>
          <p:spPr bwMode="gray">
            <a:xfrm>
              <a:off x="4265750" y="5218124"/>
              <a:ext cx="230690" cy="231951"/>
            </a:xfrm>
            <a:custGeom>
              <a:avLst/>
              <a:gdLst/>
              <a:ahLst/>
              <a:cxnLst>
                <a:cxn ang="0">
                  <a:pos x="115" y="8"/>
                </a:cxn>
                <a:cxn ang="0">
                  <a:pos x="127" y="12"/>
                </a:cxn>
                <a:cxn ang="0">
                  <a:pos x="139" y="8"/>
                </a:cxn>
                <a:cxn ang="0">
                  <a:pos x="147" y="20"/>
                </a:cxn>
                <a:cxn ang="0">
                  <a:pos x="151" y="36"/>
                </a:cxn>
                <a:cxn ang="0">
                  <a:pos x="151" y="52"/>
                </a:cxn>
                <a:cxn ang="0">
                  <a:pos x="147" y="68"/>
                </a:cxn>
                <a:cxn ang="0">
                  <a:pos x="139" y="72"/>
                </a:cxn>
                <a:cxn ang="0">
                  <a:pos x="131" y="64"/>
                </a:cxn>
                <a:cxn ang="0">
                  <a:pos x="123" y="48"/>
                </a:cxn>
                <a:cxn ang="0">
                  <a:pos x="119" y="32"/>
                </a:cxn>
                <a:cxn ang="0">
                  <a:pos x="119" y="44"/>
                </a:cxn>
                <a:cxn ang="0">
                  <a:pos x="123" y="56"/>
                </a:cxn>
                <a:cxn ang="0">
                  <a:pos x="131" y="68"/>
                </a:cxn>
                <a:cxn ang="0">
                  <a:pos x="131" y="76"/>
                </a:cxn>
                <a:cxn ang="0">
                  <a:pos x="135" y="88"/>
                </a:cxn>
                <a:cxn ang="0">
                  <a:pos x="143" y="104"/>
                </a:cxn>
                <a:cxn ang="0">
                  <a:pos x="151" y="120"/>
                </a:cxn>
                <a:cxn ang="0">
                  <a:pos x="155" y="132"/>
                </a:cxn>
                <a:cxn ang="0">
                  <a:pos x="163" y="144"/>
                </a:cxn>
                <a:cxn ang="0">
                  <a:pos x="163" y="152"/>
                </a:cxn>
                <a:cxn ang="0">
                  <a:pos x="163" y="168"/>
                </a:cxn>
                <a:cxn ang="0">
                  <a:pos x="175" y="176"/>
                </a:cxn>
                <a:cxn ang="0">
                  <a:pos x="183" y="184"/>
                </a:cxn>
                <a:cxn ang="0">
                  <a:pos x="167" y="184"/>
                </a:cxn>
                <a:cxn ang="0">
                  <a:pos x="151" y="184"/>
                </a:cxn>
                <a:cxn ang="0">
                  <a:pos x="131" y="184"/>
                </a:cxn>
                <a:cxn ang="0">
                  <a:pos x="107" y="184"/>
                </a:cxn>
                <a:cxn ang="0">
                  <a:pos x="99" y="180"/>
                </a:cxn>
                <a:cxn ang="0">
                  <a:pos x="87" y="184"/>
                </a:cxn>
                <a:cxn ang="0">
                  <a:pos x="67" y="184"/>
                </a:cxn>
                <a:cxn ang="0">
                  <a:pos x="44" y="184"/>
                </a:cxn>
                <a:cxn ang="0">
                  <a:pos x="28" y="184"/>
                </a:cxn>
                <a:cxn ang="0">
                  <a:pos x="4" y="184"/>
                </a:cxn>
                <a:cxn ang="0">
                  <a:pos x="4" y="140"/>
                </a:cxn>
                <a:cxn ang="0">
                  <a:pos x="4" y="108"/>
                </a:cxn>
                <a:cxn ang="0">
                  <a:pos x="4" y="88"/>
                </a:cxn>
                <a:cxn ang="0">
                  <a:pos x="4" y="68"/>
                </a:cxn>
                <a:cxn ang="0">
                  <a:pos x="4" y="44"/>
                </a:cxn>
                <a:cxn ang="0">
                  <a:pos x="0" y="28"/>
                </a:cxn>
                <a:cxn ang="0">
                  <a:pos x="4" y="12"/>
                </a:cxn>
                <a:cxn ang="0">
                  <a:pos x="4" y="0"/>
                </a:cxn>
                <a:cxn ang="0">
                  <a:pos x="20" y="0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59" y="12"/>
                </a:cxn>
                <a:cxn ang="0">
                  <a:pos x="75" y="12"/>
                </a:cxn>
                <a:cxn ang="0">
                  <a:pos x="79" y="8"/>
                </a:cxn>
                <a:cxn ang="0">
                  <a:pos x="83" y="4"/>
                </a:cxn>
                <a:cxn ang="0">
                  <a:pos x="91" y="4"/>
                </a:cxn>
                <a:cxn ang="0">
                  <a:pos x="95" y="0"/>
                </a:cxn>
                <a:cxn ang="0">
                  <a:pos x="107" y="4"/>
                </a:cxn>
                <a:cxn ang="0">
                  <a:pos x="107" y="4"/>
                </a:cxn>
                <a:cxn ang="0">
                  <a:pos x="111" y="12"/>
                </a:cxn>
              </a:cxnLst>
              <a:rect l="0" t="0" r="r" b="b"/>
              <a:pathLst>
                <a:path w="183" h="184">
                  <a:moveTo>
                    <a:pt x="111" y="8"/>
                  </a:moveTo>
                  <a:lnTo>
                    <a:pt x="115" y="8"/>
                  </a:lnTo>
                  <a:lnTo>
                    <a:pt x="111" y="8"/>
                  </a:lnTo>
                  <a:lnTo>
                    <a:pt x="115" y="8"/>
                  </a:lnTo>
                  <a:lnTo>
                    <a:pt x="119" y="12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27" y="12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4"/>
                  </a:lnTo>
                  <a:lnTo>
                    <a:pt x="143" y="8"/>
                  </a:lnTo>
                  <a:lnTo>
                    <a:pt x="147" y="16"/>
                  </a:lnTo>
                  <a:lnTo>
                    <a:pt x="147" y="20"/>
                  </a:lnTo>
                  <a:lnTo>
                    <a:pt x="147" y="24"/>
                  </a:lnTo>
                  <a:lnTo>
                    <a:pt x="151" y="28"/>
                  </a:lnTo>
                  <a:lnTo>
                    <a:pt x="151" y="32"/>
                  </a:lnTo>
                  <a:lnTo>
                    <a:pt x="151" y="36"/>
                  </a:lnTo>
                  <a:lnTo>
                    <a:pt x="151" y="40"/>
                  </a:lnTo>
                  <a:lnTo>
                    <a:pt x="151" y="44"/>
                  </a:lnTo>
                  <a:lnTo>
                    <a:pt x="151" y="48"/>
                  </a:lnTo>
                  <a:lnTo>
                    <a:pt x="151" y="52"/>
                  </a:lnTo>
                  <a:lnTo>
                    <a:pt x="147" y="56"/>
                  </a:lnTo>
                  <a:lnTo>
                    <a:pt x="147" y="60"/>
                  </a:lnTo>
                  <a:lnTo>
                    <a:pt x="147" y="64"/>
                  </a:lnTo>
                  <a:lnTo>
                    <a:pt x="147" y="68"/>
                  </a:lnTo>
                  <a:lnTo>
                    <a:pt x="147" y="72"/>
                  </a:lnTo>
                  <a:lnTo>
                    <a:pt x="143" y="72"/>
                  </a:lnTo>
                  <a:lnTo>
                    <a:pt x="143" y="76"/>
                  </a:lnTo>
                  <a:lnTo>
                    <a:pt x="139" y="72"/>
                  </a:lnTo>
                  <a:lnTo>
                    <a:pt x="135" y="72"/>
                  </a:lnTo>
                  <a:lnTo>
                    <a:pt x="135" y="68"/>
                  </a:lnTo>
                  <a:lnTo>
                    <a:pt x="135" y="64"/>
                  </a:lnTo>
                  <a:lnTo>
                    <a:pt x="131" y="64"/>
                  </a:lnTo>
                  <a:lnTo>
                    <a:pt x="127" y="60"/>
                  </a:lnTo>
                  <a:lnTo>
                    <a:pt x="127" y="56"/>
                  </a:lnTo>
                  <a:lnTo>
                    <a:pt x="127" y="52"/>
                  </a:lnTo>
                  <a:lnTo>
                    <a:pt x="123" y="48"/>
                  </a:lnTo>
                  <a:lnTo>
                    <a:pt x="119" y="44"/>
                  </a:lnTo>
                  <a:lnTo>
                    <a:pt x="119" y="40"/>
                  </a:lnTo>
                  <a:lnTo>
                    <a:pt x="119" y="36"/>
                  </a:lnTo>
                  <a:lnTo>
                    <a:pt x="119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9" y="44"/>
                  </a:lnTo>
                  <a:lnTo>
                    <a:pt x="119" y="48"/>
                  </a:lnTo>
                  <a:lnTo>
                    <a:pt x="119" y="52"/>
                  </a:lnTo>
                  <a:lnTo>
                    <a:pt x="119" y="56"/>
                  </a:lnTo>
                  <a:lnTo>
                    <a:pt x="123" y="56"/>
                  </a:lnTo>
                  <a:lnTo>
                    <a:pt x="123" y="60"/>
                  </a:lnTo>
                  <a:lnTo>
                    <a:pt x="127" y="64"/>
                  </a:lnTo>
                  <a:lnTo>
                    <a:pt x="127" y="68"/>
                  </a:lnTo>
                  <a:lnTo>
                    <a:pt x="131" y="68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72"/>
                  </a:lnTo>
                  <a:lnTo>
                    <a:pt x="131" y="76"/>
                  </a:lnTo>
                  <a:lnTo>
                    <a:pt x="131" y="80"/>
                  </a:lnTo>
                  <a:lnTo>
                    <a:pt x="135" y="80"/>
                  </a:lnTo>
                  <a:lnTo>
                    <a:pt x="135" y="84"/>
                  </a:lnTo>
                  <a:lnTo>
                    <a:pt x="135" y="88"/>
                  </a:lnTo>
                  <a:lnTo>
                    <a:pt x="139" y="92"/>
                  </a:lnTo>
                  <a:lnTo>
                    <a:pt x="139" y="96"/>
                  </a:lnTo>
                  <a:lnTo>
                    <a:pt x="139" y="100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7" y="112"/>
                  </a:lnTo>
                  <a:lnTo>
                    <a:pt x="147" y="116"/>
                  </a:lnTo>
                  <a:lnTo>
                    <a:pt x="151" y="120"/>
                  </a:lnTo>
                  <a:lnTo>
                    <a:pt x="151" y="124"/>
                  </a:lnTo>
                  <a:lnTo>
                    <a:pt x="151" y="128"/>
                  </a:lnTo>
                  <a:lnTo>
                    <a:pt x="155" y="128"/>
                  </a:lnTo>
                  <a:lnTo>
                    <a:pt x="155" y="132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59" y="144"/>
                  </a:lnTo>
                  <a:lnTo>
                    <a:pt x="163" y="144"/>
                  </a:lnTo>
                  <a:lnTo>
                    <a:pt x="163" y="148"/>
                  </a:lnTo>
                  <a:lnTo>
                    <a:pt x="167" y="148"/>
                  </a:lnTo>
                  <a:lnTo>
                    <a:pt x="163" y="148"/>
                  </a:lnTo>
                  <a:lnTo>
                    <a:pt x="163" y="152"/>
                  </a:lnTo>
                  <a:lnTo>
                    <a:pt x="163" y="156"/>
                  </a:lnTo>
                  <a:lnTo>
                    <a:pt x="163" y="160"/>
                  </a:lnTo>
                  <a:lnTo>
                    <a:pt x="163" y="164"/>
                  </a:lnTo>
                  <a:lnTo>
                    <a:pt x="163" y="168"/>
                  </a:lnTo>
                  <a:lnTo>
                    <a:pt x="167" y="168"/>
                  </a:lnTo>
                  <a:lnTo>
                    <a:pt x="167" y="172"/>
                  </a:lnTo>
                  <a:lnTo>
                    <a:pt x="171" y="172"/>
                  </a:lnTo>
                  <a:lnTo>
                    <a:pt x="175" y="176"/>
                  </a:lnTo>
                  <a:lnTo>
                    <a:pt x="175" y="180"/>
                  </a:lnTo>
                  <a:lnTo>
                    <a:pt x="179" y="180"/>
                  </a:lnTo>
                  <a:lnTo>
                    <a:pt x="179" y="184"/>
                  </a:lnTo>
                  <a:lnTo>
                    <a:pt x="183" y="184"/>
                  </a:lnTo>
                  <a:lnTo>
                    <a:pt x="179" y="184"/>
                  </a:lnTo>
                  <a:lnTo>
                    <a:pt x="175" y="184"/>
                  </a:lnTo>
                  <a:lnTo>
                    <a:pt x="171" y="184"/>
                  </a:lnTo>
                  <a:lnTo>
                    <a:pt x="167" y="184"/>
                  </a:lnTo>
                  <a:lnTo>
                    <a:pt x="163" y="184"/>
                  </a:lnTo>
                  <a:lnTo>
                    <a:pt x="159" y="184"/>
                  </a:lnTo>
                  <a:lnTo>
                    <a:pt x="155" y="184"/>
                  </a:lnTo>
                  <a:lnTo>
                    <a:pt x="151" y="184"/>
                  </a:lnTo>
                  <a:lnTo>
                    <a:pt x="143" y="184"/>
                  </a:lnTo>
                  <a:lnTo>
                    <a:pt x="139" y="184"/>
                  </a:lnTo>
                  <a:lnTo>
                    <a:pt x="135" y="184"/>
                  </a:lnTo>
                  <a:lnTo>
                    <a:pt x="131" y="184"/>
                  </a:lnTo>
                  <a:lnTo>
                    <a:pt x="127" y="184"/>
                  </a:lnTo>
                  <a:lnTo>
                    <a:pt x="119" y="184"/>
                  </a:lnTo>
                  <a:lnTo>
                    <a:pt x="115" y="184"/>
                  </a:lnTo>
                  <a:lnTo>
                    <a:pt x="107" y="184"/>
                  </a:lnTo>
                  <a:lnTo>
                    <a:pt x="103" y="184"/>
                  </a:lnTo>
                  <a:lnTo>
                    <a:pt x="99" y="184"/>
                  </a:lnTo>
                  <a:lnTo>
                    <a:pt x="103" y="184"/>
                  </a:lnTo>
                  <a:lnTo>
                    <a:pt x="99" y="180"/>
                  </a:lnTo>
                  <a:lnTo>
                    <a:pt x="99" y="184"/>
                  </a:lnTo>
                  <a:lnTo>
                    <a:pt x="95" y="184"/>
                  </a:lnTo>
                  <a:lnTo>
                    <a:pt x="91" y="184"/>
                  </a:lnTo>
                  <a:lnTo>
                    <a:pt x="87" y="184"/>
                  </a:lnTo>
                  <a:lnTo>
                    <a:pt x="83" y="184"/>
                  </a:lnTo>
                  <a:lnTo>
                    <a:pt x="79" y="184"/>
                  </a:lnTo>
                  <a:lnTo>
                    <a:pt x="71" y="184"/>
                  </a:lnTo>
                  <a:lnTo>
                    <a:pt x="67" y="184"/>
                  </a:lnTo>
                  <a:lnTo>
                    <a:pt x="63" y="184"/>
                  </a:lnTo>
                  <a:lnTo>
                    <a:pt x="59" y="184"/>
                  </a:lnTo>
                  <a:lnTo>
                    <a:pt x="51" y="184"/>
                  </a:lnTo>
                  <a:lnTo>
                    <a:pt x="44" y="184"/>
                  </a:lnTo>
                  <a:lnTo>
                    <a:pt x="40" y="184"/>
                  </a:lnTo>
                  <a:lnTo>
                    <a:pt x="36" y="184"/>
                  </a:lnTo>
                  <a:lnTo>
                    <a:pt x="32" y="184"/>
                  </a:lnTo>
                  <a:lnTo>
                    <a:pt x="28" y="184"/>
                  </a:lnTo>
                  <a:lnTo>
                    <a:pt x="24" y="184"/>
                  </a:lnTo>
                  <a:lnTo>
                    <a:pt x="16" y="184"/>
                  </a:lnTo>
                  <a:lnTo>
                    <a:pt x="8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56"/>
                  </a:lnTo>
                  <a:lnTo>
                    <a:pt x="4" y="148"/>
                  </a:lnTo>
                  <a:lnTo>
                    <a:pt x="4" y="140"/>
                  </a:lnTo>
                  <a:lnTo>
                    <a:pt x="4" y="132"/>
                  </a:lnTo>
                  <a:lnTo>
                    <a:pt x="4" y="128"/>
                  </a:lnTo>
                  <a:lnTo>
                    <a:pt x="4" y="120"/>
                  </a:lnTo>
                  <a:lnTo>
                    <a:pt x="4" y="108"/>
                  </a:lnTo>
                  <a:lnTo>
                    <a:pt x="4" y="100"/>
                  </a:lnTo>
                  <a:lnTo>
                    <a:pt x="4" y="96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0" y="40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9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71" y="12"/>
                  </a:lnTo>
                  <a:lnTo>
                    <a:pt x="75" y="12"/>
                  </a:lnTo>
                  <a:lnTo>
                    <a:pt x="75" y="8"/>
                  </a:lnTo>
                  <a:lnTo>
                    <a:pt x="79" y="8"/>
                  </a:lnTo>
                  <a:lnTo>
                    <a:pt x="79" y="4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4"/>
                  </a:lnTo>
                  <a:lnTo>
                    <a:pt x="83" y="0"/>
                  </a:lnTo>
                  <a:lnTo>
                    <a:pt x="83" y="4"/>
                  </a:lnTo>
                  <a:lnTo>
                    <a:pt x="87" y="4"/>
                  </a:lnTo>
                  <a:lnTo>
                    <a:pt x="87" y="0"/>
                  </a:lnTo>
                  <a:lnTo>
                    <a:pt x="91" y="0"/>
                  </a:lnTo>
                  <a:lnTo>
                    <a:pt x="91" y="4"/>
                  </a:lnTo>
                  <a:lnTo>
                    <a:pt x="87" y="4"/>
                  </a:lnTo>
                  <a:lnTo>
                    <a:pt x="91" y="4"/>
                  </a:lnTo>
                  <a:lnTo>
                    <a:pt x="95" y="4"/>
                  </a:lnTo>
                  <a:lnTo>
                    <a:pt x="95" y="0"/>
                  </a:lnTo>
                  <a:lnTo>
                    <a:pt x="99" y="0"/>
                  </a:lnTo>
                  <a:lnTo>
                    <a:pt x="99" y="4"/>
                  </a:lnTo>
                  <a:lnTo>
                    <a:pt x="103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07" y="4"/>
                  </a:lnTo>
                  <a:lnTo>
                    <a:pt x="107" y="0"/>
                  </a:lnTo>
                  <a:lnTo>
                    <a:pt x="107" y="8"/>
                  </a:lnTo>
                  <a:lnTo>
                    <a:pt x="111" y="8"/>
                  </a:lnTo>
                  <a:lnTo>
                    <a:pt x="111" y="12"/>
                  </a:lnTo>
                  <a:lnTo>
                    <a:pt x="111" y="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3" name="Freeform 133">
              <a:extLst>
                <a:ext uri="{FF2B5EF4-FFF2-40B4-BE49-F238E27FC236}">
                  <a16:creationId xmlns:a16="http://schemas.microsoft.com/office/drawing/2014/main" id="{AE499FCA-528A-3041-BA0E-BF4FA834B285}"/>
                </a:ext>
              </a:extLst>
            </p:cNvPr>
            <p:cNvSpPr>
              <a:spLocks noEditPoints="1"/>
            </p:cNvSpPr>
            <p:nvPr>
              <p:custDataLst>
                <p:tags r:id="rId53"/>
              </p:custDataLst>
            </p:nvPr>
          </p:nvSpPr>
          <p:spPr bwMode="gray">
            <a:xfrm>
              <a:off x="3953120" y="5877420"/>
              <a:ext cx="55467" cy="65551"/>
            </a:xfrm>
            <a:custGeom>
              <a:avLst/>
              <a:gdLst/>
              <a:ahLst/>
              <a:cxnLst>
                <a:cxn ang="0">
                  <a:pos x="28" y="52"/>
                </a:cxn>
                <a:cxn ang="0">
                  <a:pos x="28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4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52"/>
                </a:cxn>
                <a:cxn ang="0">
                  <a:pos x="20" y="48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8"/>
                </a:cxn>
                <a:cxn ang="0">
                  <a:pos x="16" y="44"/>
                </a:cxn>
                <a:cxn ang="0">
                  <a:pos x="20" y="40"/>
                </a:cxn>
                <a:cxn ang="0">
                  <a:pos x="16" y="40"/>
                </a:cxn>
                <a:cxn ang="0">
                  <a:pos x="20" y="40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4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32" y="32"/>
                </a:cxn>
                <a:cxn ang="0">
                  <a:pos x="40" y="32"/>
                </a:cxn>
                <a:cxn ang="0">
                  <a:pos x="44" y="32"/>
                </a:cxn>
                <a:cxn ang="0">
                  <a:pos x="44" y="32"/>
                </a:cxn>
                <a:cxn ang="0">
                  <a:pos x="44" y="36"/>
                </a:cxn>
                <a:cxn ang="0">
                  <a:pos x="44" y="40"/>
                </a:cxn>
                <a:cxn ang="0">
                  <a:pos x="44" y="40"/>
                </a:cxn>
                <a:cxn ang="0">
                  <a:pos x="44" y="52"/>
                </a:cxn>
                <a:cxn ang="0">
                  <a:pos x="40" y="52"/>
                </a:cxn>
                <a:cxn ang="0">
                  <a:pos x="36" y="52"/>
                </a:cxn>
                <a:cxn ang="0">
                  <a:pos x="32" y="52"/>
                </a:cxn>
                <a:cxn ang="0">
                  <a:pos x="8" y="4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12"/>
                </a:cxn>
                <a:cxn ang="0">
                  <a:pos x="0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8" y="0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8" y="4"/>
                </a:cxn>
              </a:cxnLst>
              <a:rect l="0" t="0" r="r" b="b"/>
              <a:pathLst>
                <a:path w="44" h="52">
                  <a:moveTo>
                    <a:pt x="32" y="52"/>
                  </a:move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20" y="40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32" y="32"/>
                  </a:lnTo>
                  <a:lnTo>
                    <a:pt x="40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4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2" y="52"/>
                  </a:lnTo>
                  <a:lnTo>
                    <a:pt x="32" y="52"/>
                  </a:lnTo>
                  <a:lnTo>
                    <a:pt x="32" y="52"/>
                  </a:lnTo>
                  <a:close/>
                  <a:moveTo>
                    <a:pt x="8" y="4"/>
                  </a:moveTo>
                  <a:lnTo>
                    <a:pt x="8" y="4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4" name="Freeform 134">
              <a:extLst>
                <a:ext uri="{FF2B5EF4-FFF2-40B4-BE49-F238E27FC236}">
                  <a16:creationId xmlns:a16="http://schemas.microsoft.com/office/drawing/2014/main" id="{78F55970-34E4-134F-AB86-F799A64BF9B9}"/>
                </a:ext>
              </a:extLst>
            </p:cNvPr>
            <p:cNvSpPr>
              <a:spLocks noEditPoints="1"/>
            </p:cNvSpPr>
            <p:nvPr>
              <p:custDataLst>
                <p:tags r:id="rId54"/>
              </p:custDataLst>
            </p:nvPr>
          </p:nvSpPr>
          <p:spPr bwMode="gray">
            <a:xfrm>
              <a:off x="4486356" y="5544620"/>
              <a:ext cx="131103" cy="136145"/>
            </a:xfrm>
            <a:custGeom>
              <a:avLst/>
              <a:gdLst/>
              <a:ahLst/>
              <a:cxnLst>
                <a:cxn ang="0">
                  <a:pos x="44" y="36"/>
                </a:cxn>
                <a:cxn ang="0">
                  <a:pos x="48" y="48"/>
                </a:cxn>
                <a:cxn ang="0">
                  <a:pos x="48" y="48"/>
                </a:cxn>
                <a:cxn ang="0">
                  <a:pos x="52" y="56"/>
                </a:cxn>
                <a:cxn ang="0">
                  <a:pos x="52" y="52"/>
                </a:cxn>
                <a:cxn ang="0">
                  <a:pos x="52" y="48"/>
                </a:cxn>
                <a:cxn ang="0">
                  <a:pos x="56" y="56"/>
                </a:cxn>
                <a:cxn ang="0">
                  <a:pos x="60" y="56"/>
                </a:cxn>
                <a:cxn ang="0">
                  <a:pos x="68" y="64"/>
                </a:cxn>
                <a:cxn ang="0">
                  <a:pos x="76" y="72"/>
                </a:cxn>
                <a:cxn ang="0">
                  <a:pos x="80" y="76"/>
                </a:cxn>
                <a:cxn ang="0">
                  <a:pos x="88" y="80"/>
                </a:cxn>
                <a:cxn ang="0">
                  <a:pos x="88" y="84"/>
                </a:cxn>
                <a:cxn ang="0">
                  <a:pos x="92" y="88"/>
                </a:cxn>
                <a:cxn ang="0">
                  <a:pos x="96" y="92"/>
                </a:cxn>
                <a:cxn ang="0">
                  <a:pos x="100" y="100"/>
                </a:cxn>
                <a:cxn ang="0">
                  <a:pos x="104" y="100"/>
                </a:cxn>
                <a:cxn ang="0">
                  <a:pos x="96" y="108"/>
                </a:cxn>
                <a:cxn ang="0">
                  <a:pos x="92" y="104"/>
                </a:cxn>
                <a:cxn ang="0">
                  <a:pos x="92" y="104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8"/>
                </a:cxn>
                <a:cxn ang="0">
                  <a:pos x="72" y="84"/>
                </a:cxn>
                <a:cxn ang="0">
                  <a:pos x="72" y="80"/>
                </a:cxn>
                <a:cxn ang="0">
                  <a:pos x="68" y="72"/>
                </a:cxn>
                <a:cxn ang="0">
                  <a:pos x="64" y="72"/>
                </a:cxn>
                <a:cxn ang="0">
                  <a:pos x="60" y="68"/>
                </a:cxn>
                <a:cxn ang="0">
                  <a:pos x="56" y="68"/>
                </a:cxn>
                <a:cxn ang="0">
                  <a:pos x="52" y="68"/>
                </a:cxn>
                <a:cxn ang="0">
                  <a:pos x="44" y="68"/>
                </a:cxn>
                <a:cxn ang="0">
                  <a:pos x="40" y="64"/>
                </a:cxn>
                <a:cxn ang="0">
                  <a:pos x="36" y="68"/>
                </a:cxn>
                <a:cxn ang="0">
                  <a:pos x="28" y="64"/>
                </a:cxn>
                <a:cxn ang="0">
                  <a:pos x="24" y="60"/>
                </a:cxn>
                <a:cxn ang="0">
                  <a:pos x="20" y="76"/>
                </a:cxn>
                <a:cxn ang="0">
                  <a:pos x="12" y="68"/>
                </a:cxn>
                <a:cxn ang="0">
                  <a:pos x="12" y="72"/>
                </a:cxn>
                <a:cxn ang="0">
                  <a:pos x="4" y="72"/>
                </a:cxn>
                <a:cxn ang="0">
                  <a:pos x="0" y="56"/>
                </a:cxn>
                <a:cxn ang="0">
                  <a:pos x="4" y="44"/>
                </a:cxn>
                <a:cxn ang="0">
                  <a:pos x="8" y="36"/>
                </a:cxn>
                <a:cxn ang="0">
                  <a:pos x="8" y="28"/>
                </a:cxn>
                <a:cxn ang="0">
                  <a:pos x="8" y="20"/>
                </a:cxn>
                <a:cxn ang="0">
                  <a:pos x="16" y="20"/>
                </a:cxn>
                <a:cxn ang="0">
                  <a:pos x="16" y="16"/>
                </a:cxn>
                <a:cxn ang="0">
                  <a:pos x="24" y="12"/>
                </a:cxn>
                <a:cxn ang="0">
                  <a:pos x="32" y="8"/>
                </a:cxn>
                <a:cxn ang="0">
                  <a:pos x="36" y="4"/>
                </a:cxn>
                <a:cxn ang="0">
                  <a:pos x="40" y="16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56" y="44"/>
                </a:cxn>
                <a:cxn ang="0">
                  <a:pos x="60" y="44"/>
                </a:cxn>
                <a:cxn ang="0">
                  <a:pos x="60" y="44"/>
                </a:cxn>
                <a:cxn ang="0">
                  <a:pos x="60" y="48"/>
                </a:cxn>
                <a:cxn ang="0">
                  <a:pos x="56" y="48"/>
                </a:cxn>
                <a:cxn ang="0">
                  <a:pos x="56" y="44"/>
                </a:cxn>
                <a:cxn ang="0">
                  <a:pos x="56" y="44"/>
                </a:cxn>
                <a:cxn ang="0">
                  <a:pos x="56" y="44"/>
                </a:cxn>
              </a:cxnLst>
              <a:rect l="0" t="0" r="r" b="b"/>
              <a:pathLst>
                <a:path w="104" h="108">
                  <a:moveTo>
                    <a:pt x="44" y="32"/>
                  </a:moveTo>
                  <a:lnTo>
                    <a:pt x="44" y="32"/>
                  </a:lnTo>
                  <a:lnTo>
                    <a:pt x="44" y="32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4"/>
                  </a:lnTo>
                  <a:lnTo>
                    <a:pt x="48" y="44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48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2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60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60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72" y="64"/>
                  </a:lnTo>
                  <a:lnTo>
                    <a:pt x="76" y="68"/>
                  </a:lnTo>
                  <a:lnTo>
                    <a:pt x="76" y="68"/>
                  </a:lnTo>
                  <a:lnTo>
                    <a:pt x="76" y="72"/>
                  </a:lnTo>
                  <a:lnTo>
                    <a:pt x="80" y="72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0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88" y="80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92" y="84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88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2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100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4" y="100"/>
                  </a:lnTo>
                  <a:lnTo>
                    <a:pt x="100" y="100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08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6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92" y="104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0" y="92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76" y="88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4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48" y="68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8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4"/>
                  </a:lnTo>
                  <a:lnTo>
                    <a:pt x="20" y="68"/>
                  </a:lnTo>
                  <a:lnTo>
                    <a:pt x="20" y="76"/>
                  </a:lnTo>
                  <a:lnTo>
                    <a:pt x="16" y="76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48"/>
                  </a:lnTo>
                  <a:lnTo>
                    <a:pt x="4" y="48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32" y="8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close/>
                  <a:moveTo>
                    <a:pt x="56" y="40"/>
                  </a:move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4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0"/>
                  </a:lnTo>
                  <a:lnTo>
                    <a:pt x="56" y="4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5" name="Freeform 135">
              <a:extLst>
                <a:ext uri="{FF2B5EF4-FFF2-40B4-BE49-F238E27FC236}">
                  <a16:creationId xmlns:a16="http://schemas.microsoft.com/office/drawing/2014/main" id="{BF183FC8-3A06-7E44-874C-C6D308DDB625}"/>
                </a:ext>
              </a:extLst>
            </p:cNvPr>
            <p:cNvSpPr>
              <a:spLocks/>
            </p:cNvSpPr>
            <p:nvPr>
              <p:custDataLst>
                <p:tags r:id="rId55"/>
              </p:custDataLst>
            </p:nvPr>
          </p:nvSpPr>
          <p:spPr bwMode="gray">
            <a:xfrm>
              <a:off x="4420804" y="5620257"/>
              <a:ext cx="287418" cy="267248"/>
            </a:xfrm>
            <a:custGeom>
              <a:avLst/>
              <a:gdLst/>
              <a:ahLst/>
              <a:cxnLst>
                <a:cxn ang="0">
                  <a:pos x="184" y="184"/>
                </a:cxn>
                <a:cxn ang="0">
                  <a:pos x="164" y="184"/>
                </a:cxn>
                <a:cxn ang="0">
                  <a:pos x="152" y="188"/>
                </a:cxn>
                <a:cxn ang="0">
                  <a:pos x="144" y="196"/>
                </a:cxn>
                <a:cxn ang="0">
                  <a:pos x="132" y="200"/>
                </a:cxn>
                <a:cxn ang="0">
                  <a:pos x="116" y="196"/>
                </a:cxn>
                <a:cxn ang="0">
                  <a:pos x="104" y="208"/>
                </a:cxn>
                <a:cxn ang="0">
                  <a:pos x="96" y="208"/>
                </a:cxn>
                <a:cxn ang="0">
                  <a:pos x="84" y="208"/>
                </a:cxn>
                <a:cxn ang="0">
                  <a:pos x="64" y="196"/>
                </a:cxn>
                <a:cxn ang="0">
                  <a:pos x="52" y="192"/>
                </a:cxn>
                <a:cxn ang="0">
                  <a:pos x="44" y="180"/>
                </a:cxn>
                <a:cxn ang="0">
                  <a:pos x="36" y="172"/>
                </a:cxn>
                <a:cxn ang="0">
                  <a:pos x="32" y="160"/>
                </a:cxn>
                <a:cxn ang="0">
                  <a:pos x="24" y="152"/>
                </a:cxn>
                <a:cxn ang="0">
                  <a:pos x="16" y="140"/>
                </a:cxn>
                <a:cxn ang="0">
                  <a:pos x="4" y="132"/>
                </a:cxn>
                <a:cxn ang="0">
                  <a:pos x="4" y="120"/>
                </a:cxn>
                <a:cxn ang="0">
                  <a:pos x="16" y="116"/>
                </a:cxn>
                <a:cxn ang="0">
                  <a:pos x="20" y="96"/>
                </a:cxn>
                <a:cxn ang="0">
                  <a:pos x="20" y="80"/>
                </a:cxn>
                <a:cxn ang="0">
                  <a:pos x="32" y="76"/>
                </a:cxn>
                <a:cxn ang="0">
                  <a:pos x="32" y="60"/>
                </a:cxn>
                <a:cxn ang="0">
                  <a:pos x="40" y="44"/>
                </a:cxn>
                <a:cxn ang="0">
                  <a:pos x="48" y="36"/>
                </a:cxn>
                <a:cxn ang="0">
                  <a:pos x="52" y="16"/>
                </a:cxn>
                <a:cxn ang="0">
                  <a:pos x="64" y="8"/>
                </a:cxn>
                <a:cxn ang="0">
                  <a:pos x="72" y="16"/>
                </a:cxn>
                <a:cxn ang="0">
                  <a:pos x="76" y="4"/>
                </a:cxn>
                <a:cxn ang="0">
                  <a:pos x="88" y="8"/>
                </a:cxn>
                <a:cxn ang="0">
                  <a:pos x="96" y="8"/>
                </a:cxn>
                <a:cxn ang="0">
                  <a:pos x="104" y="8"/>
                </a:cxn>
                <a:cxn ang="0">
                  <a:pos x="116" y="12"/>
                </a:cxn>
                <a:cxn ang="0">
                  <a:pos x="124" y="20"/>
                </a:cxn>
                <a:cxn ang="0">
                  <a:pos x="132" y="32"/>
                </a:cxn>
                <a:cxn ang="0">
                  <a:pos x="140" y="40"/>
                </a:cxn>
                <a:cxn ang="0">
                  <a:pos x="140" y="48"/>
                </a:cxn>
                <a:cxn ang="0">
                  <a:pos x="132" y="64"/>
                </a:cxn>
                <a:cxn ang="0">
                  <a:pos x="140" y="72"/>
                </a:cxn>
                <a:cxn ang="0">
                  <a:pos x="152" y="76"/>
                </a:cxn>
                <a:cxn ang="0">
                  <a:pos x="152" y="88"/>
                </a:cxn>
                <a:cxn ang="0">
                  <a:pos x="160" y="100"/>
                </a:cxn>
                <a:cxn ang="0">
                  <a:pos x="176" y="112"/>
                </a:cxn>
                <a:cxn ang="0">
                  <a:pos x="200" y="120"/>
                </a:cxn>
                <a:cxn ang="0">
                  <a:pos x="212" y="128"/>
                </a:cxn>
                <a:cxn ang="0">
                  <a:pos x="224" y="132"/>
                </a:cxn>
                <a:cxn ang="0">
                  <a:pos x="200" y="160"/>
                </a:cxn>
                <a:cxn ang="0">
                  <a:pos x="192" y="172"/>
                </a:cxn>
              </a:cxnLst>
              <a:rect l="0" t="0" r="r" b="b"/>
              <a:pathLst>
                <a:path w="228" h="212">
                  <a:moveTo>
                    <a:pt x="192" y="172"/>
                  </a:moveTo>
                  <a:lnTo>
                    <a:pt x="188" y="176"/>
                  </a:lnTo>
                  <a:lnTo>
                    <a:pt x="184" y="180"/>
                  </a:lnTo>
                  <a:lnTo>
                    <a:pt x="184" y="184"/>
                  </a:lnTo>
                  <a:lnTo>
                    <a:pt x="176" y="184"/>
                  </a:lnTo>
                  <a:lnTo>
                    <a:pt x="172" y="184"/>
                  </a:lnTo>
                  <a:lnTo>
                    <a:pt x="168" y="184"/>
                  </a:lnTo>
                  <a:lnTo>
                    <a:pt x="164" y="184"/>
                  </a:lnTo>
                  <a:lnTo>
                    <a:pt x="160" y="184"/>
                  </a:lnTo>
                  <a:lnTo>
                    <a:pt x="160" y="188"/>
                  </a:lnTo>
                  <a:lnTo>
                    <a:pt x="156" y="188"/>
                  </a:lnTo>
                  <a:lnTo>
                    <a:pt x="152" y="188"/>
                  </a:lnTo>
                  <a:lnTo>
                    <a:pt x="152" y="192"/>
                  </a:lnTo>
                  <a:lnTo>
                    <a:pt x="152" y="196"/>
                  </a:lnTo>
                  <a:lnTo>
                    <a:pt x="148" y="196"/>
                  </a:lnTo>
                  <a:lnTo>
                    <a:pt x="144" y="196"/>
                  </a:lnTo>
                  <a:lnTo>
                    <a:pt x="140" y="196"/>
                  </a:lnTo>
                  <a:lnTo>
                    <a:pt x="140" y="200"/>
                  </a:lnTo>
                  <a:lnTo>
                    <a:pt x="136" y="200"/>
                  </a:lnTo>
                  <a:lnTo>
                    <a:pt x="132" y="200"/>
                  </a:lnTo>
                  <a:lnTo>
                    <a:pt x="128" y="200"/>
                  </a:lnTo>
                  <a:lnTo>
                    <a:pt x="124" y="200"/>
                  </a:lnTo>
                  <a:lnTo>
                    <a:pt x="120" y="196"/>
                  </a:lnTo>
                  <a:lnTo>
                    <a:pt x="116" y="196"/>
                  </a:lnTo>
                  <a:lnTo>
                    <a:pt x="112" y="200"/>
                  </a:lnTo>
                  <a:lnTo>
                    <a:pt x="108" y="200"/>
                  </a:lnTo>
                  <a:lnTo>
                    <a:pt x="104" y="204"/>
                  </a:lnTo>
                  <a:lnTo>
                    <a:pt x="104" y="208"/>
                  </a:lnTo>
                  <a:lnTo>
                    <a:pt x="100" y="208"/>
                  </a:lnTo>
                  <a:lnTo>
                    <a:pt x="100" y="212"/>
                  </a:lnTo>
                  <a:lnTo>
                    <a:pt x="96" y="212"/>
                  </a:lnTo>
                  <a:lnTo>
                    <a:pt x="96" y="208"/>
                  </a:lnTo>
                  <a:lnTo>
                    <a:pt x="96" y="212"/>
                  </a:lnTo>
                  <a:lnTo>
                    <a:pt x="92" y="208"/>
                  </a:lnTo>
                  <a:lnTo>
                    <a:pt x="88" y="208"/>
                  </a:lnTo>
                  <a:lnTo>
                    <a:pt x="84" y="208"/>
                  </a:lnTo>
                  <a:lnTo>
                    <a:pt x="80" y="208"/>
                  </a:lnTo>
                  <a:lnTo>
                    <a:pt x="76" y="208"/>
                  </a:lnTo>
                  <a:lnTo>
                    <a:pt x="76" y="204"/>
                  </a:lnTo>
                  <a:lnTo>
                    <a:pt x="64" y="196"/>
                  </a:lnTo>
                  <a:lnTo>
                    <a:pt x="64" y="192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92"/>
                  </a:lnTo>
                  <a:lnTo>
                    <a:pt x="44" y="188"/>
                  </a:lnTo>
                  <a:lnTo>
                    <a:pt x="44" y="180"/>
                  </a:lnTo>
                  <a:lnTo>
                    <a:pt x="44" y="176"/>
                  </a:lnTo>
                  <a:lnTo>
                    <a:pt x="40" y="176"/>
                  </a:lnTo>
                  <a:lnTo>
                    <a:pt x="36" y="176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32" y="168"/>
                  </a:lnTo>
                  <a:lnTo>
                    <a:pt x="32" y="164"/>
                  </a:lnTo>
                  <a:lnTo>
                    <a:pt x="32" y="160"/>
                  </a:lnTo>
                  <a:lnTo>
                    <a:pt x="28" y="160"/>
                  </a:lnTo>
                  <a:lnTo>
                    <a:pt x="28" y="156"/>
                  </a:lnTo>
                  <a:lnTo>
                    <a:pt x="28" y="152"/>
                  </a:lnTo>
                  <a:lnTo>
                    <a:pt x="24" y="152"/>
                  </a:lnTo>
                  <a:lnTo>
                    <a:pt x="24" y="148"/>
                  </a:lnTo>
                  <a:lnTo>
                    <a:pt x="20" y="148"/>
                  </a:lnTo>
                  <a:lnTo>
                    <a:pt x="20" y="144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2" y="132"/>
                  </a:lnTo>
                  <a:lnTo>
                    <a:pt x="8" y="132"/>
                  </a:lnTo>
                  <a:lnTo>
                    <a:pt x="4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8" y="120"/>
                  </a:lnTo>
                  <a:lnTo>
                    <a:pt x="12" y="120"/>
                  </a:lnTo>
                  <a:lnTo>
                    <a:pt x="16" y="120"/>
                  </a:lnTo>
                  <a:lnTo>
                    <a:pt x="16" y="116"/>
                  </a:lnTo>
                  <a:lnTo>
                    <a:pt x="20" y="112"/>
                  </a:lnTo>
                  <a:lnTo>
                    <a:pt x="20" y="108"/>
                  </a:lnTo>
                  <a:lnTo>
                    <a:pt x="16" y="100"/>
                  </a:lnTo>
                  <a:lnTo>
                    <a:pt x="20" y="96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4" y="76"/>
                  </a:lnTo>
                  <a:lnTo>
                    <a:pt x="24" y="72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72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40" y="44"/>
                  </a:lnTo>
                  <a:lnTo>
                    <a:pt x="40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36"/>
                  </a:lnTo>
                  <a:lnTo>
                    <a:pt x="52" y="28"/>
                  </a:lnTo>
                  <a:lnTo>
                    <a:pt x="52" y="24"/>
                  </a:lnTo>
                  <a:lnTo>
                    <a:pt x="52" y="20"/>
                  </a:lnTo>
                  <a:lnTo>
                    <a:pt x="52" y="16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72" y="16"/>
                  </a:lnTo>
                  <a:lnTo>
                    <a:pt x="72" y="8"/>
                  </a:lnTo>
                  <a:lnTo>
                    <a:pt x="76" y="4"/>
                  </a:lnTo>
                  <a:lnTo>
                    <a:pt x="76" y="0"/>
                  </a:lnTo>
                  <a:lnTo>
                    <a:pt x="76" y="4"/>
                  </a:lnTo>
                  <a:lnTo>
                    <a:pt x="80" y="4"/>
                  </a:lnTo>
                  <a:lnTo>
                    <a:pt x="80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6" y="4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0" y="4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8"/>
                  </a:lnTo>
                  <a:lnTo>
                    <a:pt x="112" y="8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4" y="20"/>
                  </a:lnTo>
                  <a:lnTo>
                    <a:pt x="124" y="24"/>
                  </a:lnTo>
                  <a:lnTo>
                    <a:pt x="128" y="28"/>
                  </a:lnTo>
                  <a:lnTo>
                    <a:pt x="132" y="28"/>
                  </a:lnTo>
                  <a:lnTo>
                    <a:pt x="132" y="32"/>
                  </a:lnTo>
                  <a:lnTo>
                    <a:pt x="136" y="32"/>
                  </a:lnTo>
                  <a:lnTo>
                    <a:pt x="136" y="36"/>
                  </a:lnTo>
                  <a:lnTo>
                    <a:pt x="140" y="36"/>
                  </a:lnTo>
                  <a:lnTo>
                    <a:pt x="140" y="40"/>
                  </a:lnTo>
                  <a:lnTo>
                    <a:pt x="140" y="44"/>
                  </a:lnTo>
                  <a:lnTo>
                    <a:pt x="144" y="44"/>
                  </a:lnTo>
                  <a:lnTo>
                    <a:pt x="144" y="48"/>
                  </a:lnTo>
                  <a:lnTo>
                    <a:pt x="140" y="48"/>
                  </a:lnTo>
                  <a:lnTo>
                    <a:pt x="140" y="52"/>
                  </a:lnTo>
                  <a:lnTo>
                    <a:pt x="136" y="56"/>
                  </a:lnTo>
                  <a:lnTo>
                    <a:pt x="136" y="60"/>
                  </a:lnTo>
                  <a:lnTo>
                    <a:pt x="132" y="64"/>
                  </a:lnTo>
                  <a:lnTo>
                    <a:pt x="136" y="64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40" y="72"/>
                  </a:lnTo>
                  <a:lnTo>
                    <a:pt x="144" y="72"/>
                  </a:lnTo>
                  <a:lnTo>
                    <a:pt x="148" y="72"/>
                  </a:lnTo>
                  <a:lnTo>
                    <a:pt x="152" y="72"/>
                  </a:lnTo>
                  <a:lnTo>
                    <a:pt x="152" y="76"/>
                  </a:lnTo>
                  <a:lnTo>
                    <a:pt x="148" y="76"/>
                  </a:lnTo>
                  <a:lnTo>
                    <a:pt x="148" y="80"/>
                  </a:lnTo>
                  <a:lnTo>
                    <a:pt x="148" y="84"/>
                  </a:lnTo>
                  <a:lnTo>
                    <a:pt x="152" y="88"/>
                  </a:lnTo>
                  <a:lnTo>
                    <a:pt x="152" y="92"/>
                  </a:lnTo>
                  <a:lnTo>
                    <a:pt x="156" y="92"/>
                  </a:lnTo>
                  <a:lnTo>
                    <a:pt x="156" y="96"/>
                  </a:lnTo>
                  <a:lnTo>
                    <a:pt x="160" y="100"/>
                  </a:lnTo>
                  <a:lnTo>
                    <a:pt x="160" y="104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76" y="112"/>
                  </a:lnTo>
                  <a:lnTo>
                    <a:pt x="184" y="116"/>
                  </a:lnTo>
                  <a:lnTo>
                    <a:pt x="188" y="116"/>
                  </a:lnTo>
                  <a:lnTo>
                    <a:pt x="192" y="120"/>
                  </a:lnTo>
                  <a:lnTo>
                    <a:pt x="200" y="120"/>
                  </a:lnTo>
                  <a:lnTo>
                    <a:pt x="204" y="124"/>
                  </a:lnTo>
                  <a:lnTo>
                    <a:pt x="208" y="124"/>
                  </a:lnTo>
                  <a:lnTo>
                    <a:pt x="212" y="124"/>
                  </a:lnTo>
                  <a:lnTo>
                    <a:pt x="212" y="128"/>
                  </a:lnTo>
                  <a:lnTo>
                    <a:pt x="216" y="128"/>
                  </a:lnTo>
                  <a:lnTo>
                    <a:pt x="224" y="128"/>
                  </a:lnTo>
                  <a:lnTo>
                    <a:pt x="228" y="128"/>
                  </a:lnTo>
                  <a:lnTo>
                    <a:pt x="224" y="132"/>
                  </a:lnTo>
                  <a:lnTo>
                    <a:pt x="220" y="136"/>
                  </a:lnTo>
                  <a:lnTo>
                    <a:pt x="212" y="144"/>
                  </a:lnTo>
                  <a:lnTo>
                    <a:pt x="208" y="152"/>
                  </a:lnTo>
                  <a:lnTo>
                    <a:pt x="200" y="160"/>
                  </a:lnTo>
                  <a:lnTo>
                    <a:pt x="200" y="164"/>
                  </a:lnTo>
                  <a:lnTo>
                    <a:pt x="196" y="164"/>
                  </a:lnTo>
                  <a:lnTo>
                    <a:pt x="192" y="168"/>
                  </a:lnTo>
                  <a:lnTo>
                    <a:pt x="192" y="172"/>
                  </a:lnTo>
                  <a:close/>
                </a:path>
              </a:pathLst>
            </a:custGeom>
            <a:solidFill>
              <a:srgbClr val="92D05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6" name="Freeform 136">
              <a:extLst>
                <a:ext uri="{FF2B5EF4-FFF2-40B4-BE49-F238E27FC236}">
                  <a16:creationId xmlns:a16="http://schemas.microsoft.com/office/drawing/2014/main" id="{FF736680-DE14-9741-906F-EB10DAB3EFA9}"/>
                </a:ext>
              </a:extLst>
            </p:cNvPr>
            <p:cNvSpPr>
              <a:spLocks noEditPoints="1"/>
            </p:cNvSpPr>
            <p:nvPr>
              <p:custDataLst>
                <p:tags r:id="rId56"/>
              </p:custDataLst>
            </p:nvPr>
          </p:nvSpPr>
          <p:spPr bwMode="gray">
            <a:xfrm>
              <a:off x="3958163" y="5912717"/>
              <a:ext cx="110933" cy="139927"/>
            </a:xfrm>
            <a:custGeom>
              <a:avLst/>
              <a:gdLst/>
              <a:ahLst/>
              <a:cxnLst>
                <a:cxn ang="0">
                  <a:pos x="48" y="96"/>
                </a:cxn>
                <a:cxn ang="0">
                  <a:pos x="48" y="103"/>
                </a:cxn>
                <a:cxn ang="0">
                  <a:pos x="48" y="107"/>
                </a:cxn>
                <a:cxn ang="0">
                  <a:pos x="44" y="107"/>
                </a:cxn>
                <a:cxn ang="0">
                  <a:pos x="36" y="111"/>
                </a:cxn>
                <a:cxn ang="0">
                  <a:pos x="32" y="107"/>
                </a:cxn>
                <a:cxn ang="0">
                  <a:pos x="28" y="99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20" y="88"/>
                </a:cxn>
                <a:cxn ang="0">
                  <a:pos x="16" y="88"/>
                </a:cxn>
                <a:cxn ang="0">
                  <a:pos x="12" y="80"/>
                </a:cxn>
                <a:cxn ang="0">
                  <a:pos x="12" y="80"/>
                </a:cxn>
                <a:cxn ang="0">
                  <a:pos x="8" y="76"/>
                </a:cxn>
                <a:cxn ang="0">
                  <a:pos x="8" y="72"/>
                </a:cxn>
                <a:cxn ang="0">
                  <a:pos x="4" y="64"/>
                </a:cxn>
                <a:cxn ang="0">
                  <a:pos x="12" y="72"/>
                </a:cxn>
                <a:cxn ang="0">
                  <a:pos x="12" y="72"/>
                </a:cxn>
                <a:cxn ang="0">
                  <a:pos x="8" y="68"/>
                </a:cxn>
                <a:cxn ang="0">
                  <a:pos x="4" y="68"/>
                </a:cxn>
                <a:cxn ang="0">
                  <a:pos x="0" y="52"/>
                </a:cxn>
                <a:cxn ang="0">
                  <a:pos x="4" y="56"/>
                </a:cxn>
                <a:cxn ang="0">
                  <a:pos x="8" y="48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12" y="40"/>
                </a:cxn>
                <a:cxn ang="0">
                  <a:pos x="16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20" y="24"/>
                </a:cxn>
                <a:cxn ang="0">
                  <a:pos x="28" y="24"/>
                </a:cxn>
                <a:cxn ang="0">
                  <a:pos x="40" y="12"/>
                </a:cxn>
                <a:cxn ang="0">
                  <a:pos x="40" y="0"/>
                </a:cxn>
                <a:cxn ang="0">
                  <a:pos x="56" y="0"/>
                </a:cxn>
                <a:cxn ang="0">
                  <a:pos x="68" y="0"/>
                </a:cxn>
                <a:cxn ang="0">
                  <a:pos x="68" y="4"/>
                </a:cxn>
                <a:cxn ang="0">
                  <a:pos x="68" y="12"/>
                </a:cxn>
                <a:cxn ang="0">
                  <a:pos x="68" y="20"/>
                </a:cxn>
                <a:cxn ang="0">
                  <a:pos x="76" y="16"/>
                </a:cxn>
                <a:cxn ang="0">
                  <a:pos x="84" y="16"/>
                </a:cxn>
                <a:cxn ang="0">
                  <a:pos x="88" y="24"/>
                </a:cxn>
                <a:cxn ang="0">
                  <a:pos x="80" y="32"/>
                </a:cxn>
                <a:cxn ang="0">
                  <a:pos x="80" y="44"/>
                </a:cxn>
                <a:cxn ang="0">
                  <a:pos x="84" y="48"/>
                </a:cxn>
                <a:cxn ang="0">
                  <a:pos x="88" y="52"/>
                </a:cxn>
                <a:cxn ang="0">
                  <a:pos x="88" y="64"/>
                </a:cxn>
                <a:cxn ang="0">
                  <a:pos x="88" y="76"/>
                </a:cxn>
                <a:cxn ang="0">
                  <a:pos x="84" y="80"/>
                </a:cxn>
                <a:cxn ang="0">
                  <a:pos x="80" y="88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84"/>
                </a:cxn>
                <a:cxn ang="0">
                  <a:pos x="60" y="76"/>
                </a:cxn>
                <a:cxn ang="0">
                  <a:pos x="56" y="80"/>
                </a:cxn>
                <a:cxn ang="0">
                  <a:pos x="52" y="84"/>
                </a:cxn>
                <a:cxn ang="0">
                  <a:pos x="44" y="84"/>
                </a:cxn>
                <a:cxn ang="0">
                  <a:pos x="44" y="92"/>
                </a:cxn>
                <a:cxn ang="0">
                  <a:pos x="4" y="56"/>
                </a:cxn>
                <a:cxn ang="0">
                  <a:pos x="4" y="56"/>
                </a:cxn>
              </a:cxnLst>
              <a:rect l="0" t="0" r="r" b="b"/>
              <a:pathLst>
                <a:path w="88" h="111">
                  <a:moveTo>
                    <a:pt x="44" y="92"/>
                  </a:moveTo>
                  <a:lnTo>
                    <a:pt x="44" y="92"/>
                  </a:lnTo>
                  <a:lnTo>
                    <a:pt x="44" y="96"/>
                  </a:lnTo>
                  <a:lnTo>
                    <a:pt x="44" y="96"/>
                  </a:lnTo>
                  <a:lnTo>
                    <a:pt x="44" y="92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4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99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3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8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4" y="107"/>
                  </a:lnTo>
                  <a:lnTo>
                    <a:pt x="40" y="107"/>
                  </a:lnTo>
                  <a:lnTo>
                    <a:pt x="40" y="107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11"/>
                  </a:lnTo>
                  <a:lnTo>
                    <a:pt x="36" y="107"/>
                  </a:lnTo>
                  <a:lnTo>
                    <a:pt x="36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7"/>
                  </a:lnTo>
                  <a:lnTo>
                    <a:pt x="32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103"/>
                  </a:lnTo>
                  <a:lnTo>
                    <a:pt x="28" y="99"/>
                  </a:lnTo>
                  <a:lnTo>
                    <a:pt x="28" y="99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4" y="96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92"/>
                  </a:lnTo>
                  <a:lnTo>
                    <a:pt x="24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8" y="68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0" y="56"/>
                  </a:lnTo>
                  <a:lnTo>
                    <a:pt x="0" y="56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2"/>
                  </a:lnTo>
                  <a:lnTo>
                    <a:pt x="0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6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20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16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4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8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0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16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4" y="20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4"/>
                  </a:lnTo>
                  <a:lnTo>
                    <a:pt x="88" y="28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4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0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4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8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2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8" y="76"/>
                  </a:lnTo>
                  <a:lnTo>
                    <a:pt x="84" y="76"/>
                  </a:lnTo>
                  <a:lnTo>
                    <a:pt x="84" y="76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8"/>
                  </a:lnTo>
                  <a:lnTo>
                    <a:pt x="80" y="84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72" y="84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72" y="88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4"/>
                  </a:lnTo>
                  <a:lnTo>
                    <a:pt x="48" y="88"/>
                  </a:lnTo>
                  <a:lnTo>
                    <a:pt x="48" y="88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4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lnTo>
                    <a:pt x="44" y="92"/>
                  </a:lnTo>
                  <a:close/>
                  <a:moveTo>
                    <a:pt x="4" y="56"/>
                  </a:move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7" name="Freeform 137">
              <a:extLst>
                <a:ext uri="{FF2B5EF4-FFF2-40B4-BE49-F238E27FC236}">
                  <a16:creationId xmlns:a16="http://schemas.microsoft.com/office/drawing/2014/main" id="{4986BC16-B681-4342-A590-BD9B07EE5DD7}"/>
                </a:ext>
              </a:extLst>
            </p:cNvPr>
            <p:cNvSpPr>
              <a:spLocks/>
            </p:cNvSpPr>
            <p:nvPr>
              <p:custDataLst>
                <p:tags r:id="rId57"/>
              </p:custDataLst>
            </p:nvPr>
          </p:nvSpPr>
          <p:spPr bwMode="gray">
            <a:xfrm>
              <a:off x="3732514" y="5705978"/>
              <a:ext cx="85721" cy="151272"/>
            </a:xfrm>
            <a:custGeom>
              <a:avLst/>
              <a:gdLst/>
              <a:ahLst/>
              <a:cxnLst>
                <a:cxn ang="0">
                  <a:pos x="0" y="84"/>
                </a:cxn>
                <a:cxn ang="0">
                  <a:pos x="0" y="76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8" y="44"/>
                </a:cxn>
                <a:cxn ang="0">
                  <a:pos x="8" y="40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4" y="24"/>
                </a:cxn>
                <a:cxn ang="0">
                  <a:pos x="4" y="12"/>
                </a:cxn>
                <a:cxn ang="0">
                  <a:pos x="4" y="4"/>
                </a:cxn>
                <a:cxn ang="0">
                  <a:pos x="24" y="4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8" y="12"/>
                </a:cxn>
                <a:cxn ang="0">
                  <a:pos x="52" y="16"/>
                </a:cxn>
                <a:cxn ang="0">
                  <a:pos x="56" y="20"/>
                </a:cxn>
                <a:cxn ang="0">
                  <a:pos x="52" y="32"/>
                </a:cxn>
                <a:cxn ang="0">
                  <a:pos x="56" y="32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6"/>
                </a:cxn>
                <a:cxn ang="0">
                  <a:pos x="56" y="64"/>
                </a:cxn>
                <a:cxn ang="0">
                  <a:pos x="56" y="72"/>
                </a:cxn>
                <a:cxn ang="0">
                  <a:pos x="56" y="76"/>
                </a:cxn>
                <a:cxn ang="0">
                  <a:pos x="56" y="84"/>
                </a:cxn>
                <a:cxn ang="0">
                  <a:pos x="60" y="88"/>
                </a:cxn>
                <a:cxn ang="0">
                  <a:pos x="64" y="88"/>
                </a:cxn>
                <a:cxn ang="0">
                  <a:pos x="68" y="96"/>
                </a:cxn>
                <a:cxn ang="0">
                  <a:pos x="64" y="96"/>
                </a:cxn>
                <a:cxn ang="0">
                  <a:pos x="60" y="100"/>
                </a:cxn>
                <a:cxn ang="0">
                  <a:pos x="56" y="100"/>
                </a:cxn>
                <a:cxn ang="0">
                  <a:pos x="56" y="96"/>
                </a:cxn>
                <a:cxn ang="0">
                  <a:pos x="52" y="96"/>
                </a:cxn>
                <a:cxn ang="0">
                  <a:pos x="52" y="96"/>
                </a:cxn>
                <a:cxn ang="0">
                  <a:pos x="56" y="96"/>
                </a:cxn>
                <a:cxn ang="0">
                  <a:pos x="56" y="100"/>
                </a:cxn>
                <a:cxn ang="0">
                  <a:pos x="52" y="100"/>
                </a:cxn>
                <a:cxn ang="0">
                  <a:pos x="44" y="104"/>
                </a:cxn>
                <a:cxn ang="0">
                  <a:pos x="40" y="108"/>
                </a:cxn>
                <a:cxn ang="0">
                  <a:pos x="36" y="112"/>
                </a:cxn>
                <a:cxn ang="0">
                  <a:pos x="32" y="112"/>
                </a:cxn>
                <a:cxn ang="0">
                  <a:pos x="24" y="112"/>
                </a:cxn>
                <a:cxn ang="0">
                  <a:pos x="20" y="120"/>
                </a:cxn>
                <a:cxn ang="0">
                  <a:pos x="12" y="116"/>
                </a:cxn>
                <a:cxn ang="0">
                  <a:pos x="8" y="116"/>
                </a:cxn>
                <a:cxn ang="0">
                  <a:pos x="0" y="112"/>
                </a:cxn>
                <a:cxn ang="0">
                  <a:pos x="8" y="112"/>
                </a:cxn>
                <a:cxn ang="0">
                  <a:pos x="4" y="108"/>
                </a:cxn>
                <a:cxn ang="0">
                  <a:pos x="4" y="104"/>
                </a:cxn>
                <a:cxn ang="0">
                  <a:pos x="0" y="92"/>
                </a:cxn>
              </a:cxnLst>
              <a:rect l="0" t="0" r="r" b="b"/>
              <a:pathLst>
                <a:path w="68" h="120">
                  <a:moveTo>
                    <a:pt x="0" y="92"/>
                  </a:move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0"/>
                  </a:lnTo>
                  <a:lnTo>
                    <a:pt x="48" y="0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20"/>
                  </a:lnTo>
                  <a:lnTo>
                    <a:pt x="52" y="20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2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56"/>
                  </a:lnTo>
                  <a:lnTo>
                    <a:pt x="56" y="60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68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4" y="92"/>
                  </a:lnTo>
                  <a:lnTo>
                    <a:pt x="68" y="92"/>
                  </a:lnTo>
                  <a:lnTo>
                    <a:pt x="68" y="92"/>
                  </a:lnTo>
                  <a:lnTo>
                    <a:pt x="68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60" y="100"/>
                  </a:lnTo>
                  <a:lnTo>
                    <a:pt x="56" y="100"/>
                  </a:lnTo>
                  <a:lnTo>
                    <a:pt x="56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52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4" y="104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12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32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2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0" y="116"/>
                  </a:lnTo>
                  <a:lnTo>
                    <a:pt x="20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6" y="120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12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0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8" y="112"/>
                  </a:lnTo>
                  <a:lnTo>
                    <a:pt x="4" y="108"/>
                  </a:lnTo>
                  <a:lnTo>
                    <a:pt x="4" y="108"/>
                  </a:lnTo>
                  <a:lnTo>
                    <a:pt x="8" y="108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0"/>
                  </a:lnTo>
                  <a:lnTo>
                    <a:pt x="4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8" name="Freeform 138">
              <a:extLst>
                <a:ext uri="{FF2B5EF4-FFF2-40B4-BE49-F238E27FC236}">
                  <a16:creationId xmlns:a16="http://schemas.microsoft.com/office/drawing/2014/main" id="{EAA31845-13E8-6447-9AA0-9E1123509648}"/>
                </a:ext>
              </a:extLst>
            </p:cNvPr>
            <p:cNvSpPr>
              <a:spLocks/>
            </p:cNvSpPr>
            <p:nvPr>
              <p:custDataLst>
                <p:tags r:id="rId58"/>
              </p:custDataLst>
            </p:nvPr>
          </p:nvSpPr>
          <p:spPr bwMode="gray">
            <a:xfrm>
              <a:off x="3505605" y="5670681"/>
              <a:ext cx="141188" cy="131103"/>
            </a:xfrm>
            <a:custGeom>
              <a:avLst/>
              <a:gdLst/>
              <a:ahLst/>
              <a:cxnLst>
                <a:cxn ang="0">
                  <a:pos x="104" y="92"/>
                </a:cxn>
                <a:cxn ang="0">
                  <a:pos x="100" y="96"/>
                </a:cxn>
                <a:cxn ang="0">
                  <a:pos x="96" y="92"/>
                </a:cxn>
                <a:cxn ang="0">
                  <a:pos x="92" y="100"/>
                </a:cxn>
                <a:cxn ang="0">
                  <a:pos x="88" y="100"/>
                </a:cxn>
                <a:cxn ang="0">
                  <a:pos x="84" y="96"/>
                </a:cxn>
                <a:cxn ang="0">
                  <a:pos x="84" y="92"/>
                </a:cxn>
                <a:cxn ang="0">
                  <a:pos x="80" y="80"/>
                </a:cxn>
                <a:cxn ang="0">
                  <a:pos x="72" y="80"/>
                </a:cxn>
                <a:cxn ang="0">
                  <a:pos x="64" y="80"/>
                </a:cxn>
                <a:cxn ang="0">
                  <a:pos x="68" y="68"/>
                </a:cxn>
                <a:cxn ang="0">
                  <a:pos x="64" y="64"/>
                </a:cxn>
                <a:cxn ang="0">
                  <a:pos x="60" y="56"/>
                </a:cxn>
                <a:cxn ang="0">
                  <a:pos x="52" y="52"/>
                </a:cxn>
                <a:cxn ang="0">
                  <a:pos x="44" y="52"/>
                </a:cxn>
                <a:cxn ang="0">
                  <a:pos x="36" y="56"/>
                </a:cxn>
                <a:cxn ang="0">
                  <a:pos x="32" y="64"/>
                </a:cxn>
                <a:cxn ang="0">
                  <a:pos x="28" y="68"/>
                </a:cxn>
                <a:cxn ang="0">
                  <a:pos x="24" y="64"/>
                </a:cxn>
                <a:cxn ang="0">
                  <a:pos x="20" y="60"/>
                </a:cxn>
                <a:cxn ang="0">
                  <a:pos x="20" y="56"/>
                </a:cxn>
                <a:cxn ang="0">
                  <a:pos x="20" y="52"/>
                </a:cxn>
                <a:cxn ang="0">
                  <a:pos x="16" y="48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2"/>
                </a:cxn>
                <a:cxn ang="0">
                  <a:pos x="0" y="32"/>
                </a:cxn>
                <a:cxn ang="0">
                  <a:pos x="0" y="32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6" y="20"/>
                </a:cxn>
                <a:cxn ang="0">
                  <a:pos x="16" y="12"/>
                </a:cxn>
                <a:cxn ang="0">
                  <a:pos x="20" y="8"/>
                </a:cxn>
                <a:cxn ang="0">
                  <a:pos x="20" y="4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4" y="8"/>
                </a:cxn>
                <a:cxn ang="0">
                  <a:pos x="52" y="4"/>
                </a:cxn>
                <a:cxn ang="0">
                  <a:pos x="52" y="8"/>
                </a:cxn>
                <a:cxn ang="0">
                  <a:pos x="56" y="12"/>
                </a:cxn>
                <a:cxn ang="0">
                  <a:pos x="64" y="8"/>
                </a:cxn>
                <a:cxn ang="0">
                  <a:pos x="68" y="12"/>
                </a:cxn>
                <a:cxn ang="0">
                  <a:pos x="80" y="12"/>
                </a:cxn>
                <a:cxn ang="0">
                  <a:pos x="84" y="8"/>
                </a:cxn>
                <a:cxn ang="0">
                  <a:pos x="88" y="4"/>
                </a:cxn>
                <a:cxn ang="0">
                  <a:pos x="92" y="8"/>
                </a:cxn>
                <a:cxn ang="0">
                  <a:pos x="92" y="20"/>
                </a:cxn>
                <a:cxn ang="0">
                  <a:pos x="96" y="24"/>
                </a:cxn>
                <a:cxn ang="0">
                  <a:pos x="100" y="24"/>
                </a:cxn>
                <a:cxn ang="0">
                  <a:pos x="96" y="28"/>
                </a:cxn>
                <a:cxn ang="0">
                  <a:pos x="104" y="36"/>
                </a:cxn>
                <a:cxn ang="0">
                  <a:pos x="108" y="44"/>
                </a:cxn>
                <a:cxn ang="0">
                  <a:pos x="104" y="52"/>
                </a:cxn>
                <a:cxn ang="0">
                  <a:pos x="104" y="60"/>
                </a:cxn>
                <a:cxn ang="0">
                  <a:pos x="108" y="64"/>
                </a:cxn>
                <a:cxn ang="0">
                  <a:pos x="108" y="68"/>
                </a:cxn>
                <a:cxn ang="0">
                  <a:pos x="108" y="72"/>
                </a:cxn>
                <a:cxn ang="0">
                  <a:pos x="112" y="80"/>
                </a:cxn>
                <a:cxn ang="0">
                  <a:pos x="104" y="84"/>
                </a:cxn>
                <a:cxn ang="0">
                  <a:pos x="108" y="88"/>
                </a:cxn>
              </a:cxnLst>
              <a:rect l="0" t="0" r="r" b="b"/>
              <a:pathLst>
                <a:path w="112" h="104">
                  <a:moveTo>
                    <a:pt x="108" y="88"/>
                  </a:moveTo>
                  <a:lnTo>
                    <a:pt x="108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88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4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6"/>
                  </a:lnTo>
                  <a:lnTo>
                    <a:pt x="100" y="92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92" y="100"/>
                  </a:lnTo>
                  <a:lnTo>
                    <a:pt x="88" y="100"/>
                  </a:lnTo>
                  <a:lnTo>
                    <a:pt x="88" y="104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100"/>
                  </a:lnTo>
                  <a:lnTo>
                    <a:pt x="88" y="96"/>
                  </a:lnTo>
                  <a:lnTo>
                    <a:pt x="84" y="96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100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6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8" y="92"/>
                  </a:lnTo>
                  <a:lnTo>
                    <a:pt x="84" y="92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80" y="80"/>
                  </a:lnTo>
                  <a:lnTo>
                    <a:pt x="80" y="76"/>
                  </a:lnTo>
                  <a:lnTo>
                    <a:pt x="76" y="76"/>
                  </a:lnTo>
                  <a:lnTo>
                    <a:pt x="76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76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4" y="80"/>
                  </a:lnTo>
                  <a:lnTo>
                    <a:pt x="64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8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8" y="64"/>
                  </a:lnTo>
                  <a:lnTo>
                    <a:pt x="68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6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8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4" y="52"/>
                  </a:lnTo>
                  <a:lnTo>
                    <a:pt x="40" y="52"/>
                  </a:lnTo>
                  <a:lnTo>
                    <a:pt x="40" y="52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4"/>
                  </a:lnTo>
                  <a:lnTo>
                    <a:pt x="32" y="68"/>
                  </a:lnTo>
                  <a:lnTo>
                    <a:pt x="32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4" y="64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20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6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4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8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4" y="16"/>
                  </a:lnTo>
                  <a:lnTo>
                    <a:pt x="68" y="16"/>
                  </a:lnTo>
                  <a:lnTo>
                    <a:pt x="68" y="12"/>
                  </a:lnTo>
                  <a:lnTo>
                    <a:pt x="68" y="12"/>
                  </a:lnTo>
                  <a:lnTo>
                    <a:pt x="72" y="12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0" y="12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4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8"/>
                  </a:lnTo>
                  <a:lnTo>
                    <a:pt x="88" y="4"/>
                  </a:lnTo>
                  <a:lnTo>
                    <a:pt x="84" y="4"/>
                  </a:lnTo>
                  <a:lnTo>
                    <a:pt x="84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2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96" y="16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0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4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100" y="28"/>
                  </a:lnTo>
                  <a:lnTo>
                    <a:pt x="96" y="28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96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0" y="36"/>
                  </a:lnTo>
                  <a:lnTo>
                    <a:pt x="104" y="40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48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2"/>
                  </a:lnTo>
                  <a:lnTo>
                    <a:pt x="104" y="56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4" y="60"/>
                  </a:lnTo>
                  <a:lnTo>
                    <a:pt x="108" y="60"/>
                  </a:lnTo>
                  <a:lnTo>
                    <a:pt x="108" y="60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4"/>
                  </a:lnTo>
                  <a:lnTo>
                    <a:pt x="108" y="68"/>
                  </a:lnTo>
                  <a:lnTo>
                    <a:pt x="112" y="68"/>
                  </a:lnTo>
                  <a:lnTo>
                    <a:pt x="112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08" y="72"/>
                  </a:lnTo>
                  <a:lnTo>
                    <a:pt x="112" y="72"/>
                  </a:lnTo>
                  <a:lnTo>
                    <a:pt x="112" y="76"/>
                  </a:lnTo>
                  <a:lnTo>
                    <a:pt x="112" y="76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12" y="80"/>
                  </a:lnTo>
                  <a:lnTo>
                    <a:pt x="108" y="80"/>
                  </a:lnTo>
                  <a:lnTo>
                    <a:pt x="108" y="80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80"/>
                  </a:lnTo>
                  <a:lnTo>
                    <a:pt x="104" y="80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4" y="84"/>
                  </a:lnTo>
                  <a:lnTo>
                    <a:pt x="108" y="84"/>
                  </a:lnTo>
                  <a:lnTo>
                    <a:pt x="108" y="84"/>
                  </a:lnTo>
                  <a:lnTo>
                    <a:pt x="108" y="88"/>
                  </a:lnTo>
                  <a:lnTo>
                    <a:pt x="108" y="8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69" name="Freeform 139">
              <a:extLst>
                <a:ext uri="{FF2B5EF4-FFF2-40B4-BE49-F238E27FC236}">
                  <a16:creationId xmlns:a16="http://schemas.microsoft.com/office/drawing/2014/main" id="{5671FC2F-61FC-8342-A2CA-43CE56E1A475}"/>
                </a:ext>
              </a:extLst>
            </p:cNvPr>
            <p:cNvSpPr>
              <a:spLocks noEditPoints="1"/>
            </p:cNvSpPr>
            <p:nvPr>
              <p:custDataLst>
                <p:tags r:id="rId59"/>
              </p:custDataLst>
            </p:nvPr>
          </p:nvSpPr>
          <p:spPr bwMode="gray">
            <a:xfrm>
              <a:off x="3475351" y="5670681"/>
              <a:ext cx="55467" cy="40339"/>
            </a:xfrm>
            <a:custGeom>
              <a:avLst/>
              <a:gdLst/>
              <a:ahLst/>
              <a:cxnLst>
                <a:cxn ang="0">
                  <a:pos x="8" y="16"/>
                </a:cxn>
                <a:cxn ang="0">
                  <a:pos x="12" y="12"/>
                </a:cxn>
                <a:cxn ang="0">
                  <a:pos x="12" y="12"/>
                </a:cxn>
                <a:cxn ang="0">
                  <a:pos x="12" y="16"/>
                </a:cxn>
                <a:cxn ang="0">
                  <a:pos x="4" y="16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8" y="4"/>
                </a:cxn>
                <a:cxn ang="0">
                  <a:pos x="12" y="4"/>
                </a:cxn>
                <a:cxn ang="0">
                  <a:pos x="20" y="0"/>
                </a:cxn>
                <a:cxn ang="0">
                  <a:pos x="32" y="0"/>
                </a:cxn>
                <a:cxn ang="0">
                  <a:pos x="40" y="0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4" y="20"/>
                </a:cxn>
                <a:cxn ang="0">
                  <a:pos x="36" y="20"/>
                </a:cxn>
                <a:cxn ang="0">
                  <a:pos x="32" y="20"/>
                </a:cxn>
                <a:cxn ang="0">
                  <a:pos x="28" y="24"/>
                </a:cxn>
                <a:cxn ang="0">
                  <a:pos x="28" y="28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4" y="28"/>
                </a:cxn>
                <a:cxn ang="0">
                  <a:pos x="20" y="32"/>
                </a:cxn>
                <a:cxn ang="0">
                  <a:pos x="20" y="28"/>
                </a:cxn>
                <a:cxn ang="0">
                  <a:pos x="20" y="28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4" y="20"/>
                </a:cxn>
                <a:cxn ang="0">
                  <a:pos x="20" y="20"/>
                </a:cxn>
                <a:cxn ang="0">
                  <a:pos x="20" y="20"/>
                </a:cxn>
                <a:cxn ang="0">
                  <a:pos x="16" y="20"/>
                </a:cxn>
                <a:cxn ang="0">
                  <a:pos x="16" y="20"/>
                </a:cxn>
                <a:cxn ang="0">
                  <a:pos x="20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6"/>
                </a:cxn>
                <a:cxn ang="0">
                  <a:pos x="24" y="12"/>
                </a:cxn>
                <a:cxn ang="0">
                  <a:pos x="20" y="16"/>
                </a:cxn>
                <a:cxn ang="0">
                  <a:pos x="16" y="16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12" y="28"/>
                </a:cxn>
                <a:cxn ang="0">
                  <a:pos x="8" y="16"/>
                </a:cxn>
                <a:cxn ang="0">
                  <a:pos x="8" y="16"/>
                </a:cxn>
                <a:cxn ang="0">
                  <a:pos x="16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8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8" y="32"/>
                </a:cxn>
                <a:cxn ang="0">
                  <a:pos x="4" y="28"/>
                </a:cxn>
                <a:cxn ang="0">
                  <a:pos x="8" y="28"/>
                </a:cxn>
                <a:cxn ang="0">
                  <a:pos x="8" y="28"/>
                </a:cxn>
              </a:cxnLst>
              <a:rect l="0" t="0" r="r" b="b"/>
              <a:pathLst>
                <a:path w="44" h="32">
                  <a:moveTo>
                    <a:pt x="12" y="16"/>
                  </a:moveTo>
                  <a:lnTo>
                    <a:pt x="12" y="16"/>
                  </a:lnTo>
                  <a:lnTo>
                    <a:pt x="12" y="16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40" y="0"/>
                  </a:lnTo>
                  <a:lnTo>
                    <a:pt x="40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0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6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6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16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12"/>
                  </a:lnTo>
                  <a:lnTo>
                    <a:pt x="24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2" y="16"/>
                  </a:lnTo>
                  <a:close/>
                  <a:moveTo>
                    <a:pt x="12" y="28"/>
                  </a:move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2" y="28"/>
                  </a:lnTo>
                  <a:lnTo>
                    <a:pt x="12" y="28"/>
                  </a:lnTo>
                  <a:close/>
                  <a:moveTo>
                    <a:pt x="8" y="16"/>
                  </a:move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close/>
                  <a:moveTo>
                    <a:pt x="16" y="20"/>
                  </a:moveTo>
                  <a:lnTo>
                    <a:pt x="16" y="20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close/>
                  <a:moveTo>
                    <a:pt x="8" y="24"/>
                  </a:move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8" y="24"/>
                  </a:lnTo>
                  <a:lnTo>
                    <a:pt x="8" y="24"/>
                  </a:lnTo>
                  <a:close/>
                  <a:moveTo>
                    <a:pt x="4" y="24"/>
                  </a:move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close/>
                  <a:moveTo>
                    <a:pt x="8" y="32"/>
                  </a:move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0" name="Freeform 140">
              <a:extLst>
                <a:ext uri="{FF2B5EF4-FFF2-40B4-BE49-F238E27FC236}">
                  <a16:creationId xmlns:a16="http://schemas.microsoft.com/office/drawing/2014/main" id="{9C469643-C12D-6D43-9D9B-B12C4D9B5714}"/>
                </a:ext>
              </a:extLst>
            </p:cNvPr>
            <p:cNvSpPr>
              <a:spLocks noEditPoints="1"/>
            </p:cNvSpPr>
            <p:nvPr>
              <p:custDataLst>
                <p:tags r:id="rId60"/>
              </p:custDataLst>
            </p:nvPr>
          </p:nvSpPr>
          <p:spPr bwMode="gray">
            <a:xfrm>
              <a:off x="4440974" y="5857250"/>
              <a:ext cx="151273" cy="215563"/>
            </a:xfrm>
            <a:custGeom>
              <a:avLst/>
              <a:gdLst/>
              <a:ahLst/>
              <a:cxnLst>
                <a:cxn ang="0">
                  <a:pos x="0" y="88"/>
                </a:cxn>
                <a:cxn ang="0">
                  <a:pos x="0" y="84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12" y="64"/>
                </a:cxn>
                <a:cxn ang="0">
                  <a:pos x="12" y="60"/>
                </a:cxn>
                <a:cxn ang="0">
                  <a:pos x="12" y="60"/>
                </a:cxn>
                <a:cxn ang="0">
                  <a:pos x="16" y="56"/>
                </a:cxn>
                <a:cxn ang="0">
                  <a:pos x="12" y="44"/>
                </a:cxn>
                <a:cxn ang="0">
                  <a:pos x="12" y="36"/>
                </a:cxn>
                <a:cxn ang="0">
                  <a:pos x="8" y="32"/>
                </a:cxn>
                <a:cxn ang="0">
                  <a:pos x="8" y="24"/>
                </a:cxn>
                <a:cxn ang="0">
                  <a:pos x="4" y="16"/>
                </a:cxn>
                <a:cxn ang="0">
                  <a:pos x="0" y="8"/>
                </a:cxn>
                <a:cxn ang="0">
                  <a:pos x="8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40" y="4"/>
                </a:cxn>
                <a:cxn ang="0">
                  <a:pos x="48" y="8"/>
                </a:cxn>
                <a:cxn ang="0">
                  <a:pos x="64" y="20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4" y="24"/>
                </a:cxn>
                <a:cxn ang="0">
                  <a:pos x="88" y="20"/>
                </a:cxn>
                <a:cxn ang="0">
                  <a:pos x="100" y="8"/>
                </a:cxn>
                <a:cxn ang="0">
                  <a:pos x="108" y="12"/>
                </a:cxn>
                <a:cxn ang="0">
                  <a:pos x="112" y="12"/>
                </a:cxn>
                <a:cxn ang="0">
                  <a:pos x="120" y="12"/>
                </a:cxn>
                <a:cxn ang="0">
                  <a:pos x="120" y="16"/>
                </a:cxn>
                <a:cxn ang="0">
                  <a:pos x="108" y="60"/>
                </a:cxn>
                <a:cxn ang="0">
                  <a:pos x="116" y="116"/>
                </a:cxn>
                <a:cxn ang="0">
                  <a:pos x="112" y="120"/>
                </a:cxn>
                <a:cxn ang="0">
                  <a:pos x="104" y="124"/>
                </a:cxn>
                <a:cxn ang="0">
                  <a:pos x="104" y="128"/>
                </a:cxn>
                <a:cxn ang="0">
                  <a:pos x="104" y="128"/>
                </a:cxn>
                <a:cxn ang="0">
                  <a:pos x="100" y="132"/>
                </a:cxn>
                <a:cxn ang="0">
                  <a:pos x="96" y="132"/>
                </a:cxn>
                <a:cxn ang="0">
                  <a:pos x="92" y="140"/>
                </a:cxn>
                <a:cxn ang="0">
                  <a:pos x="92" y="147"/>
                </a:cxn>
                <a:cxn ang="0">
                  <a:pos x="88" y="151"/>
                </a:cxn>
                <a:cxn ang="0">
                  <a:pos x="88" y="155"/>
                </a:cxn>
                <a:cxn ang="0">
                  <a:pos x="80" y="171"/>
                </a:cxn>
                <a:cxn ang="0">
                  <a:pos x="72" y="163"/>
                </a:cxn>
                <a:cxn ang="0">
                  <a:pos x="56" y="151"/>
                </a:cxn>
                <a:cxn ang="0">
                  <a:pos x="56" y="147"/>
                </a:cxn>
                <a:cxn ang="0">
                  <a:pos x="56" y="143"/>
                </a:cxn>
                <a:cxn ang="0">
                  <a:pos x="48" y="136"/>
                </a:cxn>
                <a:cxn ang="0">
                  <a:pos x="32" y="124"/>
                </a:cxn>
                <a:cxn ang="0">
                  <a:pos x="8" y="108"/>
                </a:cxn>
                <a:cxn ang="0">
                  <a:pos x="108" y="128"/>
                </a:cxn>
                <a:cxn ang="0">
                  <a:pos x="108" y="124"/>
                </a:cxn>
                <a:cxn ang="0">
                  <a:pos x="108" y="124"/>
                </a:cxn>
              </a:cxnLst>
              <a:rect l="0" t="0" r="r" b="b"/>
              <a:pathLst>
                <a:path w="120" h="171">
                  <a:moveTo>
                    <a:pt x="0" y="104"/>
                  </a:moveTo>
                  <a:lnTo>
                    <a:pt x="0" y="104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0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8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60" y="16"/>
                  </a:lnTo>
                  <a:lnTo>
                    <a:pt x="60" y="20"/>
                  </a:lnTo>
                  <a:lnTo>
                    <a:pt x="60" y="20"/>
                  </a:lnTo>
                  <a:lnTo>
                    <a:pt x="64" y="20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0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92" y="12"/>
                  </a:lnTo>
                  <a:lnTo>
                    <a:pt x="92" y="12"/>
                  </a:lnTo>
                  <a:lnTo>
                    <a:pt x="96" y="12"/>
                  </a:lnTo>
                  <a:lnTo>
                    <a:pt x="96" y="12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12" y="28"/>
                  </a:lnTo>
                  <a:lnTo>
                    <a:pt x="112" y="28"/>
                  </a:lnTo>
                  <a:lnTo>
                    <a:pt x="108" y="36"/>
                  </a:lnTo>
                  <a:lnTo>
                    <a:pt x="108" y="36"/>
                  </a:lnTo>
                  <a:lnTo>
                    <a:pt x="108" y="44"/>
                  </a:lnTo>
                  <a:lnTo>
                    <a:pt x="108" y="60"/>
                  </a:lnTo>
                  <a:lnTo>
                    <a:pt x="108" y="84"/>
                  </a:lnTo>
                  <a:lnTo>
                    <a:pt x="108" y="100"/>
                  </a:lnTo>
                  <a:lnTo>
                    <a:pt x="108" y="104"/>
                  </a:lnTo>
                  <a:lnTo>
                    <a:pt x="112" y="112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6" y="116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8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4" y="128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100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2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6" y="136"/>
                  </a:lnTo>
                  <a:lnTo>
                    <a:pt x="92" y="136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0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3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92" y="147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1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5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8" y="159"/>
                  </a:lnTo>
                  <a:lnTo>
                    <a:pt x="84" y="167"/>
                  </a:lnTo>
                  <a:lnTo>
                    <a:pt x="84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80" y="171"/>
                  </a:lnTo>
                  <a:lnTo>
                    <a:pt x="76" y="167"/>
                  </a:lnTo>
                  <a:lnTo>
                    <a:pt x="72" y="163"/>
                  </a:lnTo>
                  <a:lnTo>
                    <a:pt x="72" y="163"/>
                  </a:lnTo>
                  <a:lnTo>
                    <a:pt x="68" y="163"/>
                  </a:lnTo>
                  <a:lnTo>
                    <a:pt x="68" y="159"/>
                  </a:lnTo>
                  <a:lnTo>
                    <a:pt x="60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51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43"/>
                  </a:lnTo>
                  <a:lnTo>
                    <a:pt x="56" y="140"/>
                  </a:lnTo>
                  <a:lnTo>
                    <a:pt x="56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52" y="140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8" y="136"/>
                  </a:lnTo>
                  <a:lnTo>
                    <a:pt x="40" y="132"/>
                  </a:lnTo>
                  <a:lnTo>
                    <a:pt x="36" y="128"/>
                  </a:lnTo>
                  <a:lnTo>
                    <a:pt x="32" y="128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0" y="116"/>
                  </a:lnTo>
                  <a:lnTo>
                    <a:pt x="12" y="112"/>
                  </a:lnTo>
                  <a:lnTo>
                    <a:pt x="8" y="108"/>
                  </a:lnTo>
                  <a:lnTo>
                    <a:pt x="8" y="108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close/>
                  <a:moveTo>
                    <a:pt x="108" y="128"/>
                  </a:moveTo>
                  <a:lnTo>
                    <a:pt x="108" y="128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8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1" name="Freeform 141">
              <a:extLst>
                <a:ext uri="{FF2B5EF4-FFF2-40B4-BE49-F238E27FC236}">
                  <a16:creationId xmlns:a16="http://schemas.microsoft.com/office/drawing/2014/main" id="{B0401843-1F42-F744-8EFC-B9B24E06F147}"/>
                </a:ext>
              </a:extLst>
            </p:cNvPr>
            <p:cNvSpPr>
              <a:spLocks/>
            </p:cNvSpPr>
            <p:nvPr>
              <p:custDataLst>
                <p:tags r:id="rId61"/>
              </p:custDataLst>
            </p:nvPr>
          </p:nvSpPr>
          <p:spPr bwMode="gray">
            <a:xfrm>
              <a:off x="4311132" y="6636304"/>
              <a:ext cx="44121" cy="50424"/>
            </a:xfrm>
            <a:custGeom>
              <a:avLst/>
              <a:gdLst/>
              <a:ahLst/>
              <a:cxnLst>
                <a:cxn ang="0">
                  <a:pos x="27" y="28"/>
                </a:cxn>
                <a:cxn ang="0">
                  <a:pos x="23" y="32"/>
                </a:cxn>
                <a:cxn ang="0">
                  <a:pos x="23" y="32"/>
                </a:cxn>
                <a:cxn ang="0">
                  <a:pos x="19" y="32"/>
                </a:cxn>
                <a:cxn ang="0">
                  <a:pos x="19" y="32"/>
                </a:cxn>
                <a:cxn ang="0">
                  <a:pos x="15" y="36"/>
                </a:cxn>
                <a:cxn ang="0">
                  <a:pos x="15" y="40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8" y="40"/>
                </a:cxn>
                <a:cxn ang="0">
                  <a:pos x="8" y="36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8" y="12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5" y="4"/>
                </a:cxn>
                <a:cxn ang="0">
                  <a:pos x="15" y="4"/>
                </a:cxn>
                <a:cxn ang="0">
                  <a:pos x="19" y="4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19" y="0"/>
                </a:cxn>
                <a:cxn ang="0">
                  <a:pos x="23" y="0"/>
                </a:cxn>
                <a:cxn ang="0">
                  <a:pos x="23" y="4"/>
                </a:cxn>
                <a:cxn ang="0">
                  <a:pos x="27" y="4"/>
                </a:cxn>
                <a:cxn ang="0">
                  <a:pos x="27" y="4"/>
                </a:cxn>
                <a:cxn ang="0">
                  <a:pos x="27" y="8"/>
                </a:cxn>
                <a:cxn ang="0">
                  <a:pos x="31" y="8"/>
                </a:cxn>
                <a:cxn ang="0">
                  <a:pos x="31" y="12"/>
                </a:cxn>
                <a:cxn ang="0">
                  <a:pos x="35" y="16"/>
                </a:cxn>
                <a:cxn ang="0">
                  <a:pos x="35" y="16"/>
                </a:cxn>
                <a:cxn ang="0">
                  <a:pos x="31" y="16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0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31" y="24"/>
                </a:cxn>
                <a:cxn ang="0">
                  <a:pos x="27" y="28"/>
                </a:cxn>
                <a:cxn ang="0">
                  <a:pos x="27" y="28"/>
                </a:cxn>
              </a:cxnLst>
              <a:rect l="0" t="0" r="r" b="b"/>
              <a:pathLst>
                <a:path w="35" h="40">
                  <a:moveTo>
                    <a:pt x="27" y="28"/>
                  </a:moveTo>
                  <a:lnTo>
                    <a:pt x="27" y="28"/>
                  </a:lnTo>
                  <a:lnTo>
                    <a:pt x="27" y="28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23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9" y="32"/>
                  </a:lnTo>
                  <a:lnTo>
                    <a:pt x="15" y="32"/>
                  </a:lnTo>
                  <a:lnTo>
                    <a:pt x="15" y="36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5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5" y="4"/>
                  </a:lnTo>
                  <a:lnTo>
                    <a:pt x="19" y="4"/>
                  </a:lnTo>
                  <a:lnTo>
                    <a:pt x="19" y="4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19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0"/>
                  </a:lnTo>
                  <a:lnTo>
                    <a:pt x="23" y="4"/>
                  </a:lnTo>
                  <a:lnTo>
                    <a:pt x="23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4"/>
                  </a:lnTo>
                  <a:lnTo>
                    <a:pt x="27" y="8"/>
                  </a:lnTo>
                  <a:lnTo>
                    <a:pt x="27" y="8"/>
                  </a:lnTo>
                  <a:lnTo>
                    <a:pt x="31" y="8"/>
                  </a:lnTo>
                  <a:lnTo>
                    <a:pt x="31" y="12"/>
                  </a:lnTo>
                  <a:lnTo>
                    <a:pt x="31" y="12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5" y="16"/>
                  </a:lnTo>
                  <a:lnTo>
                    <a:pt x="31" y="16"/>
                  </a:lnTo>
                  <a:lnTo>
                    <a:pt x="31" y="16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0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4"/>
                  </a:lnTo>
                  <a:lnTo>
                    <a:pt x="31" y="28"/>
                  </a:lnTo>
                  <a:lnTo>
                    <a:pt x="27" y="28"/>
                  </a:lnTo>
                  <a:lnTo>
                    <a:pt x="27" y="28"/>
                  </a:lnTo>
                  <a:lnTo>
                    <a:pt x="27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2" name="Freeform 142">
              <a:extLst>
                <a:ext uri="{FF2B5EF4-FFF2-40B4-BE49-F238E27FC236}">
                  <a16:creationId xmlns:a16="http://schemas.microsoft.com/office/drawing/2014/main" id="{66B54812-8376-0F41-9668-807C661F240C}"/>
                </a:ext>
              </a:extLst>
            </p:cNvPr>
            <p:cNvSpPr>
              <a:spLocks/>
            </p:cNvSpPr>
            <p:nvPr>
              <p:custDataLst>
                <p:tags r:id="rId62"/>
              </p:custDataLst>
            </p:nvPr>
          </p:nvSpPr>
          <p:spPr bwMode="gray">
            <a:xfrm>
              <a:off x="3571157" y="5766487"/>
              <a:ext cx="80679" cy="100848"/>
            </a:xfrm>
            <a:custGeom>
              <a:avLst/>
              <a:gdLst/>
              <a:ahLst/>
              <a:cxnLst>
                <a:cxn ang="0">
                  <a:pos x="4" y="28"/>
                </a:cxn>
                <a:cxn ang="0">
                  <a:pos x="4" y="24"/>
                </a:cxn>
                <a:cxn ang="0">
                  <a:pos x="8" y="24"/>
                </a:cxn>
                <a:cxn ang="0">
                  <a:pos x="12" y="20"/>
                </a:cxn>
                <a:cxn ang="0">
                  <a:pos x="12" y="20"/>
                </a:cxn>
                <a:cxn ang="0">
                  <a:pos x="12" y="16"/>
                </a:cxn>
                <a:cxn ang="0">
                  <a:pos x="16" y="12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4" y="4"/>
                </a:cxn>
                <a:cxn ang="0">
                  <a:pos x="28" y="0"/>
                </a:cxn>
                <a:cxn ang="0">
                  <a:pos x="32" y="8"/>
                </a:cxn>
                <a:cxn ang="0">
                  <a:pos x="32" y="12"/>
                </a:cxn>
                <a:cxn ang="0">
                  <a:pos x="32" y="16"/>
                </a:cxn>
                <a:cxn ang="0">
                  <a:pos x="32" y="20"/>
                </a:cxn>
                <a:cxn ang="0">
                  <a:pos x="32" y="24"/>
                </a:cxn>
                <a:cxn ang="0">
                  <a:pos x="36" y="24"/>
                </a:cxn>
                <a:cxn ang="0">
                  <a:pos x="36" y="24"/>
                </a:cxn>
                <a:cxn ang="0">
                  <a:pos x="40" y="24"/>
                </a:cxn>
                <a:cxn ang="0">
                  <a:pos x="44" y="20"/>
                </a:cxn>
                <a:cxn ang="0">
                  <a:pos x="44" y="16"/>
                </a:cxn>
                <a:cxn ang="0">
                  <a:pos x="48" y="16"/>
                </a:cxn>
                <a:cxn ang="0">
                  <a:pos x="48" y="20"/>
                </a:cxn>
                <a:cxn ang="0">
                  <a:pos x="48" y="24"/>
                </a:cxn>
                <a:cxn ang="0">
                  <a:pos x="52" y="28"/>
                </a:cxn>
                <a:cxn ang="0">
                  <a:pos x="48" y="32"/>
                </a:cxn>
                <a:cxn ang="0">
                  <a:pos x="48" y="36"/>
                </a:cxn>
                <a:cxn ang="0">
                  <a:pos x="48" y="36"/>
                </a:cxn>
                <a:cxn ang="0">
                  <a:pos x="44" y="40"/>
                </a:cxn>
                <a:cxn ang="0">
                  <a:pos x="48" y="40"/>
                </a:cxn>
                <a:cxn ang="0">
                  <a:pos x="52" y="44"/>
                </a:cxn>
                <a:cxn ang="0">
                  <a:pos x="56" y="44"/>
                </a:cxn>
                <a:cxn ang="0">
                  <a:pos x="56" y="48"/>
                </a:cxn>
                <a:cxn ang="0">
                  <a:pos x="60" y="52"/>
                </a:cxn>
                <a:cxn ang="0">
                  <a:pos x="64" y="52"/>
                </a:cxn>
                <a:cxn ang="0">
                  <a:pos x="64" y="56"/>
                </a:cxn>
                <a:cxn ang="0">
                  <a:pos x="64" y="56"/>
                </a:cxn>
                <a:cxn ang="0">
                  <a:pos x="64" y="60"/>
                </a:cxn>
                <a:cxn ang="0">
                  <a:pos x="60" y="68"/>
                </a:cxn>
                <a:cxn ang="0">
                  <a:pos x="60" y="72"/>
                </a:cxn>
                <a:cxn ang="0">
                  <a:pos x="60" y="80"/>
                </a:cxn>
                <a:cxn ang="0">
                  <a:pos x="56" y="76"/>
                </a:cxn>
                <a:cxn ang="0">
                  <a:pos x="56" y="76"/>
                </a:cxn>
                <a:cxn ang="0">
                  <a:pos x="48" y="72"/>
                </a:cxn>
                <a:cxn ang="0">
                  <a:pos x="44" y="68"/>
                </a:cxn>
                <a:cxn ang="0">
                  <a:pos x="40" y="68"/>
                </a:cxn>
                <a:cxn ang="0">
                  <a:pos x="36" y="64"/>
                </a:cxn>
                <a:cxn ang="0">
                  <a:pos x="32" y="60"/>
                </a:cxn>
                <a:cxn ang="0">
                  <a:pos x="28" y="56"/>
                </a:cxn>
                <a:cxn ang="0">
                  <a:pos x="20" y="48"/>
                </a:cxn>
                <a:cxn ang="0">
                  <a:pos x="20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40"/>
                </a:cxn>
                <a:cxn ang="0">
                  <a:pos x="4" y="36"/>
                </a:cxn>
                <a:cxn ang="0">
                  <a:pos x="4" y="32"/>
                </a:cxn>
              </a:cxnLst>
              <a:rect l="0" t="0" r="r" b="b"/>
              <a:pathLst>
                <a:path w="64" h="80">
                  <a:moveTo>
                    <a:pt x="0" y="32"/>
                  </a:moveTo>
                  <a:lnTo>
                    <a:pt x="0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8" y="24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4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0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8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2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16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32" y="20"/>
                  </a:lnTo>
                  <a:lnTo>
                    <a:pt x="36" y="20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4"/>
                  </a:lnTo>
                  <a:lnTo>
                    <a:pt x="36" y="28"/>
                  </a:lnTo>
                  <a:lnTo>
                    <a:pt x="36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20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4" y="16"/>
                  </a:lnTo>
                  <a:lnTo>
                    <a:pt x="48" y="16"/>
                  </a:lnTo>
                  <a:lnTo>
                    <a:pt x="48" y="16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8"/>
                  </a:lnTo>
                  <a:lnTo>
                    <a:pt x="52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8" y="36"/>
                  </a:lnTo>
                  <a:lnTo>
                    <a:pt x="44" y="36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4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48" y="40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2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48"/>
                  </a:lnTo>
                  <a:lnTo>
                    <a:pt x="60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0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2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60" y="80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4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4" y="52"/>
                  </a:lnTo>
                  <a:lnTo>
                    <a:pt x="24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20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close/>
                </a:path>
              </a:pathLst>
            </a:custGeom>
            <a:solidFill>
              <a:srgbClr val="B4B4B4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3" name="Freeform 143">
              <a:extLst>
                <a:ext uri="{FF2B5EF4-FFF2-40B4-BE49-F238E27FC236}">
                  <a16:creationId xmlns:a16="http://schemas.microsoft.com/office/drawing/2014/main" id="{FCD14529-65CD-EE4B-B81D-4B310950A639}"/>
                </a:ext>
              </a:extLst>
            </p:cNvPr>
            <p:cNvSpPr>
              <a:spLocks/>
            </p:cNvSpPr>
            <p:nvPr>
              <p:custDataLst>
                <p:tags r:id="rId63"/>
              </p:custDataLst>
            </p:nvPr>
          </p:nvSpPr>
          <p:spPr bwMode="gray">
            <a:xfrm>
              <a:off x="3968248" y="5177784"/>
              <a:ext cx="302545" cy="331538"/>
            </a:xfrm>
            <a:custGeom>
              <a:avLst/>
              <a:gdLst/>
              <a:ahLst/>
              <a:cxnLst>
                <a:cxn ang="0">
                  <a:pos x="80" y="12"/>
                </a:cxn>
                <a:cxn ang="0">
                  <a:pos x="92" y="20"/>
                </a:cxn>
                <a:cxn ang="0">
                  <a:pos x="96" y="36"/>
                </a:cxn>
                <a:cxn ang="0">
                  <a:pos x="108" y="40"/>
                </a:cxn>
                <a:cxn ang="0">
                  <a:pos x="124" y="40"/>
                </a:cxn>
                <a:cxn ang="0">
                  <a:pos x="132" y="48"/>
                </a:cxn>
                <a:cxn ang="0">
                  <a:pos x="144" y="56"/>
                </a:cxn>
                <a:cxn ang="0">
                  <a:pos x="152" y="56"/>
                </a:cxn>
                <a:cxn ang="0">
                  <a:pos x="164" y="44"/>
                </a:cxn>
                <a:cxn ang="0">
                  <a:pos x="164" y="28"/>
                </a:cxn>
                <a:cxn ang="0">
                  <a:pos x="172" y="12"/>
                </a:cxn>
                <a:cxn ang="0">
                  <a:pos x="184" y="8"/>
                </a:cxn>
                <a:cxn ang="0">
                  <a:pos x="196" y="4"/>
                </a:cxn>
                <a:cxn ang="0">
                  <a:pos x="208" y="8"/>
                </a:cxn>
                <a:cxn ang="0">
                  <a:pos x="212" y="20"/>
                </a:cxn>
                <a:cxn ang="0">
                  <a:pos x="224" y="24"/>
                </a:cxn>
                <a:cxn ang="0">
                  <a:pos x="240" y="24"/>
                </a:cxn>
                <a:cxn ang="0">
                  <a:pos x="236" y="36"/>
                </a:cxn>
                <a:cxn ang="0">
                  <a:pos x="240" y="52"/>
                </a:cxn>
                <a:cxn ang="0">
                  <a:pos x="236" y="68"/>
                </a:cxn>
                <a:cxn ang="0">
                  <a:pos x="240" y="84"/>
                </a:cxn>
                <a:cxn ang="0">
                  <a:pos x="240" y="108"/>
                </a:cxn>
                <a:cxn ang="0">
                  <a:pos x="240" y="128"/>
                </a:cxn>
                <a:cxn ang="0">
                  <a:pos x="240" y="160"/>
                </a:cxn>
                <a:cxn ang="0">
                  <a:pos x="240" y="188"/>
                </a:cxn>
                <a:cxn ang="0">
                  <a:pos x="240" y="255"/>
                </a:cxn>
                <a:cxn ang="0">
                  <a:pos x="224" y="255"/>
                </a:cxn>
                <a:cxn ang="0">
                  <a:pos x="200" y="247"/>
                </a:cxn>
                <a:cxn ang="0">
                  <a:pos x="168" y="232"/>
                </a:cxn>
                <a:cxn ang="0">
                  <a:pos x="144" y="216"/>
                </a:cxn>
                <a:cxn ang="0">
                  <a:pos x="116" y="200"/>
                </a:cxn>
                <a:cxn ang="0">
                  <a:pos x="88" y="196"/>
                </a:cxn>
                <a:cxn ang="0">
                  <a:pos x="76" y="204"/>
                </a:cxn>
                <a:cxn ang="0">
                  <a:pos x="64" y="196"/>
                </a:cxn>
                <a:cxn ang="0">
                  <a:pos x="48" y="192"/>
                </a:cxn>
                <a:cxn ang="0">
                  <a:pos x="36" y="172"/>
                </a:cxn>
                <a:cxn ang="0">
                  <a:pos x="20" y="168"/>
                </a:cxn>
                <a:cxn ang="0">
                  <a:pos x="12" y="164"/>
                </a:cxn>
                <a:cxn ang="0">
                  <a:pos x="8" y="148"/>
                </a:cxn>
                <a:cxn ang="0">
                  <a:pos x="12" y="128"/>
                </a:cxn>
                <a:cxn ang="0">
                  <a:pos x="8" y="116"/>
                </a:cxn>
                <a:cxn ang="0">
                  <a:pos x="8" y="100"/>
                </a:cxn>
                <a:cxn ang="0">
                  <a:pos x="8" y="84"/>
                </a:cxn>
                <a:cxn ang="0">
                  <a:pos x="8" y="68"/>
                </a:cxn>
                <a:cxn ang="0">
                  <a:pos x="4" y="60"/>
                </a:cxn>
                <a:cxn ang="0">
                  <a:pos x="16" y="48"/>
                </a:cxn>
                <a:cxn ang="0">
                  <a:pos x="12" y="36"/>
                </a:cxn>
                <a:cxn ang="0">
                  <a:pos x="24" y="24"/>
                </a:cxn>
                <a:cxn ang="0">
                  <a:pos x="36" y="16"/>
                </a:cxn>
                <a:cxn ang="0">
                  <a:pos x="36" y="0"/>
                </a:cxn>
                <a:cxn ang="0">
                  <a:pos x="44" y="8"/>
                </a:cxn>
                <a:cxn ang="0">
                  <a:pos x="60" y="8"/>
                </a:cxn>
                <a:cxn ang="0">
                  <a:pos x="68" y="8"/>
                </a:cxn>
              </a:cxnLst>
              <a:rect l="0" t="0" r="r" b="b"/>
              <a:pathLst>
                <a:path w="240" h="263">
                  <a:moveTo>
                    <a:pt x="72" y="8"/>
                  </a:moveTo>
                  <a:lnTo>
                    <a:pt x="76" y="8"/>
                  </a:lnTo>
                  <a:lnTo>
                    <a:pt x="76" y="12"/>
                  </a:lnTo>
                  <a:lnTo>
                    <a:pt x="80" y="12"/>
                  </a:lnTo>
                  <a:lnTo>
                    <a:pt x="84" y="16"/>
                  </a:lnTo>
                  <a:lnTo>
                    <a:pt x="88" y="16"/>
                  </a:lnTo>
                  <a:lnTo>
                    <a:pt x="92" y="16"/>
                  </a:lnTo>
                  <a:lnTo>
                    <a:pt x="92" y="20"/>
                  </a:lnTo>
                  <a:lnTo>
                    <a:pt x="92" y="24"/>
                  </a:lnTo>
                  <a:lnTo>
                    <a:pt x="92" y="28"/>
                  </a:lnTo>
                  <a:lnTo>
                    <a:pt x="96" y="32"/>
                  </a:lnTo>
                  <a:lnTo>
                    <a:pt x="96" y="36"/>
                  </a:lnTo>
                  <a:lnTo>
                    <a:pt x="100" y="36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8" y="40"/>
                  </a:lnTo>
                  <a:lnTo>
                    <a:pt x="112" y="40"/>
                  </a:lnTo>
                  <a:lnTo>
                    <a:pt x="116" y="40"/>
                  </a:lnTo>
                  <a:lnTo>
                    <a:pt x="120" y="40"/>
                  </a:lnTo>
                  <a:lnTo>
                    <a:pt x="124" y="40"/>
                  </a:lnTo>
                  <a:lnTo>
                    <a:pt x="124" y="44"/>
                  </a:lnTo>
                  <a:lnTo>
                    <a:pt x="128" y="44"/>
                  </a:lnTo>
                  <a:lnTo>
                    <a:pt x="132" y="44"/>
                  </a:lnTo>
                  <a:lnTo>
                    <a:pt x="132" y="48"/>
                  </a:lnTo>
                  <a:lnTo>
                    <a:pt x="136" y="48"/>
                  </a:lnTo>
                  <a:lnTo>
                    <a:pt x="136" y="52"/>
                  </a:lnTo>
                  <a:lnTo>
                    <a:pt x="140" y="52"/>
                  </a:lnTo>
                  <a:lnTo>
                    <a:pt x="144" y="56"/>
                  </a:lnTo>
                  <a:lnTo>
                    <a:pt x="148" y="56"/>
                  </a:lnTo>
                  <a:lnTo>
                    <a:pt x="148" y="60"/>
                  </a:lnTo>
                  <a:lnTo>
                    <a:pt x="152" y="60"/>
                  </a:lnTo>
                  <a:lnTo>
                    <a:pt x="152" y="56"/>
                  </a:lnTo>
                  <a:lnTo>
                    <a:pt x="156" y="56"/>
                  </a:lnTo>
                  <a:lnTo>
                    <a:pt x="160" y="52"/>
                  </a:lnTo>
                  <a:lnTo>
                    <a:pt x="164" y="48"/>
                  </a:lnTo>
                  <a:lnTo>
                    <a:pt x="164" y="44"/>
                  </a:lnTo>
                  <a:lnTo>
                    <a:pt x="164" y="40"/>
                  </a:lnTo>
                  <a:lnTo>
                    <a:pt x="164" y="36"/>
                  </a:lnTo>
                  <a:lnTo>
                    <a:pt x="164" y="32"/>
                  </a:lnTo>
                  <a:lnTo>
                    <a:pt x="164" y="28"/>
                  </a:lnTo>
                  <a:lnTo>
                    <a:pt x="164" y="24"/>
                  </a:lnTo>
                  <a:lnTo>
                    <a:pt x="164" y="20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76" y="8"/>
                  </a:lnTo>
                  <a:lnTo>
                    <a:pt x="180" y="8"/>
                  </a:lnTo>
                  <a:lnTo>
                    <a:pt x="184" y="8"/>
                  </a:lnTo>
                  <a:lnTo>
                    <a:pt x="188" y="8"/>
                  </a:lnTo>
                  <a:lnTo>
                    <a:pt x="188" y="4"/>
                  </a:lnTo>
                  <a:lnTo>
                    <a:pt x="192" y="4"/>
                  </a:lnTo>
                  <a:lnTo>
                    <a:pt x="196" y="4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8" y="8"/>
                  </a:lnTo>
                  <a:lnTo>
                    <a:pt x="208" y="12"/>
                  </a:lnTo>
                  <a:lnTo>
                    <a:pt x="212" y="12"/>
                  </a:lnTo>
                  <a:lnTo>
                    <a:pt x="212" y="16"/>
                  </a:lnTo>
                  <a:lnTo>
                    <a:pt x="212" y="20"/>
                  </a:lnTo>
                  <a:lnTo>
                    <a:pt x="216" y="20"/>
                  </a:lnTo>
                  <a:lnTo>
                    <a:pt x="220" y="20"/>
                  </a:lnTo>
                  <a:lnTo>
                    <a:pt x="224" y="20"/>
                  </a:lnTo>
                  <a:lnTo>
                    <a:pt x="224" y="24"/>
                  </a:lnTo>
                  <a:lnTo>
                    <a:pt x="228" y="24"/>
                  </a:lnTo>
                  <a:lnTo>
                    <a:pt x="232" y="24"/>
                  </a:lnTo>
                  <a:lnTo>
                    <a:pt x="236" y="24"/>
                  </a:lnTo>
                  <a:lnTo>
                    <a:pt x="240" y="24"/>
                  </a:lnTo>
                  <a:lnTo>
                    <a:pt x="240" y="28"/>
                  </a:lnTo>
                  <a:lnTo>
                    <a:pt x="240" y="32"/>
                  </a:lnTo>
                  <a:lnTo>
                    <a:pt x="240" y="36"/>
                  </a:lnTo>
                  <a:lnTo>
                    <a:pt x="236" y="36"/>
                  </a:lnTo>
                  <a:lnTo>
                    <a:pt x="236" y="40"/>
                  </a:lnTo>
                  <a:lnTo>
                    <a:pt x="240" y="44"/>
                  </a:lnTo>
                  <a:lnTo>
                    <a:pt x="240" y="48"/>
                  </a:lnTo>
                  <a:lnTo>
                    <a:pt x="240" y="52"/>
                  </a:lnTo>
                  <a:lnTo>
                    <a:pt x="236" y="56"/>
                  </a:lnTo>
                  <a:lnTo>
                    <a:pt x="236" y="60"/>
                  </a:lnTo>
                  <a:lnTo>
                    <a:pt x="236" y="64"/>
                  </a:lnTo>
                  <a:lnTo>
                    <a:pt x="236" y="68"/>
                  </a:lnTo>
                  <a:lnTo>
                    <a:pt x="236" y="72"/>
                  </a:lnTo>
                  <a:lnTo>
                    <a:pt x="240" y="76"/>
                  </a:lnTo>
                  <a:lnTo>
                    <a:pt x="240" y="80"/>
                  </a:lnTo>
                  <a:lnTo>
                    <a:pt x="240" y="84"/>
                  </a:lnTo>
                  <a:lnTo>
                    <a:pt x="240" y="96"/>
                  </a:lnTo>
                  <a:lnTo>
                    <a:pt x="240" y="100"/>
                  </a:lnTo>
                  <a:lnTo>
                    <a:pt x="240" y="104"/>
                  </a:lnTo>
                  <a:lnTo>
                    <a:pt x="240" y="108"/>
                  </a:lnTo>
                  <a:lnTo>
                    <a:pt x="240" y="112"/>
                  </a:lnTo>
                  <a:lnTo>
                    <a:pt x="240" y="120"/>
                  </a:lnTo>
                  <a:lnTo>
                    <a:pt x="240" y="124"/>
                  </a:lnTo>
                  <a:lnTo>
                    <a:pt x="240" y="128"/>
                  </a:lnTo>
                  <a:lnTo>
                    <a:pt x="240" y="132"/>
                  </a:lnTo>
                  <a:lnTo>
                    <a:pt x="240" y="140"/>
                  </a:lnTo>
                  <a:lnTo>
                    <a:pt x="240" y="152"/>
                  </a:lnTo>
                  <a:lnTo>
                    <a:pt x="240" y="160"/>
                  </a:lnTo>
                  <a:lnTo>
                    <a:pt x="240" y="164"/>
                  </a:lnTo>
                  <a:lnTo>
                    <a:pt x="240" y="172"/>
                  </a:lnTo>
                  <a:lnTo>
                    <a:pt x="240" y="180"/>
                  </a:lnTo>
                  <a:lnTo>
                    <a:pt x="240" y="188"/>
                  </a:lnTo>
                  <a:lnTo>
                    <a:pt x="240" y="212"/>
                  </a:lnTo>
                  <a:lnTo>
                    <a:pt x="240" y="216"/>
                  </a:lnTo>
                  <a:lnTo>
                    <a:pt x="240" y="236"/>
                  </a:lnTo>
                  <a:lnTo>
                    <a:pt x="240" y="255"/>
                  </a:lnTo>
                  <a:lnTo>
                    <a:pt x="236" y="255"/>
                  </a:lnTo>
                  <a:lnTo>
                    <a:pt x="232" y="255"/>
                  </a:lnTo>
                  <a:lnTo>
                    <a:pt x="228" y="255"/>
                  </a:lnTo>
                  <a:lnTo>
                    <a:pt x="224" y="255"/>
                  </a:lnTo>
                  <a:lnTo>
                    <a:pt x="224" y="263"/>
                  </a:lnTo>
                  <a:lnTo>
                    <a:pt x="216" y="259"/>
                  </a:lnTo>
                  <a:lnTo>
                    <a:pt x="208" y="255"/>
                  </a:lnTo>
                  <a:lnTo>
                    <a:pt x="200" y="247"/>
                  </a:lnTo>
                  <a:lnTo>
                    <a:pt x="192" y="244"/>
                  </a:lnTo>
                  <a:lnTo>
                    <a:pt x="184" y="240"/>
                  </a:lnTo>
                  <a:lnTo>
                    <a:pt x="180" y="236"/>
                  </a:lnTo>
                  <a:lnTo>
                    <a:pt x="168" y="232"/>
                  </a:lnTo>
                  <a:lnTo>
                    <a:pt x="160" y="224"/>
                  </a:lnTo>
                  <a:lnTo>
                    <a:pt x="152" y="220"/>
                  </a:lnTo>
                  <a:lnTo>
                    <a:pt x="148" y="216"/>
                  </a:lnTo>
                  <a:lnTo>
                    <a:pt x="144" y="216"/>
                  </a:lnTo>
                  <a:lnTo>
                    <a:pt x="140" y="212"/>
                  </a:lnTo>
                  <a:lnTo>
                    <a:pt x="132" y="208"/>
                  </a:lnTo>
                  <a:lnTo>
                    <a:pt x="128" y="204"/>
                  </a:lnTo>
                  <a:lnTo>
                    <a:pt x="116" y="200"/>
                  </a:lnTo>
                  <a:lnTo>
                    <a:pt x="108" y="192"/>
                  </a:lnTo>
                  <a:lnTo>
                    <a:pt x="104" y="192"/>
                  </a:lnTo>
                  <a:lnTo>
                    <a:pt x="92" y="196"/>
                  </a:lnTo>
                  <a:lnTo>
                    <a:pt x="88" y="196"/>
                  </a:lnTo>
                  <a:lnTo>
                    <a:pt x="88" y="200"/>
                  </a:lnTo>
                  <a:lnTo>
                    <a:pt x="84" y="200"/>
                  </a:lnTo>
                  <a:lnTo>
                    <a:pt x="80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2" y="200"/>
                  </a:lnTo>
                  <a:lnTo>
                    <a:pt x="68" y="196"/>
                  </a:lnTo>
                  <a:lnTo>
                    <a:pt x="64" y="196"/>
                  </a:lnTo>
                  <a:lnTo>
                    <a:pt x="60" y="192"/>
                  </a:lnTo>
                  <a:lnTo>
                    <a:pt x="56" y="192"/>
                  </a:lnTo>
                  <a:lnTo>
                    <a:pt x="52" y="192"/>
                  </a:lnTo>
                  <a:lnTo>
                    <a:pt x="48" y="192"/>
                  </a:lnTo>
                  <a:lnTo>
                    <a:pt x="44" y="188"/>
                  </a:lnTo>
                  <a:lnTo>
                    <a:pt x="40" y="188"/>
                  </a:lnTo>
                  <a:lnTo>
                    <a:pt x="40" y="180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2"/>
                  </a:lnTo>
                  <a:lnTo>
                    <a:pt x="24" y="168"/>
                  </a:lnTo>
                  <a:lnTo>
                    <a:pt x="20" y="168"/>
                  </a:lnTo>
                  <a:lnTo>
                    <a:pt x="20" y="172"/>
                  </a:lnTo>
                  <a:lnTo>
                    <a:pt x="16" y="168"/>
                  </a:lnTo>
                  <a:lnTo>
                    <a:pt x="16" y="164"/>
                  </a:lnTo>
                  <a:lnTo>
                    <a:pt x="12" y="164"/>
                  </a:lnTo>
                  <a:lnTo>
                    <a:pt x="12" y="160"/>
                  </a:lnTo>
                  <a:lnTo>
                    <a:pt x="12" y="156"/>
                  </a:lnTo>
                  <a:lnTo>
                    <a:pt x="12" y="152"/>
                  </a:lnTo>
                  <a:lnTo>
                    <a:pt x="8" y="148"/>
                  </a:lnTo>
                  <a:lnTo>
                    <a:pt x="4" y="140"/>
                  </a:lnTo>
                  <a:lnTo>
                    <a:pt x="4" y="136"/>
                  </a:lnTo>
                  <a:lnTo>
                    <a:pt x="8" y="132"/>
                  </a:lnTo>
                  <a:lnTo>
                    <a:pt x="12" y="128"/>
                  </a:lnTo>
                  <a:lnTo>
                    <a:pt x="12" y="124"/>
                  </a:lnTo>
                  <a:lnTo>
                    <a:pt x="8" y="124"/>
                  </a:lnTo>
                  <a:lnTo>
                    <a:pt x="8" y="120"/>
                  </a:lnTo>
                  <a:lnTo>
                    <a:pt x="8" y="116"/>
                  </a:lnTo>
                  <a:lnTo>
                    <a:pt x="8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8" y="100"/>
                  </a:lnTo>
                  <a:lnTo>
                    <a:pt x="8" y="96"/>
                  </a:lnTo>
                  <a:lnTo>
                    <a:pt x="8" y="92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0" y="60"/>
                  </a:lnTo>
                  <a:lnTo>
                    <a:pt x="4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6" y="28"/>
                  </a:lnTo>
                  <a:lnTo>
                    <a:pt x="20" y="28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8" y="20"/>
                  </a:lnTo>
                  <a:lnTo>
                    <a:pt x="32" y="16"/>
                  </a:lnTo>
                  <a:lnTo>
                    <a:pt x="36" y="16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4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4" y="4"/>
                  </a:lnTo>
                  <a:lnTo>
                    <a:pt x="64" y="8"/>
                  </a:lnTo>
                  <a:lnTo>
                    <a:pt x="68" y="8"/>
                  </a:lnTo>
                  <a:lnTo>
                    <a:pt x="72" y="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4" name="Freeform 144">
              <a:extLst>
                <a:ext uri="{FF2B5EF4-FFF2-40B4-BE49-F238E27FC236}">
                  <a16:creationId xmlns:a16="http://schemas.microsoft.com/office/drawing/2014/main" id="{581DC5E7-7A9D-5045-A84D-8CAFD1B6A215}"/>
                </a:ext>
              </a:extLst>
            </p:cNvPr>
            <p:cNvSpPr>
              <a:spLocks noEditPoints="1"/>
            </p:cNvSpPr>
            <p:nvPr>
              <p:custDataLst>
                <p:tags r:id="rId64"/>
              </p:custDataLst>
            </p:nvPr>
          </p:nvSpPr>
          <p:spPr bwMode="gray">
            <a:xfrm>
              <a:off x="4617458" y="6239213"/>
              <a:ext cx="141188" cy="327757"/>
            </a:xfrm>
            <a:custGeom>
              <a:avLst/>
              <a:gdLst/>
              <a:ahLst/>
              <a:cxnLst>
                <a:cxn ang="0">
                  <a:pos x="76" y="28"/>
                </a:cxn>
                <a:cxn ang="0">
                  <a:pos x="80" y="172"/>
                </a:cxn>
                <a:cxn ang="0">
                  <a:pos x="76" y="188"/>
                </a:cxn>
                <a:cxn ang="0">
                  <a:pos x="72" y="204"/>
                </a:cxn>
                <a:cxn ang="0">
                  <a:pos x="68" y="216"/>
                </a:cxn>
                <a:cxn ang="0">
                  <a:pos x="64" y="228"/>
                </a:cxn>
                <a:cxn ang="0">
                  <a:pos x="60" y="244"/>
                </a:cxn>
                <a:cxn ang="0">
                  <a:pos x="48" y="252"/>
                </a:cxn>
                <a:cxn ang="0">
                  <a:pos x="36" y="256"/>
                </a:cxn>
                <a:cxn ang="0">
                  <a:pos x="28" y="256"/>
                </a:cxn>
                <a:cxn ang="0">
                  <a:pos x="16" y="252"/>
                </a:cxn>
                <a:cxn ang="0">
                  <a:pos x="12" y="248"/>
                </a:cxn>
                <a:cxn ang="0">
                  <a:pos x="8" y="232"/>
                </a:cxn>
                <a:cxn ang="0">
                  <a:pos x="8" y="216"/>
                </a:cxn>
                <a:cxn ang="0">
                  <a:pos x="4" y="204"/>
                </a:cxn>
                <a:cxn ang="0">
                  <a:pos x="0" y="192"/>
                </a:cxn>
                <a:cxn ang="0">
                  <a:pos x="4" y="180"/>
                </a:cxn>
                <a:cxn ang="0">
                  <a:pos x="12" y="172"/>
                </a:cxn>
                <a:cxn ang="0">
                  <a:pos x="16" y="156"/>
                </a:cxn>
                <a:cxn ang="0">
                  <a:pos x="20" y="144"/>
                </a:cxn>
                <a:cxn ang="0">
                  <a:pos x="16" y="132"/>
                </a:cxn>
                <a:cxn ang="0">
                  <a:pos x="12" y="120"/>
                </a:cxn>
                <a:cxn ang="0">
                  <a:pos x="12" y="104"/>
                </a:cxn>
                <a:cxn ang="0">
                  <a:pos x="16" y="92"/>
                </a:cxn>
                <a:cxn ang="0">
                  <a:pos x="16" y="84"/>
                </a:cxn>
                <a:cxn ang="0">
                  <a:pos x="28" y="76"/>
                </a:cxn>
                <a:cxn ang="0">
                  <a:pos x="36" y="76"/>
                </a:cxn>
                <a:cxn ang="0">
                  <a:pos x="40" y="72"/>
                </a:cxn>
                <a:cxn ang="0">
                  <a:pos x="48" y="72"/>
                </a:cxn>
                <a:cxn ang="0">
                  <a:pos x="48" y="68"/>
                </a:cxn>
                <a:cxn ang="0">
                  <a:pos x="60" y="64"/>
                </a:cxn>
                <a:cxn ang="0">
                  <a:pos x="60" y="64"/>
                </a:cxn>
                <a:cxn ang="0">
                  <a:pos x="64" y="56"/>
                </a:cxn>
                <a:cxn ang="0">
                  <a:pos x="68" y="56"/>
                </a:cxn>
                <a:cxn ang="0">
                  <a:pos x="72" y="52"/>
                </a:cxn>
                <a:cxn ang="0">
                  <a:pos x="72" y="44"/>
                </a:cxn>
                <a:cxn ang="0">
                  <a:pos x="72" y="36"/>
                </a:cxn>
                <a:cxn ang="0">
                  <a:pos x="80" y="32"/>
                </a:cxn>
                <a:cxn ang="0">
                  <a:pos x="84" y="28"/>
                </a:cxn>
                <a:cxn ang="0">
                  <a:pos x="88" y="16"/>
                </a:cxn>
                <a:cxn ang="0">
                  <a:pos x="92" y="8"/>
                </a:cxn>
                <a:cxn ang="0">
                  <a:pos x="92" y="0"/>
                </a:cxn>
                <a:cxn ang="0">
                  <a:pos x="92" y="8"/>
                </a:cxn>
                <a:cxn ang="0">
                  <a:pos x="100" y="16"/>
                </a:cxn>
                <a:cxn ang="0">
                  <a:pos x="100" y="24"/>
                </a:cxn>
                <a:cxn ang="0">
                  <a:pos x="104" y="36"/>
                </a:cxn>
                <a:cxn ang="0">
                  <a:pos x="108" y="48"/>
                </a:cxn>
                <a:cxn ang="0">
                  <a:pos x="108" y="60"/>
                </a:cxn>
                <a:cxn ang="0">
                  <a:pos x="108" y="76"/>
                </a:cxn>
                <a:cxn ang="0">
                  <a:pos x="96" y="68"/>
                </a:cxn>
                <a:cxn ang="0">
                  <a:pos x="100" y="80"/>
                </a:cxn>
                <a:cxn ang="0">
                  <a:pos x="96" y="92"/>
                </a:cxn>
                <a:cxn ang="0">
                  <a:pos x="96" y="108"/>
                </a:cxn>
                <a:cxn ang="0">
                  <a:pos x="92" y="124"/>
                </a:cxn>
                <a:cxn ang="0">
                  <a:pos x="88" y="136"/>
                </a:cxn>
                <a:cxn ang="0">
                  <a:pos x="84" y="148"/>
                </a:cxn>
                <a:cxn ang="0">
                  <a:pos x="80" y="160"/>
                </a:cxn>
                <a:cxn ang="0">
                  <a:pos x="104" y="96"/>
                </a:cxn>
              </a:cxnLst>
              <a:rect l="0" t="0" r="r" b="b"/>
              <a:pathLst>
                <a:path w="112" h="260">
                  <a:moveTo>
                    <a:pt x="76" y="28"/>
                  </a:moveTo>
                  <a:lnTo>
                    <a:pt x="76" y="24"/>
                  </a:lnTo>
                  <a:lnTo>
                    <a:pt x="80" y="28"/>
                  </a:lnTo>
                  <a:lnTo>
                    <a:pt x="76" y="28"/>
                  </a:lnTo>
                  <a:close/>
                  <a:moveTo>
                    <a:pt x="80" y="160"/>
                  </a:moveTo>
                  <a:lnTo>
                    <a:pt x="80" y="164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80" y="176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6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2" y="208"/>
                  </a:lnTo>
                  <a:lnTo>
                    <a:pt x="68" y="208"/>
                  </a:lnTo>
                  <a:lnTo>
                    <a:pt x="68" y="212"/>
                  </a:lnTo>
                  <a:lnTo>
                    <a:pt x="68" y="216"/>
                  </a:lnTo>
                  <a:lnTo>
                    <a:pt x="68" y="220"/>
                  </a:lnTo>
                  <a:lnTo>
                    <a:pt x="68" y="224"/>
                  </a:lnTo>
                  <a:lnTo>
                    <a:pt x="64" y="224"/>
                  </a:lnTo>
                  <a:lnTo>
                    <a:pt x="64" y="228"/>
                  </a:lnTo>
                  <a:lnTo>
                    <a:pt x="64" y="232"/>
                  </a:lnTo>
                  <a:lnTo>
                    <a:pt x="64" y="236"/>
                  </a:lnTo>
                  <a:lnTo>
                    <a:pt x="60" y="240"/>
                  </a:lnTo>
                  <a:lnTo>
                    <a:pt x="60" y="244"/>
                  </a:lnTo>
                  <a:lnTo>
                    <a:pt x="60" y="248"/>
                  </a:lnTo>
                  <a:lnTo>
                    <a:pt x="56" y="248"/>
                  </a:lnTo>
                  <a:lnTo>
                    <a:pt x="52" y="252"/>
                  </a:lnTo>
                  <a:lnTo>
                    <a:pt x="48" y="252"/>
                  </a:lnTo>
                  <a:lnTo>
                    <a:pt x="44" y="252"/>
                  </a:lnTo>
                  <a:lnTo>
                    <a:pt x="40" y="252"/>
                  </a:lnTo>
                  <a:lnTo>
                    <a:pt x="40" y="256"/>
                  </a:lnTo>
                  <a:lnTo>
                    <a:pt x="36" y="256"/>
                  </a:lnTo>
                  <a:lnTo>
                    <a:pt x="36" y="260"/>
                  </a:lnTo>
                  <a:lnTo>
                    <a:pt x="32" y="260"/>
                  </a:lnTo>
                  <a:lnTo>
                    <a:pt x="28" y="260"/>
                  </a:lnTo>
                  <a:lnTo>
                    <a:pt x="28" y="256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20" y="252"/>
                  </a:lnTo>
                  <a:lnTo>
                    <a:pt x="16" y="252"/>
                  </a:lnTo>
                  <a:lnTo>
                    <a:pt x="16" y="248"/>
                  </a:lnTo>
                  <a:lnTo>
                    <a:pt x="12" y="248"/>
                  </a:lnTo>
                  <a:lnTo>
                    <a:pt x="12" y="244"/>
                  </a:lnTo>
                  <a:lnTo>
                    <a:pt x="12" y="240"/>
                  </a:lnTo>
                  <a:lnTo>
                    <a:pt x="8" y="236"/>
                  </a:lnTo>
                  <a:lnTo>
                    <a:pt x="8" y="232"/>
                  </a:lnTo>
                  <a:lnTo>
                    <a:pt x="8" y="228"/>
                  </a:lnTo>
                  <a:lnTo>
                    <a:pt x="8" y="224"/>
                  </a:lnTo>
                  <a:lnTo>
                    <a:pt x="8" y="220"/>
                  </a:lnTo>
                  <a:lnTo>
                    <a:pt x="8" y="216"/>
                  </a:lnTo>
                  <a:lnTo>
                    <a:pt x="4" y="216"/>
                  </a:lnTo>
                  <a:lnTo>
                    <a:pt x="4" y="212"/>
                  </a:lnTo>
                  <a:lnTo>
                    <a:pt x="4" y="208"/>
                  </a:lnTo>
                  <a:lnTo>
                    <a:pt x="4" y="204"/>
                  </a:lnTo>
                  <a:lnTo>
                    <a:pt x="0" y="204"/>
                  </a:lnTo>
                  <a:lnTo>
                    <a:pt x="0" y="200"/>
                  </a:lnTo>
                  <a:lnTo>
                    <a:pt x="0" y="196"/>
                  </a:lnTo>
                  <a:lnTo>
                    <a:pt x="0" y="192"/>
                  </a:lnTo>
                  <a:lnTo>
                    <a:pt x="0" y="188"/>
                  </a:lnTo>
                  <a:lnTo>
                    <a:pt x="0" y="184"/>
                  </a:lnTo>
                  <a:lnTo>
                    <a:pt x="4" y="184"/>
                  </a:lnTo>
                  <a:lnTo>
                    <a:pt x="4" y="180"/>
                  </a:lnTo>
                  <a:lnTo>
                    <a:pt x="4" y="176"/>
                  </a:lnTo>
                  <a:lnTo>
                    <a:pt x="8" y="176"/>
                  </a:lnTo>
                  <a:lnTo>
                    <a:pt x="8" y="172"/>
                  </a:lnTo>
                  <a:lnTo>
                    <a:pt x="12" y="172"/>
                  </a:lnTo>
                  <a:lnTo>
                    <a:pt x="12" y="168"/>
                  </a:lnTo>
                  <a:lnTo>
                    <a:pt x="12" y="164"/>
                  </a:lnTo>
                  <a:lnTo>
                    <a:pt x="16" y="160"/>
                  </a:lnTo>
                  <a:lnTo>
                    <a:pt x="16" y="156"/>
                  </a:lnTo>
                  <a:lnTo>
                    <a:pt x="20" y="152"/>
                  </a:lnTo>
                  <a:lnTo>
                    <a:pt x="20" y="148"/>
                  </a:lnTo>
                  <a:lnTo>
                    <a:pt x="16" y="148"/>
                  </a:lnTo>
                  <a:lnTo>
                    <a:pt x="20" y="144"/>
                  </a:lnTo>
                  <a:lnTo>
                    <a:pt x="20" y="140"/>
                  </a:lnTo>
                  <a:lnTo>
                    <a:pt x="16" y="140"/>
                  </a:lnTo>
                  <a:lnTo>
                    <a:pt x="16" y="136"/>
                  </a:lnTo>
                  <a:lnTo>
                    <a:pt x="16" y="132"/>
                  </a:lnTo>
                  <a:lnTo>
                    <a:pt x="16" y="128"/>
                  </a:lnTo>
                  <a:lnTo>
                    <a:pt x="16" y="124"/>
                  </a:lnTo>
                  <a:lnTo>
                    <a:pt x="12" y="124"/>
                  </a:lnTo>
                  <a:lnTo>
                    <a:pt x="12" y="120"/>
                  </a:lnTo>
                  <a:lnTo>
                    <a:pt x="12" y="116"/>
                  </a:lnTo>
                  <a:lnTo>
                    <a:pt x="12" y="112"/>
                  </a:lnTo>
                  <a:lnTo>
                    <a:pt x="12" y="108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40" y="72"/>
                  </a:lnTo>
                  <a:lnTo>
                    <a:pt x="40" y="76"/>
                  </a:lnTo>
                  <a:lnTo>
                    <a:pt x="44" y="76"/>
                  </a:lnTo>
                  <a:lnTo>
                    <a:pt x="44" y="72"/>
                  </a:lnTo>
                  <a:lnTo>
                    <a:pt x="48" y="72"/>
                  </a:lnTo>
                  <a:lnTo>
                    <a:pt x="44" y="72"/>
                  </a:lnTo>
                  <a:lnTo>
                    <a:pt x="48" y="76"/>
                  </a:lnTo>
                  <a:lnTo>
                    <a:pt x="48" y="72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56" y="64"/>
                  </a:lnTo>
                  <a:lnTo>
                    <a:pt x="56" y="68"/>
                  </a:lnTo>
                  <a:lnTo>
                    <a:pt x="60" y="68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64" y="56"/>
                  </a:lnTo>
                  <a:lnTo>
                    <a:pt x="60" y="56"/>
                  </a:lnTo>
                  <a:lnTo>
                    <a:pt x="64" y="56"/>
                  </a:lnTo>
                  <a:lnTo>
                    <a:pt x="64" y="52"/>
                  </a:lnTo>
                  <a:lnTo>
                    <a:pt x="64" y="56"/>
                  </a:lnTo>
                  <a:lnTo>
                    <a:pt x="64" y="60"/>
                  </a:lnTo>
                  <a:lnTo>
                    <a:pt x="68" y="56"/>
                  </a:lnTo>
                  <a:lnTo>
                    <a:pt x="68" y="52"/>
                  </a:lnTo>
                  <a:lnTo>
                    <a:pt x="72" y="52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68" y="52"/>
                  </a:lnTo>
                  <a:lnTo>
                    <a:pt x="68" y="48"/>
                  </a:lnTo>
                  <a:lnTo>
                    <a:pt x="68" y="44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44"/>
                  </a:lnTo>
                  <a:lnTo>
                    <a:pt x="72" y="40"/>
                  </a:lnTo>
                  <a:lnTo>
                    <a:pt x="72" y="36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6"/>
                  </a:lnTo>
                  <a:lnTo>
                    <a:pt x="80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28"/>
                  </a:lnTo>
                  <a:lnTo>
                    <a:pt x="84" y="28"/>
                  </a:lnTo>
                  <a:lnTo>
                    <a:pt x="84" y="24"/>
                  </a:lnTo>
                  <a:lnTo>
                    <a:pt x="84" y="20"/>
                  </a:lnTo>
                  <a:lnTo>
                    <a:pt x="88" y="20"/>
                  </a:lnTo>
                  <a:lnTo>
                    <a:pt x="88" y="16"/>
                  </a:lnTo>
                  <a:lnTo>
                    <a:pt x="84" y="12"/>
                  </a:lnTo>
                  <a:lnTo>
                    <a:pt x="88" y="12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88" y="4"/>
                  </a:lnTo>
                  <a:lnTo>
                    <a:pt x="92" y="4"/>
                  </a:lnTo>
                  <a:lnTo>
                    <a:pt x="92" y="0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2" y="4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96" y="12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0" y="24"/>
                  </a:lnTo>
                  <a:lnTo>
                    <a:pt x="104" y="24"/>
                  </a:lnTo>
                  <a:lnTo>
                    <a:pt x="104" y="28"/>
                  </a:lnTo>
                  <a:lnTo>
                    <a:pt x="104" y="32"/>
                  </a:lnTo>
                  <a:lnTo>
                    <a:pt x="104" y="36"/>
                  </a:lnTo>
                  <a:lnTo>
                    <a:pt x="104" y="40"/>
                  </a:lnTo>
                  <a:lnTo>
                    <a:pt x="104" y="44"/>
                  </a:lnTo>
                  <a:lnTo>
                    <a:pt x="108" y="44"/>
                  </a:lnTo>
                  <a:lnTo>
                    <a:pt x="108" y="48"/>
                  </a:lnTo>
                  <a:lnTo>
                    <a:pt x="104" y="48"/>
                  </a:lnTo>
                  <a:lnTo>
                    <a:pt x="108" y="52"/>
                  </a:lnTo>
                  <a:lnTo>
                    <a:pt x="108" y="56"/>
                  </a:lnTo>
                  <a:lnTo>
                    <a:pt x="108" y="60"/>
                  </a:lnTo>
                  <a:lnTo>
                    <a:pt x="112" y="64"/>
                  </a:lnTo>
                  <a:lnTo>
                    <a:pt x="108" y="68"/>
                  </a:lnTo>
                  <a:lnTo>
                    <a:pt x="108" y="72"/>
                  </a:lnTo>
                  <a:lnTo>
                    <a:pt x="108" y="76"/>
                  </a:lnTo>
                  <a:lnTo>
                    <a:pt x="104" y="76"/>
                  </a:lnTo>
                  <a:lnTo>
                    <a:pt x="104" y="72"/>
                  </a:lnTo>
                  <a:lnTo>
                    <a:pt x="100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100" y="72"/>
                  </a:lnTo>
                  <a:lnTo>
                    <a:pt x="100" y="76"/>
                  </a:lnTo>
                  <a:lnTo>
                    <a:pt x="100" y="80"/>
                  </a:lnTo>
                  <a:lnTo>
                    <a:pt x="100" y="84"/>
                  </a:lnTo>
                  <a:lnTo>
                    <a:pt x="100" y="88"/>
                  </a:lnTo>
                  <a:lnTo>
                    <a:pt x="100" y="92"/>
                  </a:lnTo>
                  <a:lnTo>
                    <a:pt x="96" y="92"/>
                  </a:lnTo>
                  <a:lnTo>
                    <a:pt x="96" y="96"/>
                  </a:lnTo>
                  <a:lnTo>
                    <a:pt x="96" y="100"/>
                  </a:lnTo>
                  <a:lnTo>
                    <a:pt x="96" y="104"/>
                  </a:lnTo>
                  <a:lnTo>
                    <a:pt x="96" y="108"/>
                  </a:lnTo>
                  <a:lnTo>
                    <a:pt x="96" y="112"/>
                  </a:lnTo>
                  <a:lnTo>
                    <a:pt x="96" y="116"/>
                  </a:lnTo>
                  <a:lnTo>
                    <a:pt x="92" y="120"/>
                  </a:lnTo>
                  <a:lnTo>
                    <a:pt x="92" y="124"/>
                  </a:lnTo>
                  <a:lnTo>
                    <a:pt x="92" y="128"/>
                  </a:lnTo>
                  <a:lnTo>
                    <a:pt x="92" y="132"/>
                  </a:lnTo>
                  <a:lnTo>
                    <a:pt x="88" y="132"/>
                  </a:lnTo>
                  <a:lnTo>
                    <a:pt x="88" y="136"/>
                  </a:lnTo>
                  <a:lnTo>
                    <a:pt x="88" y="140"/>
                  </a:lnTo>
                  <a:lnTo>
                    <a:pt x="88" y="144"/>
                  </a:lnTo>
                  <a:lnTo>
                    <a:pt x="84" y="144"/>
                  </a:lnTo>
                  <a:lnTo>
                    <a:pt x="84" y="148"/>
                  </a:lnTo>
                  <a:lnTo>
                    <a:pt x="84" y="152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close/>
                  <a:moveTo>
                    <a:pt x="100" y="96"/>
                  </a:moveTo>
                  <a:lnTo>
                    <a:pt x="100" y="92"/>
                  </a:lnTo>
                  <a:lnTo>
                    <a:pt x="104" y="92"/>
                  </a:lnTo>
                  <a:lnTo>
                    <a:pt x="104" y="96"/>
                  </a:lnTo>
                  <a:lnTo>
                    <a:pt x="100" y="96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5" name="Freeform 145">
              <a:extLst>
                <a:ext uri="{FF2B5EF4-FFF2-40B4-BE49-F238E27FC236}">
                  <a16:creationId xmlns:a16="http://schemas.microsoft.com/office/drawing/2014/main" id="{7E4DA940-ED2A-DB41-96FB-4B6150BB6980}"/>
                </a:ext>
              </a:extLst>
            </p:cNvPr>
            <p:cNvSpPr>
              <a:spLocks noEditPoints="1"/>
            </p:cNvSpPr>
            <p:nvPr>
              <p:custDataLst>
                <p:tags r:id="rId65"/>
              </p:custDataLst>
            </p:nvPr>
          </p:nvSpPr>
          <p:spPr bwMode="gray">
            <a:xfrm>
              <a:off x="4415762" y="6183746"/>
              <a:ext cx="60509" cy="181527"/>
            </a:xfrm>
            <a:custGeom>
              <a:avLst/>
              <a:gdLst/>
              <a:ahLst/>
              <a:cxnLst>
                <a:cxn ang="0">
                  <a:pos x="4" y="84"/>
                </a:cxn>
                <a:cxn ang="0">
                  <a:pos x="0" y="76"/>
                </a:cxn>
                <a:cxn ang="0">
                  <a:pos x="4" y="72"/>
                </a:cxn>
                <a:cxn ang="0">
                  <a:pos x="4" y="64"/>
                </a:cxn>
                <a:cxn ang="0">
                  <a:pos x="4" y="60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2" y="52"/>
                </a:cxn>
                <a:cxn ang="0">
                  <a:pos x="8" y="40"/>
                </a:cxn>
                <a:cxn ang="0">
                  <a:pos x="12" y="32"/>
                </a:cxn>
                <a:cxn ang="0">
                  <a:pos x="8" y="28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12" y="16"/>
                </a:cxn>
                <a:cxn ang="0">
                  <a:pos x="8" y="12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12" y="0"/>
                </a:cxn>
                <a:cxn ang="0">
                  <a:pos x="16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8" y="8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8"/>
                </a:cxn>
                <a:cxn ang="0">
                  <a:pos x="32" y="32"/>
                </a:cxn>
                <a:cxn ang="0">
                  <a:pos x="36" y="40"/>
                </a:cxn>
                <a:cxn ang="0">
                  <a:pos x="28" y="40"/>
                </a:cxn>
                <a:cxn ang="0">
                  <a:pos x="28" y="44"/>
                </a:cxn>
                <a:cxn ang="0">
                  <a:pos x="24" y="52"/>
                </a:cxn>
                <a:cxn ang="0">
                  <a:pos x="28" y="56"/>
                </a:cxn>
                <a:cxn ang="0">
                  <a:pos x="28" y="60"/>
                </a:cxn>
                <a:cxn ang="0">
                  <a:pos x="28" y="72"/>
                </a:cxn>
                <a:cxn ang="0">
                  <a:pos x="32" y="76"/>
                </a:cxn>
                <a:cxn ang="0">
                  <a:pos x="44" y="88"/>
                </a:cxn>
                <a:cxn ang="0">
                  <a:pos x="48" y="100"/>
                </a:cxn>
                <a:cxn ang="0">
                  <a:pos x="48" y="108"/>
                </a:cxn>
                <a:cxn ang="0">
                  <a:pos x="48" y="120"/>
                </a:cxn>
                <a:cxn ang="0">
                  <a:pos x="44" y="124"/>
                </a:cxn>
                <a:cxn ang="0">
                  <a:pos x="40" y="132"/>
                </a:cxn>
                <a:cxn ang="0">
                  <a:pos x="40" y="132"/>
                </a:cxn>
                <a:cxn ang="0">
                  <a:pos x="40" y="140"/>
                </a:cxn>
                <a:cxn ang="0">
                  <a:pos x="36" y="140"/>
                </a:cxn>
                <a:cxn ang="0">
                  <a:pos x="36" y="136"/>
                </a:cxn>
                <a:cxn ang="0">
                  <a:pos x="32" y="132"/>
                </a:cxn>
                <a:cxn ang="0">
                  <a:pos x="28" y="128"/>
                </a:cxn>
                <a:cxn ang="0">
                  <a:pos x="28" y="124"/>
                </a:cxn>
                <a:cxn ang="0">
                  <a:pos x="24" y="120"/>
                </a:cxn>
                <a:cxn ang="0">
                  <a:pos x="24" y="116"/>
                </a:cxn>
                <a:cxn ang="0">
                  <a:pos x="28" y="112"/>
                </a:cxn>
                <a:cxn ang="0">
                  <a:pos x="28" y="108"/>
                </a:cxn>
                <a:cxn ang="0">
                  <a:pos x="28" y="104"/>
                </a:cxn>
                <a:cxn ang="0">
                  <a:pos x="28" y="96"/>
                </a:cxn>
                <a:cxn ang="0">
                  <a:pos x="24" y="92"/>
                </a:cxn>
                <a:cxn ang="0">
                  <a:pos x="16" y="92"/>
                </a:cxn>
                <a:cxn ang="0">
                  <a:pos x="8" y="84"/>
                </a:cxn>
                <a:cxn ang="0">
                  <a:pos x="32" y="48"/>
                </a:cxn>
              </a:cxnLst>
              <a:rect l="0" t="0" r="r" b="b"/>
              <a:pathLst>
                <a:path w="48" h="144">
                  <a:moveTo>
                    <a:pt x="8" y="84"/>
                  </a:move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0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0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12" y="12"/>
                  </a:lnTo>
                  <a:lnTo>
                    <a:pt x="8" y="12"/>
                  </a:lnTo>
                  <a:lnTo>
                    <a:pt x="8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32" y="20"/>
                  </a:lnTo>
                  <a:lnTo>
                    <a:pt x="32" y="20"/>
                  </a:lnTo>
                  <a:lnTo>
                    <a:pt x="32" y="24"/>
                  </a:lnTo>
                  <a:lnTo>
                    <a:pt x="32" y="24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28"/>
                  </a:lnTo>
                  <a:lnTo>
                    <a:pt x="28" y="32"/>
                  </a:lnTo>
                  <a:lnTo>
                    <a:pt x="28" y="32"/>
                  </a:lnTo>
                  <a:lnTo>
                    <a:pt x="32" y="32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6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2" y="40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56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40" y="80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4" y="88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0"/>
                  </a:lnTo>
                  <a:lnTo>
                    <a:pt x="48" y="104"/>
                  </a:lnTo>
                  <a:lnTo>
                    <a:pt x="48" y="104"/>
                  </a:lnTo>
                  <a:lnTo>
                    <a:pt x="48" y="108"/>
                  </a:lnTo>
                  <a:lnTo>
                    <a:pt x="48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20"/>
                  </a:lnTo>
                  <a:lnTo>
                    <a:pt x="48" y="120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40" y="124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28"/>
                  </a:lnTo>
                  <a:lnTo>
                    <a:pt x="40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2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4"/>
                  </a:lnTo>
                  <a:lnTo>
                    <a:pt x="40" y="144"/>
                  </a:lnTo>
                  <a:lnTo>
                    <a:pt x="36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6" y="136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32"/>
                  </a:lnTo>
                  <a:lnTo>
                    <a:pt x="32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8" y="124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20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4" y="116"/>
                  </a:lnTo>
                  <a:lnTo>
                    <a:pt x="28" y="116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12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8"/>
                  </a:lnTo>
                  <a:lnTo>
                    <a:pt x="28" y="104"/>
                  </a:lnTo>
                  <a:lnTo>
                    <a:pt x="28" y="104"/>
                  </a:lnTo>
                  <a:lnTo>
                    <a:pt x="28" y="100"/>
                  </a:lnTo>
                  <a:lnTo>
                    <a:pt x="28" y="100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4"/>
                  </a:lnTo>
                  <a:close/>
                  <a:moveTo>
                    <a:pt x="28" y="48"/>
                  </a:move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close/>
                  <a:moveTo>
                    <a:pt x="32" y="48"/>
                  </a:move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close/>
                </a:path>
              </a:pathLst>
            </a:custGeom>
            <a:solidFill>
              <a:schemeClr val="bg1">
                <a:lumMod val="75000"/>
              </a:schemeClr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6" name="Freeform 146">
              <a:extLst>
                <a:ext uri="{FF2B5EF4-FFF2-40B4-BE49-F238E27FC236}">
                  <a16:creationId xmlns:a16="http://schemas.microsoft.com/office/drawing/2014/main" id="{D54ED38B-FA6C-D244-9623-C0C626EEC4D6}"/>
                </a:ext>
              </a:extLst>
            </p:cNvPr>
            <p:cNvSpPr>
              <a:spLocks/>
            </p:cNvSpPr>
            <p:nvPr>
              <p:custDataLst>
                <p:tags r:id="rId66"/>
              </p:custDataLst>
            </p:nvPr>
          </p:nvSpPr>
          <p:spPr bwMode="gray">
            <a:xfrm>
              <a:off x="3561072" y="5379481"/>
              <a:ext cx="312630" cy="351708"/>
            </a:xfrm>
            <a:custGeom>
              <a:avLst/>
              <a:gdLst/>
              <a:ahLst/>
              <a:cxnLst>
                <a:cxn ang="0">
                  <a:pos x="28" y="243"/>
                </a:cxn>
                <a:cxn ang="0">
                  <a:pos x="20" y="239"/>
                </a:cxn>
                <a:cxn ang="0">
                  <a:pos x="8" y="239"/>
                </a:cxn>
                <a:cxn ang="0">
                  <a:pos x="12" y="223"/>
                </a:cxn>
                <a:cxn ang="0">
                  <a:pos x="0" y="215"/>
                </a:cxn>
                <a:cxn ang="0">
                  <a:pos x="4" y="203"/>
                </a:cxn>
                <a:cxn ang="0">
                  <a:pos x="0" y="195"/>
                </a:cxn>
                <a:cxn ang="0">
                  <a:pos x="8" y="179"/>
                </a:cxn>
                <a:cxn ang="0">
                  <a:pos x="20" y="187"/>
                </a:cxn>
                <a:cxn ang="0">
                  <a:pos x="32" y="183"/>
                </a:cxn>
                <a:cxn ang="0">
                  <a:pos x="44" y="179"/>
                </a:cxn>
                <a:cxn ang="0">
                  <a:pos x="64" y="179"/>
                </a:cxn>
                <a:cxn ang="0">
                  <a:pos x="88" y="179"/>
                </a:cxn>
                <a:cxn ang="0">
                  <a:pos x="104" y="163"/>
                </a:cxn>
                <a:cxn ang="0">
                  <a:pos x="96" y="131"/>
                </a:cxn>
                <a:cxn ang="0">
                  <a:pos x="92" y="99"/>
                </a:cxn>
                <a:cxn ang="0">
                  <a:pos x="92" y="72"/>
                </a:cxn>
                <a:cxn ang="0">
                  <a:pos x="88" y="44"/>
                </a:cxn>
                <a:cxn ang="0">
                  <a:pos x="84" y="12"/>
                </a:cxn>
                <a:cxn ang="0">
                  <a:pos x="96" y="0"/>
                </a:cxn>
                <a:cxn ang="0">
                  <a:pos x="128" y="12"/>
                </a:cxn>
                <a:cxn ang="0">
                  <a:pos x="152" y="36"/>
                </a:cxn>
                <a:cxn ang="0">
                  <a:pos x="176" y="56"/>
                </a:cxn>
                <a:cxn ang="0">
                  <a:pos x="200" y="76"/>
                </a:cxn>
                <a:cxn ang="0">
                  <a:pos x="208" y="84"/>
                </a:cxn>
                <a:cxn ang="0">
                  <a:pos x="220" y="91"/>
                </a:cxn>
                <a:cxn ang="0">
                  <a:pos x="232" y="103"/>
                </a:cxn>
                <a:cxn ang="0">
                  <a:pos x="244" y="111"/>
                </a:cxn>
                <a:cxn ang="0">
                  <a:pos x="248" y="139"/>
                </a:cxn>
                <a:cxn ang="0">
                  <a:pos x="248" y="163"/>
                </a:cxn>
                <a:cxn ang="0">
                  <a:pos x="240" y="175"/>
                </a:cxn>
                <a:cxn ang="0">
                  <a:pos x="228" y="179"/>
                </a:cxn>
                <a:cxn ang="0">
                  <a:pos x="200" y="187"/>
                </a:cxn>
                <a:cxn ang="0">
                  <a:pos x="188" y="191"/>
                </a:cxn>
                <a:cxn ang="0">
                  <a:pos x="176" y="187"/>
                </a:cxn>
                <a:cxn ang="0">
                  <a:pos x="156" y="199"/>
                </a:cxn>
                <a:cxn ang="0">
                  <a:pos x="140" y="207"/>
                </a:cxn>
                <a:cxn ang="0">
                  <a:pos x="136" y="215"/>
                </a:cxn>
                <a:cxn ang="0">
                  <a:pos x="128" y="219"/>
                </a:cxn>
                <a:cxn ang="0">
                  <a:pos x="120" y="227"/>
                </a:cxn>
                <a:cxn ang="0">
                  <a:pos x="112" y="243"/>
                </a:cxn>
                <a:cxn ang="0">
                  <a:pos x="104" y="259"/>
                </a:cxn>
                <a:cxn ang="0">
                  <a:pos x="100" y="275"/>
                </a:cxn>
                <a:cxn ang="0">
                  <a:pos x="88" y="275"/>
                </a:cxn>
                <a:cxn ang="0">
                  <a:pos x="88" y="267"/>
                </a:cxn>
                <a:cxn ang="0">
                  <a:pos x="80" y="279"/>
                </a:cxn>
                <a:cxn ang="0">
                  <a:pos x="64" y="275"/>
                </a:cxn>
                <a:cxn ang="0">
                  <a:pos x="56" y="267"/>
                </a:cxn>
                <a:cxn ang="0">
                  <a:pos x="52" y="259"/>
                </a:cxn>
                <a:cxn ang="0">
                  <a:pos x="48" y="251"/>
                </a:cxn>
                <a:cxn ang="0">
                  <a:pos x="44" y="235"/>
                </a:cxn>
                <a:cxn ang="0">
                  <a:pos x="36" y="243"/>
                </a:cxn>
              </a:cxnLst>
              <a:rect l="0" t="0" r="r" b="b"/>
              <a:pathLst>
                <a:path w="248" h="279">
                  <a:moveTo>
                    <a:pt x="36" y="243"/>
                  </a:moveTo>
                  <a:lnTo>
                    <a:pt x="32" y="243"/>
                  </a:lnTo>
                  <a:lnTo>
                    <a:pt x="32" y="239"/>
                  </a:lnTo>
                  <a:lnTo>
                    <a:pt x="28" y="239"/>
                  </a:lnTo>
                  <a:lnTo>
                    <a:pt x="28" y="243"/>
                  </a:lnTo>
                  <a:lnTo>
                    <a:pt x="24" y="243"/>
                  </a:lnTo>
                  <a:lnTo>
                    <a:pt x="24" y="247"/>
                  </a:lnTo>
                  <a:lnTo>
                    <a:pt x="20" y="247"/>
                  </a:lnTo>
                  <a:lnTo>
                    <a:pt x="20" y="243"/>
                  </a:lnTo>
                  <a:lnTo>
                    <a:pt x="20" y="239"/>
                  </a:lnTo>
                  <a:lnTo>
                    <a:pt x="16" y="239"/>
                  </a:lnTo>
                  <a:lnTo>
                    <a:pt x="16" y="243"/>
                  </a:lnTo>
                  <a:lnTo>
                    <a:pt x="12" y="243"/>
                  </a:lnTo>
                  <a:lnTo>
                    <a:pt x="8" y="243"/>
                  </a:lnTo>
                  <a:lnTo>
                    <a:pt x="8" y="239"/>
                  </a:lnTo>
                  <a:lnTo>
                    <a:pt x="12" y="239"/>
                  </a:lnTo>
                  <a:lnTo>
                    <a:pt x="12" y="235"/>
                  </a:lnTo>
                  <a:lnTo>
                    <a:pt x="12" y="231"/>
                  </a:lnTo>
                  <a:lnTo>
                    <a:pt x="12" y="227"/>
                  </a:lnTo>
                  <a:lnTo>
                    <a:pt x="12" y="223"/>
                  </a:lnTo>
                  <a:lnTo>
                    <a:pt x="8" y="223"/>
                  </a:lnTo>
                  <a:lnTo>
                    <a:pt x="8" y="219"/>
                  </a:lnTo>
                  <a:lnTo>
                    <a:pt x="4" y="219"/>
                  </a:lnTo>
                  <a:lnTo>
                    <a:pt x="4" y="215"/>
                  </a:lnTo>
                  <a:lnTo>
                    <a:pt x="0" y="215"/>
                  </a:lnTo>
                  <a:lnTo>
                    <a:pt x="0" y="211"/>
                  </a:lnTo>
                  <a:lnTo>
                    <a:pt x="4" y="211"/>
                  </a:lnTo>
                  <a:lnTo>
                    <a:pt x="4" y="207"/>
                  </a:lnTo>
                  <a:lnTo>
                    <a:pt x="0" y="207"/>
                  </a:lnTo>
                  <a:lnTo>
                    <a:pt x="4" y="203"/>
                  </a:lnTo>
                  <a:lnTo>
                    <a:pt x="0" y="203"/>
                  </a:lnTo>
                  <a:lnTo>
                    <a:pt x="0" y="199"/>
                  </a:lnTo>
                  <a:lnTo>
                    <a:pt x="0" y="195"/>
                  </a:lnTo>
                  <a:lnTo>
                    <a:pt x="0" y="191"/>
                  </a:lnTo>
                  <a:lnTo>
                    <a:pt x="0" y="195"/>
                  </a:lnTo>
                  <a:lnTo>
                    <a:pt x="4" y="191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8" y="179"/>
                  </a:lnTo>
                  <a:lnTo>
                    <a:pt x="8" y="175"/>
                  </a:lnTo>
                  <a:lnTo>
                    <a:pt x="12" y="175"/>
                  </a:lnTo>
                  <a:lnTo>
                    <a:pt x="12" y="179"/>
                  </a:lnTo>
                  <a:lnTo>
                    <a:pt x="16" y="183"/>
                  </a:lnTo>
                  <a:lnTo>
                    <a:pt x="20" y="187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4" y="179"/>
                  </a:lnTo>
                  <a:lnTo>
                    <a:pt x="28" y="179"/>
                  </a:lnTo>
                  <a:lnTo>
                    <a:pt x="32" y="183"/>
                  </a:lnTo>
                  <a:lnTo>
                    <a:pt x="36" y="183"/>
                  </a:lnTo>
                  <a:lnTo>
                    <a:pt x="36" y="179"/>
                  </a:lnTo>
                  <a:lnTo>
                    <a:pt x="40" y="179"/>
                  </a:lnTo>
                  <a:lnTo>
                    <a:pt x="44" y="175"/>
                  </a:lnTo>
                  <a:lnTo>
                    <a:pt x="44" y="179"/>
                  </a:lnTo>
                  <a:lnTo>
                    <a:pt x="48" y="179"/>
                  </a:lnTo>
                  <a:lnTo>
                    <a:pt x="52" y="179"/>
                  </a:lnTo>
                  <a:lnTo>
                    <a:pt x="56" y="179"/>
                  </a:lnTo>
                  <a:lnTo>
                    <a:pt x="60" y="179"/>
                  </a:lnTo>
                  <a:lnTo>
                    <a:pt x="64" y="179"/>
                  </a:lnTo>
                  <a:lnTo>
                    <a:pt x="68" y="179"/>
                  </a:lnTo>
                  <a:lnTo>
                    <a:pt x="72" y="179"/>
                  </a:lnTo>
                  <a:lnTo>
                    <a:pt x="76" y="179"/>
                  </a:lnTo>
                  <a:lnTo>
                    <a:pt x="84" y="179"/>
                  </a:lnTo>
                  <a:lnTo>
                    <a:pt x="88" y="179"/>
                  </a:lnTo>
                  <a:lnTo>
                    <a:pt x="92" y="179"/>
                  </a:lnTo>
                  <a:lnTo>
                    <a:pt x="100" y="179"/>
                  </a:lnTo>
                  <a:lnTo>
                    <a:pt x="100" y="171"/>
                  </a:lnTo>
                  <a:lnTo>
                    <a:pt x="104" y="167"/>
                  </a:lnTo>
                  <a:lnTo>
                    <a:pt x="104" y="163"/>
                  </a:lnTo>
                  <a:lnTo>
                    <a:pt x="100" y="159"/>
                  </a:lnTo>
                  <a:lnTo>
                    <a:pt x="100" y="155"/>
                  </a:lnTo>
                  <a:lnTo>
                    <a:pt x="96" y="143"/>
                  </a:lnTo>
                  <a:lnTo>
                    <a:pt x="96" y="135"/>
                  </a:lnTo>
                  <a:lnTo>
                    <a:pt x="96" y="131"/>
                  </a:lnTo>
                  <a:lnTo>
                    <a:pt x="96" y="127"/>
                  </a:lnTo>
                  <a:lnTo>
                    <a:pt x="96" y="119"/>
                  </a:lnTo>
                  <a:lnTo>
                    <a:pt x="96" y="111"/>
                  </a:lnTo>
                  <a:lnTo>
                    <a:pt x="96" y="107"/>
                  </a:lnTo>
                  <a:lnTo>
                    <a:pt x="92" y="99"/>
                  </a:lnTo>
                  <a:lnTo>
                    <a:pt x="92" y="91"/>
                  </a:lnTo>
                  <a:lnTo>
                    <a:pt x="92" y="84"/>
                  </a:lnTo>
                  <a:lnTo>
                    <a:pt x="92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2" y="64"/>
                  </a:lnTo>
                  <a:lnTo>
                    <a:pt x="88" y="60"/>
                  </a:lnTo>
                  <a:lnTo>
                    <a:pt x="88" y="56"/>
                  </a:lnTo>
                  <a:lnTo>
                    <a:pt x="88" y="44"/>
                  </a:lnTo>
                  <a:lnTo>
                    <a:pt x="88" y="40"/>
                  </a:lnTo>
                  <a:lnTo>
                    <a:pt x="88" y="32"/>
                  </a:lnTo>
                  <a:lnTo>
                    <a:pt x="88" y="24"/>
                  </a:lnTo>
                  <a:lnTo>
                    <a:pt x="84" y="16"/>
                  </a:lnTo>
                  <a:lnTo>
                    <a:pt x="84" y="12"/>
                  </a:lnTo>
                  <a:lnTo>
                    <a:pt x="84" y="8"/>
                  </a:lnTo>
                  <a:lnTo>
                    <a:pt x="84" y="0"/>
                  </a:lnTo>
                  <a:lnTo>
                    <a:pt x="88" y="0"/>
                  </a:lnTo>
                  <a:lnTo>
                    <a:pt x="92" y="0"/>
                  </a:lnTo>
                  <a:lnTo>
                    <a:pt x="96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6" y="4"/>
                  </a:lnTo>
                  <a:lnTo>
                    <a:pt x="120" y="8"/>
                  </a:lnTo>
                  <a:lnTo>
                    <a:pt x="128" y="12"/>
                  </a:lnTo>
                  <a:lnTo>
                    <a:pt x="132" y="16"/>
                  </a:lnTo>
                  <a:lnTo>
                    <a:pt x="136" y="20"/>
                  </a:lnTo>
                  <a:lnTo>
                    <a:pt x="140" y="24"/>
                  </a:lnTo>
                  <a:lnTo>
                    <a:pt x="148" y="28"/>
                  </a:lnTo>
                  <a:lnTo>
                    <a:pt x="152" y="36"/>
                  </a:lnTo>
                  <a:lnTo>
                    <a:pt x="156" y="40"/>
                  </a:lnTo>
                  <a:lnTo>
                    <a:pt x="164" y="44"/>
                  </a:lnTo>
                  <a:lnTo>
                    <a:pt x="168" y="48"/>
                  </a:lnTo>
                  <a:lnTo>
                    <a:pt x="172" y="52"/>
                  </a:lnTo>
                  <a:lnTo>
                    <a:pt x="176" y="56"/>
                  </a:lnTo>
                  <a:lnTo>
                    <a:pt x="184" y="60"/>
                  </a:lnTo>
                  <a:lnTo>
                    <a:pt x="188" y="64"/>
                  </a:lnTo>
                  <a:lnTo>
                    <a:pt x="192" y="64"/>
                  </a:lnTo>
                  <a:lnTo>
                    <a:pt x="196" y="72"/>
                  </a:lnTo>
                  <a:lnTo>
                    <a:pt x="200" y="76"/>
                  </a:lnTo>
                  <a:lnTo>
                    <a:pt x="204" y="76"/>
                  </a:lnTo>
                  <a:lnTo>
                    <a:pt x="204" y="80"/>
                  </a:lnTo>
                  <a:lnTo>
                    <a:pt x="200" y="80"/>
                  </a:lnTo>
                  <a:lnTo>
                    <a:pt x="204" y="84"/>
                  </a:lnTo>
                  <a:lnTo>
                    <a:pt x="208" y="84"/>
                  </a:lnTo>
                  <a:lnTo>
                    <a:pt x="208" y="87"/>
                  </a:lnTo>
                  <a:lnTo>
                    <a:pt x="212" y="87"/>
                  </a:lnTo>
                  <a:lnTo>
                    <a:pt x="212" y="91"/>
                  </a:lnTo>
                  <a:lnTo>
                    <a:pt x="216" y="91"/>
                  </a:lnTo>
                  <a:lnTo>
                    <a:pt x="220" y="91"/>
                  </a:lnTo>
                  <a:lnTo>
                    <a:pt x="220" y="95"/>
                  </a:lnTo>
                  <a:lnTo>
                    <a:pt x="224" y="95"/>
                  </a:lnTo>
                  <a:lnTo>
                    <a:pt x="228" y="95"/>
                  </a:lnTo>
                  <a:lnTo>
                    <a:pt x="232" y="99"/>
                  </a:lnTo>
                  <a:lnTo>
                    <a:pt x="232" y="103"/>
                  </a:lnTo>
                  <a:lnTo>
                    <a:pt x="232" y="107"/>
                  </a:lnTo>
                  <a:lnTo>
                    <a:pt x="232" y="111"/>
                  </a:lnTo>
                  <a:lnTo>
                    <a:pt x="236" y="115"/>
                  </a:lnTo>
                  <a:lnTo>
                    <a:pt x="240" y="111"/>
                  </a:lnTo>
                  <a:lnTo>
                    <a:pt x="244" y="111"/>
                  </a:lnTo>
                  <a:lnTo>
                    <a:pt x="248" y="111"/>
                  </a:lnTo>
                  <a:lnTo>
                    <a:pt x="248" y="115"/>
                  </a:lnTo>
                  <a:lnTo>
                    <a:pt x="248" y="119"/>
                  </a:lnTo>
                  <a:lnTo>
                    <a:pt x="248" y="131"/>
                  </a:lnTo>
                  <a:lnTo>
                    <a:pt x="248" y="139"/>
                  </a:lnTo>
                  <a:lnTo>
                    <a:pt x="248" y="143"/>
                  </a:lnTo>
                  <a:lnTo>
                    <a:pt x="248" y="147"/>
                  </a:lnTo>
                  <a:lnTo>
                    <a:pt x="248" y="151"/>
                  </a:lnTo>
                  <a:lnTo>
                    <a:pt x="248" y="155"/>
                  </a:lnTo>
                  <a:lnTo>
                    <a:pt x="248" y="163"/>
                  </a:lnTo>
                  <a:lnTo>
                    <a:pt x="244" y="163"/>
                  </a:lnTo>
                  <a:lnTo>
                    <a:pt x="244" y="167"/>
                  </a:lnTo>
                  <a:lnTo>
                    <a:pt x="244" y="171"/>
                  </a:lnTo>
                  <a:lnTo>
                    <a:pt x="244" y="175"/>
                  </a:lnTo>
                  <a:lnTo>
                    <a:pt x="240" y="175"/>
                  </a:lnTo>
                  <a:lnTo>
                    <a:pt x="240" y="179"/>
                  </a:lnTo>
                  <a:lnTo>
                    <a:pt x="236" y="179"/>
                  </a:lnTo>
                  <a:lnTo>
                    <a:pt x="236" y="183"/>
                  </a:lnTo>
                  <a:lnTo>
                    <a:pt x="232" y="179"/>
                  </a:lnTo>
                  <a:lnTo>
                    <a:pt x="228" y="179"/>
                  </a:lnTo>
                  <a:lnTo>
                    <a:pt x="228" y="183"/>
                  </a:lnTo>
                  <a:lnTo>
                    <a:pt x="224" y="183"/>
                  </a:lnTo>
                  <a:lnTo>
                    <a:pt x="212" y="183"/>
                  </a:lnTo>
                  <a:lnTo>
                    <a:pt x="204" y="183"/>
                  </a:lnTo>
                  <a:lnTo>
                    <a:pt x="200" y="187"/>
                  </a:lnTo>
                  <a:lnTo>
                    <a:pt x="196" y="191"/>
                  </a:lnTo>
                  <a:lnTo>
                    <a:pt x="192" y="191"/>
                  </a:lnTo>
                  <a:lnTo>
                    <a:pt x="192" y="187"/>
                  </a:lnTo>
                  <a:lnTo>
                    <a:pt x="192" y="191"/>
                  </a:lnTo>
                  <a:lnTo>
                    <a:pt x="188" y="191"/>
                  </a:lnTo>
                  <a:lnTo>
                    <a:pt x="188" y="187"/>
                  </a:lnTo>
                  <a:lnTo>
                    <a:pt x="188" y="191"/>
                  </a:lnTo>
                  <a:lnTo>
                    <a:pt x="184" y="187"/>
                  </a:lnTo>
                  <a:lnTo>
                    <a:pt x="180" y="187"/>
                  </a:lnTo>
                  <a:lnTo>
                    <a:pt x="176" y="187"/>
                  </a:lnTo>
                  <a:lnTo>
                    <a:pt x="172" y="187"/>
                  </a:lnTo>
                  <a:lnTo>
                    <a:pt x="168" y="191"/>
                  </a:lnTo>
                  <a:lnTo>
                    <a:pt x="164" y="195"/>
                  </a:lnTo>
                  <a:lnTo>
                    <a:pt x="160" y="199"/>
                  </a:lnTo>
                  <a:lnTo>
                    <a:pt x="156" y="199"/>
                  </a:lnTo>
                  <a:lnTo>
                    <a:pt x="152" y="199"/>
                  </a:lnTo>
                  <a:lnTo>
                    <a:pt x="152" y="203"/>
                  </a:lnTo>
                  <a:lnTo>
                    <a:pt x="148" y="203"/>
                  </a:lnTo>
                  <a:lnTo>
                    <a:pt x="144" y="203"/>
                  </a:lnTo>
                  <a:lnTo>
                    <a:pt x="140" y="207"/>
                  </a:lnTo>
                  <a:lnTo>
                    <a:pt x="140" y="211"/>
                  </a:lnTo>
                  <a:lnTo>
                    <a:pt x="140" y="215"/>
                  </a:lnTo>
                  <a:lnTo>
                    <a:pt x="136" y="215"/>
                  </a:lnTo>
                  <a:lnTo>
                    <a:pt x="136" y="211"/>
                  </a:lnTo>
                  <a:lnTo>
                    <a:pt x="136" y="215"/>
                  </a:lnTo>
                  <a:lnTo>
                    <a:pt x="136" y="219"/>
                  </a:lnTo>
                  <a:lnTo>
                    <a:pt x="132" y="219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8" y="219"/>
                  </a:lnTo>
                  <a:lnTo>
                    <a:pt x="124" y="219"/>
                  </a:lnTo>
                  <a:lnTo>
                    <a:pt x="124" y="215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20" y="227"/>
                  </a:lnTo>
                  <a:lnTo>
                    <a:pt x="120" y="231"/>
                  </a:lnTo>
                  <a:lnTo>
                    <a:pt x="116" y="231"/>
                  </a:lnTo>
                  <a:lnTo>
                    <a:pt x="116" y="235"/>
                  </a:lnTo>
                  <a:lnTo>
                    <a:pt x="116" y="239"/>
                  </a:lnTo>
                  <a:lnTo>
                    <a:pt x="112" y="243"/>
                  </a:lnTo>
                  <a:lnTo>
                    <a:pt x="108" y="243"/>
                  </a:lnTo>
                  <a:lnTo>
                    <a:pt x="104" y="247"/>
                  </a:lnTo>
                  <a:lnTo>
                    <a:pt x="104" y="251"/>
                  </a:lnTo>
                  <a:lnTo>
                    <a:pt x="104" y="255"/>
                  </a:lnTo>
                  <a:lnTo>
                    <a:pt x="104" y="259"/>
                  </a:lnTo>
                  <a:lnTo>
                    <a:pt x="104" y="263"/>
                  </a:lnTo>
                  <a:lnTo>
                    <a:pt x="100" y="263"/>
                  </a:lnTo>
                  <a:lnTo>
                    <a:pt x="100" y="267"/>
                  </a:lnTo>
                  <a:lnTo>
                    <a:pt x="100" y="271"/>
                  </a:lnTo>
                  <a:lnTo>
                    <a:pt x="100" y="275"/>
                  </a:lnTo>
                  <a:lnTo>
                    <a:pt x="100" y="271"/>
                  </a:lnTo>
                  <a:lnTo>
                    <a:pt x="96" y="275"/>
                  </a:lnTo>
                  <a:lnTo>
                    <a:pt x="92" y="275"/>
                  </a:lnTo>
                  <a:lnTo>
                    <a:pt x="92" y="279"/>
                  </a:lnTo>
                  <a:lnTo>
                    <a:pt x="88" y="275"/>
                  </a:lnTo>
                  <a:lnTo>
                    <a:pt x="92" y="275"/>
                  </a:lnTo>
                  <a:lnTo>
                    <a:pt x="92" y="271"/>
                  </a:lnTo>
                  <a:lnTo>
                    <a:pt x="88" y="271"/>
                  </a:lnTo>
                  <a:lnTo>
                    <a:pt x="92" y="271"/>
                  </a:lnTo>
                  <a:lnTo>
                    <a:pt x="88" y="267"/>
                  </a:lnTo>
                  <a:lnTo>
                    <a:pt x="88" y="271"/>
                  </a:lnTo>
                  <a:lnTo>
                    <a:pt x="84" y="271"/>
                  </a:lnTo>
                  <a:lnTo>
                    <a:pt x="84" y="275"/>
                  </a:lnTo>
                  <a:lnTo>
                    <a:pt x="80" y="275"/>
                  </a:lnTo>
                  <a:lnTo>
                    <a:pt x="80" y="279"/>
                  </a:lnTo>
                  <a:lnTo>
                    <a:pt x="76" y="279"/>
                  </a:lnTo>
                  <a:lnTo>
                    <a:pt x="76" y="275"/>
                  </a:lnTo>
                  <a:lnTo>
                    <a:pt x="72" y="275"/>
                  </a:lnTo>
                  <a:lnTo>
                    <a:pt x="68" y="275"/>
                  </a:lnTo>
                  <a:lnTo>
                    <a:pt x="64" y="275"/>
                  </a:lnTo>
                  <a:lnTo>
                    <a:pt x="64" y="279"/>
                  </a:lnTo>
                  <a:lnTo>
                    <a:pt x="64" y="275"/>
                  </a:lnTo>
                  <a:lnTo>
                    <a:pt x="60" y="275"/>
                  </a:lnTo>
                  <a:lnTo>
                    <a:pt x="60" y="271"/>
                  </a:lnTo>
                  <a:lnTo>
                    <a:pt x="56" y="267"/>
                  </a:lnTo>
                  <a:lnTo>
                    <a:pt x="60" y="267"/>
                  </a:lnTo>
                  <a:lnTo>
                    <a:pt x="60" y="263"/>
                  </a:lnTo>
                  <a:lnTo>
                    <a:pt x="56" y="263"/>
                  </a:lnTo>
                  <a:lnTo>
                    <a:pt x="52" y="263"/>
                  </a:lnTo>
                  <a:lnTo>
                    <a:pt x="52" y="259"/>
                  </a:lnTo>
                  <a:lnTo>
                    <a:pt x="56" y="259"/>
                  </a:lnTo>
                  <a:lnTo>
                    <a:pt x="56" y="255"/>
                  </a:lnTo>
                  <a:lnTo>
                    <a:pt x="52" y="255"/>
                  </a:lnTo>
                  <a:lnTo>
                    <a:pt x="52" y="251"/>
                  </a:lnTo>
                  <a:lnTo>
                    <a:pt x="48" y="251"/>
                  </a:lnTo>
                  <a:lnTo>
                    <a:pt x="52" y="247"/>
                  </a:lnTo>
                  <a:lnTo>
                    <a:pt x="52" y="243"/>
                  </a:lnTo>
                  <a:lnTo>
                    <a:pt x="48" y="239"/>
                  </a:lnTo>
                  <a:lnTo>
                    <a:pt x="48" y="235"/>
                  </a:lnTo>
                  <a:lnTo>
                    <a:pt x="44" y="235"/>
                  </a:lnTo>
                  <a:lnTo>
                    <a:pt x="40" y="235"/>
                  </a:lnTo>
                  <a:lnTo>
                    <a:pt x="44" y="235"/>
                  </a:lnTo>
                  <a:lnTo>
                    <a:pt x="44" y="239"/>
                  </a:lnTo>
                  <a:lnTo>
                    <a:pt x="40" y="239"/>
                  </a:lnTo>
                  <a:lnTo>
                    <a:pt x="36" y="243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7" name="Freeform 147">
              <a:extLst>
                <a:ext uri="{FF2B5EF4-FFF2-40B4-BE49-F238E27FC236}">
                  <a16:creationId xmlns:a16="http://schemas.microsoft.com/office/drawing/2014/main" id="{5282EED3-C7EC-314E-AC91-AA10823AADDF}"/>
                </a:ext>
              </a:extLst>
            </p:cNvPr>
            <p:cNvSpPr>
              <a:spLocks noEditPoints="1"/>
            </p:cNvSpPr>
            <p:nvPr>
              <p:custDataLst>
                <p:tags r:id="rId67"/>
              </p:custDataLst>
            </p:nvPr>
          </p:nvSpPr>
          <p:spPr bwMode="gray">
            <a:xfrm>
              <a:off x="3465266" y="5324014"/>
              <a:ext cx="236994" cy="301284"/>
            </a:xfrm>
            <a:custGeom>
              <a:avLst/>
              <a:gdLst/>
              <a:ahLst/>
              <a:cxnLst>
                <a:cxn ang="0">
                  <a:pos x="96" y="231"/>
                </a:cxn>
                <a:cxn ang="0">
                  <a:pos x="88" y="223"/>
                </a:cxn>
                <a:cxn ang="0">
                  <a:pos x="84" y="219"/>
                </a:cxn>
                <a:cxn ang="0">
                  <a:pos x="80" y="223"/>
                </a:cxn>
                <a:cxn ang="0">
                  <a:pos x="80" y="231"/>
                </a:cxn>
                <a:cxn ang="0">
                  <a:pos x="76" y="235"/>
                </a:cxn>
                <a:cxn ang="0">
                  <a:pos x="68" y="231"/>
                </a:cxn>
                <a:cxn ang="0">
                  <a:pos x="64" y="227"/>
                </a:cxn>
                <a:cxn ang="0">
                  <a:pos x="64" y="223"/>
                </a:cxn>
                <a:cxn ang="0">
                  <a:pos x="56" y="211"/>
                </a:cxn>
                <a:cxn ang="0">
                  <a:pos x="52" y="211"/>
                </a:cxn>
                <a:cxn ang="0">
                  <a:pos x="40" y="203"/>
                </a:cxn>
                <a:cxn ang="0">
                  <a:pos x="32" y="203"/>
                </a:cxn>
                <a:cxn ang="0">
                  <a:pos x="28" y="203"/>
                </a:cxn>
                <a:cxn ang="0">
                  <a:pos x="20" y="203"/>
                </a:cxn>
                <a:cxn ang="0">
                  <a:pos x="16" y="203"/>
                </a:cxn>
                <a:cxn ang="0">
                  <a:pos x="12" y="207"/>
                </a:cxn>
                <a:cxn ang="0">
                  <a:pos x="8" y="207"/>
                </a:cxn>
                <a:cxn ang="0">
                  <a:pos x="12" y="203"/>
                </a:cxn>
                <a:cxn ang="0">
                  <a:pos x="16" y="191"/>
                </a:cxn>
                <a:cxn ang="0">
                  <a:pos x="16" y="183"/>
                </a:cxn>
                <a:cxn ang="0">
                  <a:pos x="16" y="167"/>
                </a:cxn>
                <a:cxn ang="0">
                  <a:pos x="16" y="163"/>
                </a:cxn>
                <a:cxn ang="0">
                  <a:pos x="12" y="155"/>
                </a:cxn>
                <a:cxn ang="0">
                  <a:pos x="12" y="151"/>
                </a:cxn>
                <a:cxn ang="0">
                  <a:pos x="12" y="147"/>
                </a:cxn>
                <a:cxn ang="0">
                  <a:pos x="12" y="147"/>
                </a:cxn>
                <a:cxn ang="0">
                  <a:pos x="12" y="131"/>
                </a:cxn>
                <a:cxn ang="0">
                  <a:pos x="8" y="128"/>
                </a:cxn>
                <a:cxn ang="0">
                  <a:pos x="4" y="120"/>
                </a:cxn>
                <a:cxn ang="0">
                  <a:pos x="0" y="124"/>
                </a:cxn>
                <a:cxn ang="0">
                  <a:pos x="4" y="116"/>
                </a:cxn>
                <a:cxn ang="0">
                  <a:pos x="32" y="116"/>
                </a:cxn>
                <a:cxn ang="0">
                  <a:pos x="64" y="116"/>
                </a:cxn>
                <a:cxn ang="0">
                  <a:pos x="60" y="92"/>
                </a:cxn>
                <a:cxn ang="0">
                  <a:pos x="64" y="84"/>
                </a:cxn>
                <a:cxn ang="0">
                  <a:pos x="76" y="76"/>
                </a:cxn>
                <a:cxn ang="0">
                  <a:pos x="76" y="48"/>
                </a:cxn>
                <a:cxn ang="0">
                  <a:pos x="76" y="32"/>
                </a:cxn>
                <a:cxn ang="0">
                  <a:pos x="108" y="24"/>
                </a:cxn>
                <a:cxn ang="0">
                  <a:pos x="128" y="24"/>
                </a:cxn>
                <a:cxn ang="0">
                  <a:pos x="128" y="0"/>
                </a:cxn>
                <a:cxn ang="0">
                  <a:pos x="152" y="20"/>
                </a:cxn>
                <a:cxn ang="0">
                  <a:pos x="176" y="36"/>
                </a:cxn>
                <a:cxn ang="0">
                  <a:pos x="184" y="44"/>
                </a:cxn>
                <a:cxn ang="0">
                  <a:pos x="160" y="52"/>
                </a:cxn>
                <a:cxn ang="0">
                  <a:pos x="164" y="84"/>
                </a:cxn>
                <a:cxn ang="0">
                  <a:pos x="168" y="116"/>
                </a:cxn>
                <a:cxn ang="0">
                  <a:pos x="172" y="151"/>
                </a:cxn>
                <a:cxn ang="0">
                  <a:pos x="172" y="179"/>
                </a:cxn>
                <a:cxn ang="0">
                  <a:pos x="176" y="215"/>
                </a:cxn>
                <a:cxn ang="0">
                  <a:pos x="164" y="223"/>
                </a:cxn>
                <a:cxn ang="0">
                  <a:pos x="140" y="223"/>
                </a:cxn>
                <a:cxn ang="0">
                  <a:pos x="124" y="223"/>
                </a:cxn>
                <a:cxn ang="0">
                  <a:pos x="116" y="223"/>
                </a:cxn>
                <a:cxn ang="0">
                  <a:pos x="112" y="227"/>
                </a:cxn>
                <a:cxn ang="0">
                  <a:pos x="104" y="223"/>
                </a:cxn>
                <a:cxn ang="0">
                  <a:pos x="12" y="147"/>
                </a:cxn>
                <a:cxn ang="0">
                  <a:pos x="12" y="143"/>
                </a:cxn>
                <a:cxn ang="0">
                  <a:pos x="12" y="147"/>
                </a:cxn>
              </a:cxnLst>
              <a:rect l="0" t="0" r="r" b="b"/>
              <a:pathLst>
                <a:path w="188" h="239">
                  <a:moveTo>
                    <a:pt x="96" y="223"/>
                  </a:move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27"/>
                  </a:lnTo>
                  <a:lnTo>
                    <a:pt x="96" y="231"/>
                  </a:lnTo>
                  <a:lnTo>
                    <a:pt x="96" y="231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92" y="227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9"/>
                  </a:lnTo>
                  <a:lnTo>
                    <a:pt x="84" y="219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4" y="223"/>
                  </a:lnTo>
                  <a:lnTo>
                    <a:pt x="80" y="223"/>
                  </a:lnTo>
                  <a:lnTo>
                    <a:pt x="80" y="223"/>
                  </a:lnTo>
                  <a:lnTo>
                    <a:pt x="80" y="227"/>
                  </a:lnTo>
                  <a:lnTo>
                    <a:pt x="80" y="227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1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80" y="235"/>
                  </a:lnTo>
                  <a:lnTo>
                    <a:pt x="76" y="239"/>
                  </a:lnTo>
                  <a:lnTo>
                    <a:pt x="76" y="239"/>
                  </a:lnTo>
                  <a:lnTo>
                    <a:pt x="76" y="235"/>
                  </a:lnTo>
                  <a:lnTo>
                    <a:pt x="76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5"/>
                  </a:lnTo>
                  <a:lnTo>
                    <a:pt x="72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8" y="231"/>
                  </a:lnTo>
                  <a:lnTo>
                    <a:pt x="64" y="231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7"/>
                  </a:lnTo>
                  <a:lnTo>
                    <a:pt x="64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23"/>
                  </a:lnTo>
                  <a:lnTo>
                    <a:pt x="60" y="219"/>
                  </a:lnTo>
                  <a:lnTo>
                    <a:pt x="60" y="219"/>
                  </a:lnTo>
                  <a:lnTo>
                    <a:pt x="56" y="215"/>
                  </a:lnTo>
                  <a:lnTo>
                    <a:pt x="56" y="211"/>
                  </a:lnTo>
                  <a:lnTo>
                    <a:pt x="56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48" y="211"/>
                  </a:lnTo>
                  <a:lnTo>
                    <a:pt x="48" y="207"/>
                  </a:lnTo>
                  <a:lnTo>
                    <a:pt x="48" y="207"/>
                  </a:lnTo>
                  <a:lnTo>
                    <a:pt x="44" y="203"/>
                  </a:lnTo>
                  <a:lnTo>
                    <a:pt x="44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40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6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199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32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4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20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6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07"/>
                  </a:lnTo>
                  <a:lnTo>
                    <a:pt x="12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11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8" y="207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203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7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83"/>
                  </a:lnTo>
                  <a:lnTo>
                    <a:pt x="16" y="179"/>
                  </a:lnTo>
                  <a:lnTo>
                    <a:pt x="16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71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7"/>
                  </a:lnTo>
                  <a:lnTo>
                    <a:pt x="16" y="163"/>
                  </a:lnTo>
                  <a:lnTo>
                    <a:pt x="16" y="163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6" y="159"/>
                  </a:lnTo>
                  <a:lnTo>
                    <a:pt x="12" y="159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5"/>
                  </a:lnTo>
                  <a:lnTo>
                    <a:pt x="12" y="151"/>
                  </a:lnTo>
                  <a:lnTo>
                    <a:pt x="8" y="151"/>
                  </a:lnTo>
                  <a:lnTo>
                    <a:pt x="8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51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39"/>
                  </a:lnTo>
                  <a:lnTo>
                    <a:pt x="12" y="139"/>
                  </a:lnTo>
                  <a:lnTo>
                    <a:pt x="16" y="135"/>
                  </a:lnTo>
                  <a:lnTo>
                    <a:pt x="12" y="135"/>
                  </a:lnTo>
                  <a:lnTo>
                    <a:pt x="12" y="131"/>
                  </a:lnTo>
                  <a:lnTo>
                    <a:pt x="12" y="131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12" y="128"/>
                  </a:lnTo>
                  <a:lnTo>
                    <a:pt x="8" y="128"/>
                  </a:lnTo>
                  <a:lnTo>
                    <a:pt x="8" y="124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8" y="128"/>
                  </a:lnTo>
                  <a:lnTo>
                    <a:pt x="4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16" y="116"/>
                  </a:lnTo>
                  <a:lnTo>
                    <a:pt x="20" y="116"/>
                  </a:lnTo>
                  <a:lnTo>
                    <a:pt x="20" y="116"/>
                  </a:lnTo>
                  <a:lnTo>
                    <a:pt x="28" y="116"/>
                  </a:lnTo>
                  <a:lnTo>
                    <a:pt x="32" y="116"/>
                  </a:lnTo>
                  <a:lnTo>
                    <a:pt x="36" y="116"/>
                  </a:lnTo>
                  <a:lnTo>
                    <a:pt x="40" y="116"/>
                  </a:lnTo>
                  <a:lnTo>
                    <a:pt x="44" y="116"/>
                  </a:lnTo>
                  <a:lnTo>
                    <a:pt x="44" y="116"/>
                  </a:lnTo>
                  <a:lnTo>
                    <a:pt x="48" y="116"/>
                  </a:lnTo>
                  <a:lnTo>
                    <a:pt x="56" y="116"/>
                  </a:lnTo>
                  <a:lnTo>
                    <a:pt x="64" y="116"/>
                  </a:lnTo>
                  <a:lnTo>
                    <a:pt x="64" y="112"/>
                  </a:lnTo>
                  <a:lnTo>
                    <a:pt x="64" y="104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88"/>
                  </a:lnTo>
                  <a:lnTo>
                    <a:pt x="60" y="88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72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76"/>
                  </a:lnTo>
                  <a:lnTo>
                    <a:pt x="76" y="68"/>
                  </a:lnTo>
                  <a:lnTo>
                    <a:pt x="76" y="64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24"/>
                  </a:lnTo>
                  <a:lnTo>
                    <a:pt x="84" y="24"/>
                  </a:lnTo>
                  <a:lnTo>
                    <a:pt x="88" y="24"/>
                  </a:lnTo>
                  <a:lnTo>
                    <a:pt x="96" y="24"/>
                  </a:lnTo>
                  <a:lnTo>
                    <a:pt x="100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08" y="24"/>
                  </a:lnTo>
                  <a:lnTo>
                    <a:pt x="112" y="24"/>
                  </a:lnTo>
                  <a:lnTo>
                    <a:pt x="112" y="24"/>
                  </a:lnTo>
                  <a:lnTo>
                    <a:pt x="116" y="24"/>
                  </a:lnTo>
                  <a:lnTo>
                    <a:pt x="116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24"/>
                  </a:lnTo>
                  <a:lnTo>
                    <a:pt x="128" y="16"/>
                  </a:lnTo>
                  <a:lnTo>
                    <a:pt x="128" y="8"/>
                  </a:lnTo>
                  <a:lnTo>
                    <a:pt x="128" y="8"/>
                  </a:lnTo>
                  <a:lnTo>
                    <a:pt x="128" y="0"/>
                  </a:lnTo>
                  <a:lnTo>
                    <a:pt x="128" y="0"/>
                  </a:lnTo>
                  <a:lnTo>
                    <a:pt x="136" y="4"/>
                  </a:lnTo>
                  <a:lnTo>
                    <a:pt x="136" y="8"/>
                  </a:lnTo>
                  <a:lnTo>
                    <a:pt x="144" y="12"/>
                  </a:lnTo>
                  <a:lnTo>
                    <a:pt x="144" y="12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6" y="20"/>
                  </a:lnTo>
                  <a:lnTo>
                    <a:pt x="160" y="24"/>
                  </a:lnTo>
                  <a:lnTo>
                    <a:pt x="164" y="28"/>
                  </a:lnTo>
                  <a:lnTo>
                    <a:pt x="164" y="28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6" y="36"/>
                  </a:lnTo>
                  <a:lnTo>
                    <a:pt x="180" y="40"/>
                  </a:lnTo>
                  <a:lnTo>
                    <a:pt x="184" y="44"/>
                  </a:lnTo>
                  <a:lnTo>
                    <a:pt x="184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8" y="44"/>
                  </a:lnTo>
                  <a:lnTo>
                    <a:pt x="184" y="44"/>
                  </a:lnTo>
                  <a:lnTo>
                    <a:pt x="172" y="44"/>
                  </a:lnTo>
                  <a:lnTo>
                    <a:pt x="168" y="44"/>
                  </a:lnTo>
                  <a:lnTo>
                    <a:pt x="164" y="44"/>
                  </a:lnTo>
                  <a:lnTo>
                    <a:pt x="164" y="44"/>
                  </a:lnTo>
                  <a:lnTo>
                    <a:pt x="160" y="44"/>
                  </a:lnTo>
                  <a:lnTo>
                    <a:pt x="160" y="44"/>
                  </a:lnTo>
                  <a:lnTo>
                    <a:pt x="160" y="52"/>
                  </a:lnTo>
                  <a:lnTo>
                    <a:pt x="160" y="52"/>
                  </a:lnTo>
                  <a:lnTo>
                    <a:pt x="160" y="56"/>
                  </a:lnTo>
                  <a:lnTo>
                    <a:pt x="160" y="60"/>
                  </a:lnTo>
                  <a:lnTo>
                    <a:pt x="164" y="68"/>
                  </a:lnTo>
                  <a:lnTo>
                    <a:pt x="164" y="76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4"/>
                  </a:lnTo>
                  <a:lnTo>
                    <a:pt x="164" y="88"/>
                  </a:lnTo>
                  <a:lnTo>
                    <a:pt x="164" y="100"/>
                  </a:lnTo>
                  <a:lnTo>
                    <a:pt x="164" y="104"/>
                  </a:lnTo>
                  <a:lnTo>
                    <a:pt x="168" y="108"/>
                  </a:lnTo>
                  <a:lnTo>
                    <a:pt x="168" y="112"/>
                  </a:lnTo>
                  <a:lnTo>
                    <a:pt x="168" y="116"/>
                  </a:lnTo>
                  <a:lnTo>
                    <a:pt x="168" y="120"/>
                  </a:lnTo>
                  <a:lnTo>
                    <a:pt x="168" y="124"/>
                  </a:lnTo>
                  <a:lnTo>
                    <a:pt x="168" y="128"/>
                  </a:lnTo>
                  <a:lnTo>
                    <a:pt x="168" y="135"/>
                  </a:lnTo>
                  <a:lnTo>
                    <a:pt x="168" y="143"/>
                  </a:lnTo>
                  <a:lnTo>
                    <a:pt x="168" y="143"/>
                  </a:lnTo>
                  <a:lnTo>
                    <a:pt x="172" y="151"/>
                  </a:lnTo>
                  <a:lnTo>
                    <a:pt x="172" y="155"/>
                  </a:lnTo>
                  <a:lnTo>
                    <a:pt x="172" y="155"/>
                  </a:lnTo>
                  <a:lnTo>
                    <a:pt x="172" y="163"/>
                  </a:lnTo>
                  <a:lnTo>
                    <a:pt x="172" y="163"/>
                  </a:lnTo>
                  <a:lnTo>
                    <a:pt x="172" y="171"/>
                  </a:lnTo>
                  <a:lnTo>
                    <a:pt x="172" y="175"/>
                  </a:lnTo>
                  <a:lnTo>
                    <a:pt x="172" y="179"/>
                  </a:lnTo>
                  <a:lnTo>
                    <a:pt x="172" y="187"/>
                  </a:lnTo>
                  <a:lnTo>
                    <a:pt x="176" y="199"/>
                  </a:lnTo>
                  <a:lnTo>
                    <a:pt x="176" y="203"/>
                  </a:lnTo>
                  <a:lnTo>
                    <a:pt x="180" y="207"/>
                  </a:lnTo>
                  <a:lnTo>
                    <a:pt x="180" y="211"/>
                  </a:lnTo>
                  <a:lnTo>
                    <a:pt x="180" y="211"/>
                  </a:lnTo>
                  <a:lnTo>
                    <a:pt x="176" y="215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76" y="223"/>
                  </a:lnTo>
                  <a:lnTo>
                    <a:pt x="168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4" y="223"/>
                  </a:lnTo>
                  <a:lnTo>
                    <a:pt x="160" y="223"/>
                  </a:lnTo>
                  <a:lnTo>
                    <a:pt x="152" y="223"/>
                  </a:lnTo>
                  <a:lnTo>
                    <a:pt x="148" y="223"/>
                  </a:lnTo>
                  <a:lnTo>
                    <a:pt x="148" y="223"/>
                  </a:lnTo>
                  <a:lnTo>
                    <a:pt x="144" y="223"/>
                  </a:lnTo>
                  <a:lnTo>
                    <a:pt x="140" y="223"/>
                  </a:lnTo>
                  <a:lnTo>
                    <a:pt x="136" y="223"/>
                  </a:lnTo>
                  <a:lnTo>
                    <a:pt x="132" y="223"/>
                  </a:lnTo>
                  <a:lnTo>
                    <a:pt x="132" y="223"/>
                  </a:lnTo>
                  <a:lnTo>
                    <a:pt x="128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4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23"/>
                  </a:lnTo>
                  <a:lnTo>
                    <a:pt x="120" y="219"/>
                  </a:lnTo>
                  <a:lnTo>
                    <a:pt x="120" y="219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6" y="223"/>
                  </a:lnTo>
                  <a:lnTo>
                    <a:pt x="112" y="223"/>
                  </a:lnTo>
                  <a:lnTo>
                    <a:pt x="112" y="223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12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8" y="227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4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100" y="223"/>
                  </a:lnTo>
                  <a:lnTo>
                    <a:pt x="96" y="223"/>
                  </a:lnTo>
                  <a:lnTo>
                    <a:pt x="96" y="223"/>
                  </a:lnTo>
                  <a:close/>
                  <a:moveTo>
                    <a:pt x="12" y="147"/>
                  </a:moveTo>
                  <a:lnTo>
                    <a:pt x="12" y="147"/>
                  </a:lnTo>
                  <a:lnTo>
                    <a:pt x="12" y="147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3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lnTo>
                    <a:pt x="12" y="14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8" name="Freeform 148">
              <a:extLst>
                <a:ext uri="{FF2B5EF4-FFF2-40B4-BE49-F238E27FC236}">
                  <a16:creationId xmlns:a16="http://schemas.microsoft.com/office/drawing/2014/main" id="{A85F23BE-525B-424C-8A45-22F783A071B6}"/>
                </a:ext>
              </a:extLst>
            </p:cNvPr>
            <p:cNvSpPr>
              <a:spLocks/>
            </p:cNvSpPr>
            <p:nvPr>
              <p:custDataLst>
                <p:tags r:id="rId68"/>
              </p:custDataLst>
            </p:nvPr>
          </p:nvSpPr>
          <p:spPr bwMode="gray">
            <a:xfrm>
              <a:off x="3540902" y="5107190"/>
              <a:ext cx="231951" cy="206739"/>
            </a:xfrm>
            <a:custGeom>
              <a:avLst/>
              <a:gdLst/>
              <a:ahLst/>
              <a:cxnLst>
                <a:cxn ang="0">
                  <a:pos x="136" y="16"/>
                </a:cxn>
                <a:cxn ang="0">
                  <a:pos x="144" y="16"/>
                </a:cxn>
                <a:cxn ang="0">
                  <a:pos x="152" y="16"/>
                </a:cxn>
                <a:cxn ang="0">
                  <a:pos x="156" y="16"/>
                </a:cxn>
                <a:cxn ang="0">
                  <a:pos x="156" y="16"/>
                </a:cxn>
                <a:cxn ang="0">
                  <a:pos x="160" y="16"/>
                </a:cxn>
                <a:cxn ang="0">
                  <a:pos x="168" y="20"/>
                </a:cxn>
                <a:cxn ang="0">
                  <a:pos x="172" y="28"/>
                </a:cxn>
                <a:cxn ang="0">
                  <a:pos x="176" y="40"/>
                </a:cxn>
                <a:cxn ang="0">
                  <a:pos x="176" y="48"/>
                </a:cxn>
                <a:cxn ang="0">
                  <a:pos x="176" y="60"/>
                </a:cxn>
                <a:cxn ang="0">
                  <a:pos x="184" y="68"/>
                </a:cxn>
                <a:cxn ang="0">
                  <a:pos x="180" y="76"/>
                </a:cxn>
                <a:cxn ang="0">
                  <a:pos x="180" y="80"/>
                </a:cxn>
                <a:cxn ang="0">
                  <a:pos x="172" y="76"/>
                </a:cxn>
                <a:cxn ang="0">
                  <a:pos x="164" y="76"/>
                </a:cxn>
                <a:cxn ang="0">
                  <a:pos x="156" y="80"/>
                </a:cxn>
                <a:cxn ang="0">
                  <a:pos x="152" y="84"/>
                </a:cxn>
                <a:cxn ang="0">
                  <a:pos x="144" y="84"/>
                </a:cxn>
                <a:cxn ang="0">
                  <a:pos x="140" y="92"/>
                </a:cxn>
                <a:cxn ang="0">
                  <a:pos x="144" y="100"/>
                </a:cxn>
                <a:cxn ang="0">
                  <a:pos x="140" y="100"/>
                </a:cxn>
                <a:cxn ang="0">
                  <a:pos x="136" y="104"/>
                </a:cxn>
                <a:cxn ang="0">
                  <a:pos x="128" y="108"/>
                </a:cxn>
                <a:cxn ang="0">
                  <a:pos x="124" y="116"/>
                </a:cxn>
                <a:cxn ang="0">
                  <a:pos x="120" y="120"/>
                </a:cxn>
                <a:cxn ang="0">
                  <a:pos x="108" y="124"/>
                </a:cxn>
                <a:cxn ang="0">
                  <a:pos x="104" y="124"/>
                </a:cxn>
                <a:cxn ang="0">
                  <a:pos x="100" y="128"/>
                </a:cxn>
                <a:cxn ang="0">
                  <a:pos x="92" y="128"/>
                </a:cxn>
                <a:cxn ang="0">
                  <a:pos x="84" y="132"/>
                </a:cxn>
                <a:cxn ang="0">
                  <a:pos x="80" y="132"/>
                </a:cxn>
                <a:cxn ang="0">
                  <a:pos x="72" y="140"/>
                </a:cxn>
                <a:cxn ang="0">
                  <a:pos x="68" y="164"/>
                </a:cxn>
                <a:cxn ang="0">
                  <a:pos x="48" y="164"/>
                </a:cxn>
                <a:cxn ang="0">
                  <a:pos x="0" y="164"/>
                </a:cxn>
                <a:cxn ang="0">
                  <a:pos x="4" y="160"/>
                </a:cxn>
                <a:cxn ang="0">
                  <a:pos x="20" y="156"/>
                </a:cxn>
                <a:cxn ang="0">
                  <a:pos x="32" y="144"/>
                </a:cxn>
                <a:cxn ang="0">
                  <a:pos x="40" y="140"/>
                </a:cxn>
                <a:cxn ang="0">
                  <a:pos x="44" y="132"/>
                </a:cxn>
                <a:cxn ang="0">
                  <a:pos x="52" y="124"/>
                </a:cxn>
                <a:cxn ang="0">
                  <a:pos x="56" y="112"/>
                </a:cxn>
                <a:cxn ang="0">
                  <a:pos x="52" y="104"/>
                </a:cxn>
                <a:cxn ang="0">
                  <a:pos x="52" y="92"/>
                </a:cxn>
                <a:cxn ang="0">
                  <a:pos x="52" y="84"/>
                </a:cxn>
                <a:cxn ang="0">
                  <a:pos x="60" y="68"/>
                </a:cxn>
                <a:cxn ang="0">
                  <a:pos x="64" y="64"/>
                </a:cxn>
                <a:cxn ang="0">
                  <a:pos x="72" y="56"/>
                </a:cxn>
                <a:cxn ang="0">
                  <a:pos x="76" y="52"/>
                </a:cxn>
                <a:cxn ang="0">
                  <a:pos x="88" y="44"/>
                </a:cxn>
                <a:cxn ang="0">
                  <a:pos x="96" y="40"/>
                </a:cxn>
                <a:cxn ang="0">
                  <a:pos x="104" y="24"/>
                </a:cxn>
                <a:cxn ang="0">
                  <a:pos x="108" y="12"/>
                </a:cxn>
                <a:cxn ang="0">
                  <a:pos x="116" y="4"/>
                </a:cxn>
                <a:cxn ang="0">
                  <a:pos x="120" y="4"/>
                </a:cxn>
                <a:cxn ang="0">
                  <a:pos x="120" y="8"/>
                </a:cxn>
              </a:cxnLst>
              <a:rect l="0" t="0" r="r" b="b"/>
              <a:pathLst>
                <a:path w="184" h="164">
                  <a:moveTo>
                    <a:pt x="132" y="16"/>
                  </a:moveTo>
                  <a:lnTo>
                    <a:pt x="132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36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0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48" y="16"/>
                  </a:lnTo>
                  <a:lnTo>
                    <a:pt x="152" y="16"/>
                  </a:lnTo>
                  <a:lnTo>
                    <a:pt x="152" y="16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2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56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16"/>
                  </a:lnTo>
                  <a:lnTo>
                    <a:pt x="160" y="20"/>
                  </a:lnTo>
                  <a:lnTo>
                    <a:pt x="160" y="20"/>
                  </a:lnTo>
                  <a:lnTo>
                    <a:pt x="164" y="16"/>
                  </a:lnTo>
                  <a:lnTo>
                    <a:pt x="164" y="16"/>
                  </a:lnTo>
                  <a:lnTo>
                    <a:pt x="164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68" y="20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4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28"/>
                  </a:lnTo>
                  <a:lnTo>
                    <a:pt x="172" y="32"/>
                  </a:lnTo>
                  <a:lnTo>
                    <a:pt x="176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2"/>
                  </a:lnTo>
                  <a:lnTo>
                    <a:pt x="172" y="36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0"/>
                  </a:lnTo>
                  <a:lnTo>
                    <a:pt x="176" y="44"/>
                  </a:lnTo>
                  <a:lnTo>
                    <a:pt x="172" y="44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48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2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56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76" y="60"/>
                  </a:lnTo>
                  <a:lnTo>
                    <a:pt x="180" y="64"/>
                  </a:lnTo>
                  <a:lnTo>
                    <a:pt x="180" y="68"/>
                  </a:lnTo>
                  <a:lnTo>
                    <a:pt x="184" y="68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4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2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0" y="76"/>
                  </a:lnTo>
                  <a:lnTo>
                    <a:pt x="184" y="76"/>
                  </a:lnTo>
                  <a:lnTo>
                    <a:pt x="184" y="76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80"/>
                  </a:lnTo>
                  <a:lnTo>
                    <a:pt x="180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6" y="76"/>
                  </a:lnTo>
                  <a:lnTo>
                    <a:pt x="172" y="76"/>
                  </a:lnTo>
                  <a:lnTo>
                    <a:pt x="172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8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64" y="76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0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6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52" y="84"/>
                  </a:lnTo>
                  <a:lnTo>
                    <a:pt x="148" y="84"/>
                  </a:lnTo>
                  <a:lnTo>
                    <a:pt x="148" y="84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8" y="88"/>
                  </a:lnTo>
                  <a:lnTo>
                    <a:pt x="144" y="88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4" y="84"/>
                  </a:lnTo>
                  <a:lnTo>
                    <a:pt x="140" y="88"/>
                  </a:lnTo>
                  <a:lnTo>
                    <a:pt x="140" y="88"/>
                  </a:lnTo>
                  <a:lnTo>
                    <a:pt x="140" y="92"/>
                  </a:lnTo>
                  <a:lnTo>
                    <a:pt x="140" y="92"/>
                  </a:lnTo>
                  <a:lnTo>
                    <a:pt x="144" y="92"/>
                  </a:lnTo>
                  <a:lnTo>
                    <a:pt x="140" y="96"/>
                  </a:lnTo>
                  <a:lnTo>
                    <a:pt x="140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96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4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40" y="100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6" y="104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32" y="108"/>
                  </a:lnTo>
                  <a:lnTo>
                    <a:pt x="128" y="108"/>
                  </a:lnTo>
                  <a:lnTo>
                    <a:pt x="124" y="108"/>
                  </a:lnTo>
                  <a:lnTo>
                    <a:pt x="124" y="108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2"/>
                  </a:lnTo>
                  <a:lnTo>
                    <a:pt x="124" y="116"/>
                  </a:lnTo>
                  <a:lnTo>
                    <a:pt x="124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16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20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6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0"/>
                  </a:lnTo>
                  <a:lnTo>
                    <a:pt x="112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8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4" y="124"/>
                  </a:lnTo>
                  <a:lnTo>
                    <a:pt x="100" y="124"/>
                  </a:lnTo>
                  <a:lnTo>
                    <a:pt x="100" y="124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100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6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92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28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8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4" y="132"/>
                  </a:lnTo>
                  <a:lnTo>
                    <a:pt x="80" y="132"/>
                  </a:lnTo>
                  <a:lnTo>
                    <a:pt x="80" y="136"/>
                  </a:lnTo>
                  <a:lnTo>
                    <a:pt x="76" y="136"/>
                  </a:lnTo>
                  <a:lnTo>
                    <a:pt x="76" y="140"/>
                  </a:lnTo>
                  <a:lnTo>
                    <a:pt x="76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0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72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44"/>
                  </a:lnTo>
                  <a:lnTo>
                    <a:pt x="68" y="160"/>
                  </a:lnTo>
                  <a:lnTo>
                    <a:pt x="68" y="164"/>
                  </a:lnTo>
                  <a:lnTo>
                    <a:pt x="60" y="164"/>
                  </a:lnTo>
                  <a:lnTo>
                    <a:pt x="60" y="164"/>
                  </a:lnTo>
                  <a:lnTo>
                    <a:pt x="52" y="164"/>
                  </a:lnTo>
                  <a:lnTo>
                    <a:pt x="52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8" y="164"/>
                  </a:lnTo>
                  <a:lnTo>
                    <a:pt x="44" y="164"/>
                  </a:lnTo>
                  <a:lnTo>
                    <a:pt x="4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0" y="164"/>
                  </a:lnTo>
                  <a:lnTo>
                    <a:pt x="4" y="164"/>
                  </a:lnTo>
                  <a:lnTo>
                    <a:pt x="4" y="164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4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8" y="160"/>
                  </a:lnTo>
                  <a:lnTo>
                    <a:pt x="12" y="156"/>
                  </a:lnTo>
                  <a:lnTo>
                    <a:pt x="16" y="156"/>
                  </a:lnTo>
                  <a:lnTo>
                    <a:pt x="20" y="156"/>
                  </a:lnTo>
                  <a:lnTo>
                    <a:pt x="20" y="156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4" y="152"/>
                  </a:lnTo>
                  <a:lnTo>
                    <a:pt x="28" y="152"/>
                  </a:lnTo>
                  <a:lnTo>
                    <a:pt x="28" y="148"/>
                  </a:lnTo>
                  <a:lnTo>
                    <a:pt x="28" y="148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6" y="144"/>
                  </a:lnTo>
                  <a:lnTo>
                    <a:pt x="36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6"/>
                  </a:lnTo>
                  <a:lnTo>
                    <a:pt x="44" y="136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48" y="128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4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20"/>
                  </a:lnTo>
                  <a:lnTo>
                    <a:pt x="52" y="116"/>
                  </a:lnTo>
                  <a:lnTo>
                    <a:pt x="52" y="116"/>
                  </a:lnTo>
                  <a:lnTo>
                    <a:pt x="56" y="112"/>
                  </a:lnTo>
                  <a:lnTo>
                    <a:pt x="56" y="112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4"/>
                  </a:lnTo>
                  <a:lnTo>
                    <a:pt x="52" y="100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6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92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8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2" y="84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60" y="72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0" y="68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4"/>
                  </a:lnTo>
                  <a:lnTo>
                    <a:pt x="64" y="60"/>
                  </a:lnTo>
                  <a:lnTo>
                    <a:pt x="68" y="60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68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6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2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76" y="52"/>
                  </a:lnTo>
                  <a:lnTo>
                    <a:pt x="80" y="52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2" y="44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96" y="40"/>
                  </a:lnTo>
                  <a:lnTo>
                    <a:pt x="100" y="36"/>
                  </a:lnTo>
                  <a:lnTo>
                    <a:pt x="100" y="36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32"/>
                  </a:lnTo>
                  <a:lnTo>
                    <a:pt x="100" y="28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4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4" y="20"/>
                  </a:lnTo>
                  <a:lnTo>
                    <a:pt x="108" y="16"/>
                  </a:lnTo>
                  <a:lnTo>
                    <a:pt x="108" y="12"/>
                  </a:lnTo>
                  <a:lnTo>
                    <a:pt x="108" y="12"/>
                  </a:lnTo>
                  <a:lnTo>
                    <a:pt x="108" y="8"/>
                  </a:lnTo>
                  <a:lnTo>
                    <a:pt x="108" y="8"/>
                  </a:lnTo>
                  <a:lnTo>
                    <a:pt x="108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2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4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16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4"/>
                  </a:lnTo>
                  <a:lnTo>
                    <a:pt x="120" y="8"/>
                  </a:lnTo>
                  <a:lnTo>
                    <a:pt x="120" y="8"/>
                  </a:lnTo>
                  <a:lnTo>
                    <a:pt x="124" y="12"/>
                  </a:lnTo>
                  <a:lnTo>
                    <a:pt x="124" y="12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2" y="1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79" name="Freeform 149">
              <a:extLst>
                <a:ext uri="{FF2B5EF4-FFF2-40B4-BE49-F238E27FC236}">
                  <a16:creationId xmlns:a16="http://schemas.microsoft.com/office/drawing/2014/main" id="{F4650F1E-9FFB-214E-A166-183A572EC075}"/>
                </a:ext>
              </a:extLst>
            </p:cNvPr>
            <p:cNvSpPr>
              <a:spLocks noEditPoints="1"/>
            </p:cNvSpPr>
            <p:nvPr>
              <p:custDataLst>
                <p:tags r:id="rId69"/>
              </p:custDataLst>
            </p:nvPr>
          </p:nvSpPr>
          <p:spPr bwMode="gray">
            <a:xfrm>
              <a:off x="4370380" y="6208958"/>
              <a:ext cx="201697" cy="387005"/>
            </a:xfrm>
            <a:custGeom>
              <a:avLst/>
              <a:gdLst/>
              <a:ahLst/>
              <a:cxnLst>
                <a:cxn ang="0">
                  <a:pos x="24" y="292"/>
                </a:cxn>
                <a:cxn ang="0">
                  <a:pos x="24" y="272"/>
                </a:cxn>
                <a:cxn ang="0">
                  <a:pos x="24" y="256"/>
                </a:cxn>
                <a:cxn ang="0">
                  <a:pos x="20" y="240"/>
                </a:cxn>
                <a:cxn ang="0">
                  <a:pos x="24" y="212"/>
                </a:cxn>
                <a:cxn ang="0">
                  <a:pos x="36" y="188"/>
                </a:cxn>
                <a:cxn ang="0">
                  <a:pos x="40" y="168"/>
                </a:cxn>
                <a:cxn ang="0">
                  <a:pos x="40" y="156"/>
                </a:cxn>
                <a:cxn ang="0">
                  <a:pos x="44" y="144"/>
                </a:cxn>
                <a:cxn ang="0">
                  <a:pos x="40" y="128"/>
                </a:cxn>
                <a:cxn ang="0">
                  <a:pos x="36" y="112"/>
                </a:cxn>
                <a:cxn ang="0">
                  <a:pos x="24" y="104"/>
                </a:cxn>
                <a:cxn ang="0">
                  <a:pos x="8" y="100"/>
                </a:cxn>
                <a:cxn ang="0">
                  <a:pos x="0" y="84"/>
                </a:cxn>
                <a:cxn ang="0">
                  <a:pos x="12" y="76"/>
                </a:cxn>
                <a:cxn ang="0">
                  <a:pos x="28" y="72"/>
                </a:cxn>
                <a:cxn ang="0">
                  <a:pos x="48" y="68"/>
                </a:cxn>
                <a:cxn ang="0">
                  <a:pos x="64" y="72"/>
                </a:cxn>
                <a:cxn ang="0">
                  <a:pos x="64" y="92"/>
                </a:cxn>
                <a:cxn ang="0">
                  <a:pos x="64" y="108"/>
                </a:cxn>
                <a:cxn ang="0">
                  <a:pos x="72" y="124"/>
                </a:cxn>
                <a:cxn ang="0">
                  <a:pos x="72" y="112"/>
                </a:cxn>
                <a:cxn ang="0">
                  <a:pos x="84" y="104"/>
                </a:cxn>
                <a:cxn ang="0">
                  <a:pos x="84" y="80"/>
                </a:cxn>
                <a:cxn ang="0">
                  <a:pos x="72" y="56"/>
                </a:cxn>
                <a:cxn ang="0">
                  <a:pos x="64" y="40"/>
                </a:cxn>
                <a:cxn ang="0">
                  <a:pos x="64" y="28"/>
                </a:cxn>
                <a:cxn ang="0">
                  <a:pos x="76" y="20"/>
                </a:cxn>
                <a:cxn ang="0">
                  <a:pos x="96" y="20"/>
                </a:cxn>
                <a:cxn ang="0">
                  <a:pos x="116" y="20"/>
                </a:cxn>
                <a:cxn ang="0">
                  <a:pos x="120" y="12"/>
                </a:cxn>
                <a:cxn ang="0">
                  <a:pos x="136" y="12"/>
                </a:cxn>
                <a:cxn ang="0">
                  <a:pos x="148" y="4"/>
                </a:cxn>
                <a:cxn ang="0">
                  <a:pos x="156" y="12"/>
                </a:cxn>
                <a:cxn ang="0">
                  <a:pos x="156" y="24"/>
                </a:cxn>
                <a:cxn ang="0">
                  <a:pos x="152" y="44"/>
                </a:cxn>
                <a:cxn ang="0">
                  <a:pos x="156" y="60"/>
                </a:cxn>
                <a:cxn ang="0">
                  <a:pos x="156" y="72"/>
                </a:cxn>
                <a:cxn ang="0">
                  <a:pos x="156" y="84"/>
                </a:cxn>
                <a:cxn ang="0">
                  <a:pos x="152" y="92"/>
                </a:cxn>
                <a:cxn ang="0">
                  <a:pos x="144" y="108"/>
                </a:cxn>
                <a:cxn ang="0">
                  <a:pos x="132" y="120"/>
                </a:cxn>
                <a:cxn ang="0">
                  <a:pos x="116" y="128"/>
                </a:cxn>
                <a:cxn ang="0">
                  <a:pos x="100" y="140"/>
                </a:cxn>
                <a:cxn ang="0">
                  <a:pos x="92" y="148"/>
                </a:cxn>
                <a:cxn ang="0">
                  <a:pos x="88" y="156"/>
                </a:cxn>
                <a:cxn ang="0">
                  <a:pos x="76" y="168"/>
                </a:cxn>
                <a:cxn ang="0">
                  <a:pos x="68" y="172"/>
                </a:cxn>
                <a:cxn ang="0">
                  <a:pos x="72" y="188"/>
                </a:cxn>
                <a:cxn ang="0">
                  <a:pos x="76" y="204"/>
                </a:cxn>
                <a:cxn ang="0">
                  <a:pos x="76" y="224"/>
                </a:cxn>
                <a:cxn ang="0">
                  <a:pos x="80" y="224"/>
                </a:cxn>
                <a:cxn ang="0">
                  <a:pos x="76" y="244"/>
                </a:cxn>
                <a:cxn ang="0">
                  <a:pos x="80" y="252"/>
                </a:cxn>
                <a:cxn ang="0">
                  <a:pos x="72" y="264"/>
                </a:cxn>
                <a:cxn ang="0">
                  <a:pos x="56" y="272"/>
                </a:cxn>
                <a:cxn ang="0">
                  <a:pos x="40" y="280"/>
                </a:cxn>
                <a:cxn ang="0">
                  <a:pos x="36" y="296"/>
                </a:cxn>
                <a:cxn ang="0">
                  <a:pos x="40" y="307"/>
                </a:cxn>
                <a:cxn ang="0">
                  <a:pos x="76" y="212"/>
                </a:cxn>
              </a:cxnLst>
              <a:rect l="0" t="0" r="r" b="b"/>
              <a:pathLst>
                <a:path w="160" h="307">
                  <a:moveTo>
                    <a:pt x="28" y="307"/>
                  </a:moveTo>
                  <a:lnTo>
                    <a:pt x="28" y="299"/>
                  </a:lnTo>
                  <a:lnTo>
                    <a:pt x="28" y="296"/>
                  </a:lnTo>
                  <a:lnTo>
                    <a:pt x="28" y="292"/>
                  </a:lnTo>
                  <a:lnTo>
                    <a:pt x="24" y="292"/>
                  </a:lnTo>
                  <a:lnTo>
                    <a:pt x="24" y="288"/>
                  </a:lnTo>
                  <a:lnTo>
                    <a:pt x="24" y="284"/>
                  </a:lnTo>
                  <a:lnTo>
                    <a:pt x="24" y="280"/>
                  </a:lnTo>
                  <a:lnTo>
                    <a:pt x="28" y="272"/>
                  </a:lnTo>
                  <a:lnTo>
                    <a:pt x="24" y="272"/>
                  </a:lnTo>
                  <a:lnTo>
                    <a:pt x="24" y="268"/>
                  </a:lnTo>
                  <a:lnTo>
                    <a:pt x="24" y="264"/>
                  </a:lnTo>
                  <a:lnTo>
                    <a:pt x="28" y="260"/>
                  </a:lnTo>
                  <a:lnTo>
                    <a:pt x="24" y="260"/>
                  </a:lnTo>
                  <a:lnTo>
                    <a:pt x="24" y="256"/>
                  </a:lnTo>
                  <a:lnTo>
                    <a:pt x="24" y="252"/>
                  </a:lnTo>
                  <a:lnTo>
                    <a:pt x="24" y="248"/>
                  </a:lnTo>
                  <a:lnTo>
                    <a:pt x="20" y="248"/>
                  </a:lnTo>
                  <a:lnTo>
                    <a:pt x="20" y="244"/>
                  </a:lnTo>
                  <a:lnTo>
                    <a:pt x="20" y="240"/>
                  </a:lnTo>
                  <a:lnTo>
                    <a:pt x="20" y="236"/>
                  </a:lnTo>
                  <a:lnTo>
                    <a:pt x="16" y="224"/>
                  </a:lnTo>
                  <a:lnTo>
                    <a:pt x="16" y="220"/>
                  </a:lnTo>
                  <a:lnTo>
                    <a:pt x="20" y="216"/>
                  </a:lnTo>
                  <a:lnTo>
                    <a:pt x="24" y="212"/>
                  </a:lnTo>
                  <a:lnTo>
                    <a:pt x="32" y="200"/>
                  </a:lnTo>
                  <a:lnTo>
                    <a:pt x="32" y="196"/>
                  </a:lnTo>
                  <a:lnTo>
                    <a:pt x="32" y="192"/>
                  </a:lnTo>
                  <a:lnTo>
                    <a:pt x="32" y="188"/>
                  </a:lnTo>
                  <a:lnTo>
                    <a:pt x="36" y="188"/>
                  </a:lnTo>
                  <a:lnTo>
                    <a:pt x="36" y="184"/>
                  </a:lnTo>
                  <a:lnTo>
                    <a:pt x="40" y="180"/>
                  </a:lnTo>
                  <a:lnTo>
                    <a:pt x="40" y="176"/>
                  </a:lnTo>
                  <a:lnTo>
                    <a:pt x="40" y="172"/>
                  </a:lnTo>
                  <a:lnTo>
                    <a:pt x="40" y="168"/>
                  </a:lnTo>
                  <a:lnTo>
                    <a:pt x="36" y="168"/>
                  </a:lnTo>
                  <a:lnTo>
                    <a:pt x="36" y="164"/>
                  </a:lnTo>
                  <a:lnTo>
                    <a:pt x="40" y="164"/>
                  </a:lnTo>
                  <a:lnTo>
                    <a:pt x="40" y="160"/>
                  </a:lnTo>
                  <a:lnTo>
                    <a:pt x="40" y="156"/>
                  </a:lnTo>
                  <a:lnTo>
                    <a:pt x="36" y="156"/>
                  </a:lnTo>
                  <a:lnTo>
                    <a:pt x="36" y="152"/>
                  </a:lnTo>
                  <a:lnTo>
                    <a:pt x="40" y="152"/>
                  </a:lnTo>
                  <a:lnTo>
                    <a:pt x="40" y="148"/>
                  </a:lnTo>
                  <a:lnTo>
                    <a:pt x="44" y="144"/>
                  </a:lnTo>
                  <a:lnTo>
                    <a:pt x="40" y="144"/>
                  </a:lnTo>
                  <a:lnTo>
                    <a:pt x="40" y="140"/>
                  </a:lnTo>
                  <a:lnTo>
                    <a:pt x="40" y="136"/>
                  </a:lnTo>
                  <a:lnTo>
                    <a:pt x="40" y="132"/>
                  </a:lnTo>
                  <a:lnTo>
                    <a:pt x="40" y="128"/>
                  </a:lnTo>
                  <a:lnTo>
                    <a:pt x="40" y="124"/>
                  </a:lnTo>
                  <a:lnTo>
                    <a:pt x="40" y="120"/>
                  </a:lnTo>
                  <a:lnTo>
                    <a:pt x="40" y="116"/>
                  </a:lnTo>
                  <a:lnTo>
                    <a:pt x="36" y="116"/>
                  </a:lnTo>
                  <a:lnTo>
                    <a:pt x="36" y="112"/>
                  </a:lnTo>
                  <a:lnTo>
                    <a:pt x="32" y="112"/>
                  </a:lnTo>
                  <a:lnTo>
                    <a:pt x="32" y="108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0" y="104"/>
                  </a:lnTo>
                  <a:lnTo>
                    <a:pt x="16" y="104"/>
                  </a:lnTo>
                  <a:lnTo>
                    <a:pt x="16" y="100"/>
                  </a:lnTo>
                  <a:lnTo>
                    <a:pt x="12" y="100"/>
                  </a:lnTo>
                  <a:lnTo>
                    <a:pt x="8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0" y="84"/>
                  </a:lnTo>
                  <a:lnTo>
                    <a:pt x="0" y="80"/>
                  </a:lnTo>
                  <a:lnTo>
                    <a:pt x="4" y="80"/>
                  </a:lnTo>
                  <a:lnTo>
                    <a:pt x="8" y="80"/>
                  </a:lnTo>
                  <a:lnTo>
                    <a:pt x="8" y="76"/>
                  </a:lnTo>
                  <a:lnTo>
                    <a:pt x="12" y="76"/>
                  </a:lnTo>
                  <a:lnTo>
                    <a:pt x="16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8" y="72"/>
                  </a:lnTo>
                  <a:lnTo>
                    <a:pt x="32" y="68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8"/>
                  </a:lnTo>
                  <a:lnTo>
                    <a:pt x="48" y="68"/>
                  </a:lnTo>
                  <a:lnTo>
                    <a:pt x="48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60" y="72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4" y="104"/>
                  </a:lnTo>
                  <a:lnTo>
                    <a:pt x="64" y="108"/>
                  </a:lnTo>
                  <a:lnTo>
                    <a:pt x="68" y="108"/>
                  </a:lnTo>
                  <a:lnTo>
                    <a:pt x="68" y="112"/>
                  </a:lnTo>
                  <a:lnTo>
                    <a:pt x="72" y="116"/>
                  </a:lnTo>
                  <a:lnTo>
                    <a:pt x="72" y="120"/>
                  </a:lnTo>
                  <a:lnTo>
                    <a:pt x="72" y="124"/>
                  </a:lnTo>
                  <a:lnTo>
                    <a:pt x="76" y="124"/>
                  </a:lnTo>
                  <a:lnTo>
                    <a:pt x="76" y="120"/>
                  </a:lnTo>
                  <a:lnTo>
                    <a:pt x="76" y="116"/>
                  </a:lnTo>
                  <a:lnTo>
                    <a:pt x="76" y="112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76" y="104"/>
                  </a:lnTo>
                  <a:lnTo>
                    <a:pt x="80" y="104"/>
                  </a:lnTo>
                  <a:lnTo>
                    <a:pt x="84" y="104"/>
                  </a:lnTo>
                  <a:lnTo>
                    <a:pt x="84" y="100"/>
                  </a:lnTo>
                  <a:lnTo>
                    <a:pt x="84" y="92"/>
                  </a:lnTo>
                  <a:lnTo>
                    <a:pt x="84" y="88"/>
                  </a:lnTo>
                  <a:lnTo>
                    <a:pt x="84" y="84"/>
                  </a:lnTo>
                  <a:lnTo>
                    <a:pt x="84" y="80"/>
                  </a:lnTo>
                  <a:lnTo>
                    <a:pt x="84" y="76"/>
                  </a:lnTo>
                  <a:lnTo>
                    <a:pt x="80" y="68"/>
                  </a:lnTo>
                  <a:lnTo>
                    <a:pt x="76" y="60"/>
                  </a:lnTo>
                  <a:lnTo>
                    <a:pt x="72" y="60"/>
                  </a:lnTo>
                  <a:lnTo>
                    <a:pt x="72" y="56"/>
                  </a:lnTo>
                  <a:lnTo>
                    <a:pt x="68" y="56"/>
                  </a:lnTo>
                  <a:lnTo>
                    <a:pt x="64" y="52"/>
                  </a:lnTo>
                  <a:lnTo>
                    <a:pt x="64" y="48"/>
                  </a:lnTo>
                  <a:lnTo>
                    <a:pt x="64" y="44"/>
                  </a:lnTo>
                  <a:lnTo>
                    <a:pt x="64" y="40"/>
                  </a:lnTo>
                  <a:lnTo>
                    <a:pt x="64" y="36"/>
                  </a:lnTo>
                  <a:lnTo>
                    <a:pt x="64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0"/>
                  </a:lnTo>
                  <a:lnTo>
                    <a:pt x="68" y="20"/>
                  </a:lnTo>
                  <a:lnTo>
                    <a:pt x="72" y="20"/>
                  </a:lnTo>
                  <a:lnTo>
                    <a:pt x="76" y="20"/>
                  </a:lnTo>
                  <a:lnTo>
                    <a:pt x="80" y="20"/>
                  </a:lnTo>
                  <a:lnTo>
                    <a:pt x="84" y="16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20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8" y="20"/>
                  </a:lnTo>
                  <a:lnTo>
                    <a:pt x="112" y="20"/>
                  </a:lnTo>
                  <a:lnTo>
                    <a:pt x="116" y="20"/>
                  </a:lnTo>
                  <a:lnTo>
                    <a:pt x="116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16" y="12"/>
                  </a:lnTo>
                  <a:lnTo>
                    <a:pt x="120" y="12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36" y="8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4"/>
                  </a:lnTo>
                  <a:lnTo>
                    <a:pt x="152" y="0"/>
                  </a:lnTo>
                  <a:lnTo>
                    <a:pt x="156" y="0"/>
                  </a:lnTo>
                  <a:lnTo>
                    <a:pt x="156" y="4"/>
                  </a:lnTo>
                  <a:lnTo>
                    <a:pt x="156" y="8"/>
                  </a:lnTo>
                  <a:lnTo>
                    <a:pt x="156" y="12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6" y="16"/>
                  </a:lnTo>
                  <a:lnTo>
                    <a:pt x="152" y="20"/>
                  </a:lnTo>
                  <a:lnTo>
                    <a:pt x="156" y="24"/>
                  </a:lnTo>
                  <a:lnTo>
                    <a:pt x="156" y="32"/>
                  </a:lnTo>
                  <a:lnTo>
                    <a:pt x="156" y="36"/>
                  </a:lnTo>
                  <a:lnTo>
                    <a:pt x="156" y="40"/>
                  </a:lnTo>
                  <a:lnTo>
                    <a:pt x="156" y="44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8"/>
                  </a:lnTo>
                  <a:lnTo>
                    <a:pt x="156" y="52"/>
                  </a:lnTo>
                  <a:lnTo>
                    <a:pt x="156" y="56"/>
                  </a:lnTo>
                  <a:lnTo>
                    <a:pt x="156" y="60"/>
                  </a:lnTo>
                  <a:lnTo>
                    <a:pt x="156" y="64"/>
                  </a:lnTo>
                  <a:lnTo>
                    <a:pt x="156" y="68"/>
                  </a:lnTo>
                  <a:lnTo>
                    <a:pt x="160" y="68"/>
                  </a:lnTo>
                  <a:lnTo>
                    <a:pt x="160" y="72"/>
                  </a:lnTo>
                  <a:lnTo>
                    <a:pt x="156" y="72"/>
                  </a:lnTo>
                  <a:lnTo>
                    <a:pt x="160" y="72"/>
                  </a:lnTo>
                  <a:lnTo>
                    <a:pt x="160" y="76"/>
                  </a:lnTo>
                  <a:lnTo>
                    <a:pt x="160" y="80"/>
                  </a:lnTo>
                  <a:lnTo>
                    <a:pt x="160" y="84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84"/>
                  </a:lnTo>
                  <a:lnTo>
                    <a:pt x="156" y="88"/>
                  </a:lnTo>
                  <a:lnTo>
                    <a:pt x="156" y="92"/>
                  </a:lnTo>
                  <a:lnTo>
                    <a:pt x="152" y="92"/>
                  </a:lnTo>
                  <a:lnTo>
                    <a:pt x="152" y="96"/>
                  </a:lnTo>
                  <a:lnTo>
                    <a:pt x="148" y="100"/>
                  </a:lnTo>
                  <a:lnTo>
                    <a:pt x="148" y="104"/>
                  </a:lnTo>
                  <a:lnTo>
                    <a:pt x="144" y="104"/>
                  </a:lnTo>
                  <a:lnTo>
                    <a:pt x="144" y="108"/>
                  </a:lnTo>
                  <a:lnTo>
                    <a:pt x="144" y="112"/>
                  </a:lnTo>
                  <a:lnTo>
                    <a:pt x="140" y="112"/>
                  </a:lnTo>
                  <a:lnTo>
                    <a:pt x="136" y="116"/>
                  </a:lnTo>
                  <a:lnTo>
                    <a:pt x="132" y="116"/>
                  </a:lnTo>
                  <a:lnTo>
                    <a:pt x="132" y="120"/>
                  </a:lnTo>
                  <a:lnTo>
                    <a:pt x="128" y="120"/>
                  </a:lnTo>
                  <a:lnTo>
                    <a:pt x="124" y="124"/>
                  </a:lnTo>
                  <a:lnTo>
                    <a:pt x="120" y="124"/>
                  </a:lnTo>
                  <a:lnTo>
                    <a:pt x="116" y="124"/>
                  </a:lnTo>
                  <a:lnTo>
                    <a:pt x="116" y="128"/>
                  </a:lnTo>
                  <a:lnTo>
                    <a:pt x="112" y="128"/>
                  </a:lnTo>
                  <a:lnTo>
                    <a:pt x="108" y="132"/>
                  </a:lnTo>
                  <a:lnTo>
                    <a:pt x="104" y="132"/>
                  </a:lnTo>
                  <a:lnTo>
                    <a:pt x="104" y="136"/>
                  </a:lnTo>
                  <a:lnTo>
                    <a:pt x="100" y="140"/>
                  </a:lnTo>
                  <a:lnTo>
                    <a:pt x="100" y="136"/>
                  </a:lnTo>
                  <a:lnTo>
                    <a:pt x="100" y="140"/>
                  </a:lnTo>
                  <a:lnTo>
                    <a:pt x="100" y="144"/>
                  </a:lnTo>
                  <a:lnTo>
                    <a:pt x="96" y="148"/>
                  </a:lnTo>
                  <a:lnTo>
                    <a:pt x="92" y="148"/>
                  </a:lnTo>
                  <a:lnTo>
                    <a:pt x="92" y="152"/>
                  </a:lnTo>
                  <a:lnTo>
                    <a:pt x="92" y="156"/>
                  </a:lnTo>
                  <a:lnTo>
                    <a:pt x="88" y="156"/>
                  </a:lnTo>
                  <a:lnTo>
                    <a:pt x="88" y="152"/>
                  </a:lnTo>
                  <a:lnTo>
                    <a:pt x="88" y="156"/>
                  </a:lnTo>
                  <a:lnTo>
                    <a:pt x="84" y="156"/>
                  </a:lnTo>
                  <a:lnTo>
                    <a:pt x="84" y="160"/>
                  </a:lnTo>
                  <a:lnTo>
                    <a:pt x="80" y="160"/>
                  </a:lnTo>
                  <a:lnTo>
                    <a:pt x="80" y="164"/>
                  </a:lnTo>
                  <a:lnTo>
                    <a:pt x="76" y="168"/>
                  </a:lnTo>
                  <a:lnTo>
                    <a:pt x="72" y="172"/>
                  </a:lnTo>
                  <a:lnTo>
                    <a:pt x="68" y="172"/>
                  </a:lnTo>
                  <a:lnTo>
                    <a:pt x="64" y="168"/>
                  </a:lnTo>
                  <a:lnTo>
                    <a:pt x="64" y="172"/>
                  </a:lnTo>
                  <a:lnTo>
                    <a:pt x="68" y="172"/>
                  </a:lnTo>
                  <a:lnTo>
                    <a:pt x="68" y="176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8" y="188"/>
                  </a:lnTo>
                  <a:lnTo>
                    <a:pt x="72" y="188"/>
                  </a:lnTo>
                  <a:lnTo>
                    <a:pt x="72" y="192"/>
                  </a:lnTo>
                  <a:lnTo>
                    <a:pt x="72" y="196"/>
                  </a:lnTo>
                  <a:lnTo>
                    <a:pt x="72" y="200"/>
                  </a:lnTo>
                  <a:lnTo>
                    <a:pt x="72" y="204"/>
                  </a:lnTo>
                  <a:lnTo>
                    <a:pt x="76" y="204"/>
                  </a:lnTo>
                  <a:lnTo>
                    <a:pt x="76" y="208"/>
                  </a:lnTo>
                  <a:lnTo>
                    <a:pt x="76" y="212"/>
                  </a:lnTo>
                  <a:lnTo>
                    <a:pt x="76" y="216"/>
                  </a:lnTo>
                  <a:lnTo>
                    <a:pt x="76" y="220"/>
                  </a:lnTo>
                  <a:lnTo>
                    <a:pt x="76" y="224"/>
                  </a:lnTo>
                  <a:lnTo>
                    <a:pt x="76" y="220"/>
                  </a:lnTo>
                  <a:lnTo>
                    <a:pt x="76" y="216"/>
                  </a:lnTo>
                  <a:lnTo>
                    <a:pt x="80" y="216"/>
                  </a:lnTo>
                  <a:lnTo>
                    <a:pt x="80" y="220"/>
                  </a:lnTo>
                  <a:lnTo>
                    <a:pt x="80" y="224"/>
                  </a:lnTo>
                  <a:lnTo>
                    <a:pt x="80" y="228"/>
                  </a:lnTo>
                  <a:lnTo>
                    <a:pt x="80" y="232"/>
                  </a:lnTo>
                  <a:lnTo>
                    <a:pt x="80" y="236"/>
                  </a:lnTo>
                  <a:lnTo>
                    <a:pt x="80" y="240"/>
                  </a:lnTo>
                  <a:lnTo>
                    <a:pt x="76" y="244"/>
                  </a:lnTo>
                  <a:lnTo>
                    <a:pt x="76" y="248"/>
                  </a:lnTo>
                  <a:lnTo>
                    <a:pt x="76" y="252"/>
                  </a:lnTo>
                  <a:lnTo>
                    <a:pt x="76" y="248"/>
                  </a:lnTo>
                  <a:lnTo>
                    <a:pt x="80" y="248"/>
                  </a:lnTo>
                  <a:lnTo>
                    <a:pt x="80" y="252"/>
                  </a:lnTo>
                  <a:lnTo>
                    <a:pt x="80" y="256"/>
                  </a:lnTo>
                  <a:lnTo>
                    <a:pt x="76" y="256"/>
                  </a:lnTo>
                  <a:lnTo>
                    <a:pt x="76" y="260"/>
                  </a:lnTo>
                  <a:lnTo>
                    <a:pt x="76" y="264"/>
                  </a:lnTo>
                  <a:lnTo>
                    <a:pt x="72" y="264"/>
                  </a:lnTo>
                  <a:lnTo>
                    <a:pt x="68" y="268"/>
                  </a:lnTo>
                  <a:lnTo>
                    <a:pt x="64" y="268"/>
                  </a:lnTo>
                  <a:lnTo>
                    <a:pt x="60" y="268"/>
                  </a:lnTo>
                  <a:lnTo>
                    <a:pt x="60" y="272"/>
                  </a:lnTo>
                  <a:lnTo>
                    <a:pt x="56" y="272"/>
                  </a:lnTo>
                  <a:lnTo>
                    <a:pt x="52" y="272"/>
                  </a:lnTo>
                  <a:lnTo>
                    <a:pt x="48" y="276"/>
                  </a:lnTo>
                  <a:lnTo>
                    <a:pt x="44" y="276"/>
                  </a:lnTo>
                  <a:lnTo>
                    <a:pt x="44" y="280"/>
                  </a:lnTo>
                  <a:lnTo>
                    <a:pt x="40" y="280"/>
                  </a:lnTo>
                  <a:lnTo>
                    <a:pt x="40" y="284"/>
                  </a:lnTo>
                  <a:lnTo>
                    <a:pt x="36" y="284"/>
                  </a:lnTo>
                  <a:lnTo>
                    <a:pt x="36" y="288"/>
                  </a:lnTo>
                  <a:lnTo>
                    <a:pt x="36" y="292"/>
                  </a:lnTo>
                  <a:lnTo>
                    <a:pt x="36" y="296"/>
                  </a:lnTo>
                  <a:lnTo>
                    <a:pt x="40" y="296"/>
                  </a:lnTo>
                  <a:lnTo>
                    <a:pt x="40" y="292"/>
                  </a:lnTo>
                  <a:lnTo>
                    <a:pt x="40" y="296"/>
                  </a:lnTo>
                  <a:lnTo>
                    <a:pt x="40" y="303"/>
                  </a:lnTo>
                  <a:lnTo>
                    <a:pt x="40" y="307"/>
                  </a:lnTo>
                  <a:lnTo>
                    <a:pt x="36" y="307"/>
                  </a:lnTo>
                  <a:lnTo>
                    <a:pt x="32" y="307"/>
                  </a:lnTo>
                  <a:lnTo>
                    <a:pt x="28" y="307"/>
                  </a:lnTo>
                  <a:close/>
                  <a:moveTo>
                    <a:pt x="80" y="212"/>
                  </a:moveTo>
                  <a:lnTo>
                    <a:pt x="76" y="212"/>
                  </a:lnTo>
                  <a:lnTo>
                    <a:pt x="76" y="208"/>
                  </a:lnTo>
                  <a:lnTo>
                    <a:pt x="80" y="204"/>
                  </a:lnTo>
                  <a:lnTo>
                    <a:pt x="80" y="208"/>
                  </a:lnTo>
                  <a:lnTo>
                    <a:pt x="80" y="212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0" name="Freeform 150">
              <a:extLst>
                <a:ext uri="{FF2B5EF4-FFF2-40B4-BE49-F238E27FC236}">
                  <a16:creationId xmlns:a16="http://schemas.microsoft.com/office/drawing/2014/main" id="{563336FE-3A40-994C-960C-3FC4C408AEF3}"/>
                </a:ext>
              </a:extLst>
            </p:cNvPr>
            <p:cNvSpPr>
              <a:spLocks/>
            </p:cNvSpPr>
            <p:nvPr>
              <p:custDataLst>
                <p:tags r:id="rId70"/>
              </p:custDataLst>
            </p:nvPr>
          </p:nvSpPr>
          <p:spPr bwMode="gray">
            <a:xfrm>
              <a:off x="4013629" y="6360231"/>
              <a:ext cx="262206" cy="286157"/>
            </a:xfrm>
            <a:custGeom>
              <a:avLst/>
              <a:gdLst/>
              <a:ahLst/>
              <a:cxnLst>
                <a:cxn ang="0">
                  <a:pos x="128" y="132"/>
                </a:cxn>
                <a:cxn ang="0">
                  <a:pos x="128" y="148"/>
                </a:cxn>
                <a:cxn ang="0">
                  <a:pos x="128" y="164"/>
                </a:cxn>
                <a:cxn ang="0">
                  <a:pos x="128" y="195"/>
                </a:cxn>
                <a:cxn ang="0">
                  <a:pos x="128" y="215"/>
                </a:cxn>
                <a:cxn ang="0">
                  <a:pos x="116" y="223"/>
                </a:cxn>
                <a:cxn ang="0">
                  <a:pos x="104" y="227"/>
                </a:cxn>
                <a:cxn ang="0">
                  <a:pos x="92" y="223"/>
                </a:cxn>
                <a:cxn ang="0">
                  <a:pos x="88" y="211"/>
                </a:cxn>
                <a:cxn ang="0">
                  <a:pos x="80" y="211"/>
                </a:cxn>
                <a:cxn ang="0">
                  <a:pos x="72" y="219"/>
                </a:cxn>
                <a:cxn ang="0">
                  <a:pos x="64" y="207"/>
                </a:cxn>
                <a:cxn ang="0">
                  <a:pos x="60" y="203"/>
                </a:cxn>
                <a:cxn ang="0">
                  <a:pos x="56" y="187"/>
                </a:cxn>
                <a:cxn ang="0">
                  <a:pos x="52" y="176"/>
                </a:cxn>
                <a:cxn ang="0">
                  <a:pos x="48" y="164"/>
                </a:cxn>
                <a:cxn ang="0">
                  <a:pos x="48" y="148"/>
                </a:cxn>
                <a:cxn ang="0">
                  <a:pos x="44" y="136"/>
                </a:cxn>
                <a:cxn ang="0">
                  <a:pos x="44" y="120"/>
                </a:cxn>
                <a:cxn ang="0">
                  <a:pos x="44" y="104"/>
                </a:cxn>
                <a:cxn ang="0">
                  <a:pos x="36" y="92"/>
                </a:cxn>
                <a:cxn ang="0">
                  <a:pos x="32" y="80"/>
                </a:cxn>
                <a:cxn ang="0">
                  <a:pos x="24" y="68"/>
                </a:cxn>
                <a:cxn ang="0">
                  <a:pos x="20" y="56"/>
                </a:cxn>
                <a:cxn ang="0">
                  <a:pos x="16" y="44"/>
                </a:cxn>
                <a:cxn ang="0">
                  <a:pos x="8" y="32"/>
                </a:cxn>
                <a:cxn ang="0">
                  <a:pos x="4" y="20"/>
                </a:cxn>
                <a:cxn ang="0">
                  <a:pos x="4" y="8"/>
                </a:cxn>
                <a:cxn ang="0">
                  <a:pos x="16" y="4"/>
                </a:cxn>
                <a:cxn ang="0">
                  <a:pos x="32" y="4"/>
                </a:cxn>
                <a:cxn ang="0">
                  <a:pos x="44" y="8"/>
                </a:cxn>
                <a:cxn ang="0">
                  <a:pos x="68" y="8"/>
                </a:cxn>
                <a:cxn ang="0">
                  <a:pos x="96" y="8"/>
                </a:cxn>
                <a:cxn ang="0">
                  <a:pos x="108" y="16"/>
                </a:cxn>
                <a:cxn ang="0">
                  <a:pos x="124" y="16"/>
                </a:cxn>
                <a:cxn ang="0">
                  <a:pos x="136" y="20"/>
                </a:cxn>
                <a:cxn ang="0">
                  <a:pos x="148" y="20"/>
                </a:cxn>
                <a:cxn ang="0">
                  <a:pos x="172" y="12"/>
                </a:cxn>
                <a:cxn ang="0">
                  <a:pos x="188" y="8"/>
                </a:cxn>
                <a:cxn ang="0">
                  <a:pos x="204" y="8"/>
                </a:cxn>
                <a:cxn ang="0">
                  <a:pos x="200" y="16"/>
                </a:cxn>
                <a:cxn ang="0">
                  <a:pos x="192" y="20"/>
                </a:cxn>
                <a:cxn ang="0">
                  <a:pos x="184" y="28"/>
                </a:cxn>
                <a:cxn ang="0">
                  <a:pos x="176" y="20"/>
                </a:cxn>
                <a:cxn ang="0">
                  <a:pos x="156" y="24"/>
                </a:cxn>
                <a:cxn ang="0">
                  <a:pos x="144" y="32"/>
                </a:cxn>
                <a:cxn ang="0">
                  <a:pos x="144" y="72"/>
                </a:cxn>
                <a:cxn ang="0">
                  <a:pos x="144" y="92"/>
                </a:cxn>
                <a:cxn ang="0">
                  <a:pos x="132" y="96"/>
                </a:cxn>
                <a:cxn ang="0">
                  <a:pos x="128" y="108"/>
                </a:cxn>
              </a:cxnLst>
              <a:rect l="0" t="0" r="r" b="b"/>
              <a:pathLst>
                <a:path w="208" h="227">
                  <a:moveTo>
                    <a:pt x="128" y="120"/>
                  </a:moveTo>
                  <a:lnTo>
                    <a:pt x="128" y="124"/>
                  </a:lnTo>
                  <a:lnTo>
                    <a:pt x="128" y="128"/>
                  </a:lnTo>
                  <a:lnTo>
                    <a:pt x="128" y="132"/>
                  </a:lnTo>
                  <a:lnTo>
                    <a:pt x="128" y="136"/>
                  </a:lnTo>
                  <a:lnTo>
                    <a:pt x="128" y="140"/>
                  </a:lnTo>
                  <a:lnTo>
                    <a:pt x="128" y="144"/>
                  </a:lnTo>
                  <a:lnTo>
                    <a:pt x="128" y="148"/>
                  </a:lnTo>
                  <a:lnTo>
                    <a:pt x="128" y="152"/>
                  </a:lnTo>
                  <a:lnTo>
                    <a:pt x="128" y="156"/>
                  </a:lnTo>
                  <a:lnTo>
                    <a:pt x="128" y="160"/>
                  </a:lnTo>
                  <a:lnTo>
                    <a:pt x="128" y="164"/>
                  </a:lnTo>
                  <a:lnTo>
                    <a:pt x="128" y="168"/>
                  </a:lnTo>
                  <a:lnTo>
                    <a:pt x="128" y="179"/>
                  </a:lnTo>
                  <a:lnTo>
                    <a:pt x="128" y="191"/>
                  </a:lnTo>
                  <a:lnTo>
                    <a:pt x="128" y="195"/>
                  </a:lnTo>
                  <a:lnTo>
                    <a:pt x="128" y="199"/>
                  </a:lnTo>
                  <a:lnTo>
                    <a:pt x="128" y="207"/>
                  </a:lnTo>
                  <a:lnTo>
                    <a:pt x="128" y="211"/>
                  </a:lnTo>
                  <a:lnTo>
                    <a:pt x="128" y="215"/>
                  </a:lnTo>
                  <a:lnTo>
                    <a:pt x="124" y="219"/>
                  </a:lnTo>
                  <a:lnTo>
                    <a:pt x="120" y="219"/>
                  </a:lnTo>
                  <a:lnTo>
                    <a:pt x="120" y="223"/>
                  </a:lnTo>
                  <a:lnTo>
                    <a:pt x="116" y="223"/>
                  </a:lnTo>
                  <a:lnTo>
                    <a:pt x="116" y="227"/>
                  </a:lnTo>
                  <a:lnTo>
                    <a:pt x="112" y="227"/>
                  </a:lnTo>
                  <a:lnTo>
                    <a:pt x="108" y="223"/>
                  </a:lnTo>
                  <a:lnTo>
                    <a:pt x="104" y="227"/>
                  </a:lnTo>
                  <a:lnTo>
                    <a:pt x="100" y="227"/>
                  </a:lnTo>
                  <a:lnTo>
                    <a:pt x="96" y="227"/>
                  </a:lnTo>
                  <a:lnTo>
                    <a:pt x="96" y="223"/>
                  </a:lnTo>
                  <a:lnTo>
                    <a:pt x="92" y="223"/>
                  </a:lnTo>
                  <a:lnTo>
                    <a:pt x="88" y="223"/>
                  </a:lnTo>
                  <a:lnTo>
                    <a:pt x="88" y="219"/>
                  </a:lnTo>
                  <a:lnTo>
                    <a:pt x="88" y="215"/>
                  </a:lnTo>
                  <a:lnTo>
                    <a:pt x="88" y="211"/>
                  </a:lnTo>
                  <a:lnTo>
                    <a:pt x="88" y="215"/>
                  </a:lnTo>
                  <a:lnTo>
                    <a:pt x="84" y="215"/>
                  </a:lnTo>
                  <a:lnTo>
                    <a:pt x="84" y="211"/>
                  </a:lnTo>
                  <a:lnTo>
                    <a:pt x="80" y="211"/>
                  </a:lnTo>
                  <a:lnTo>
                    <a:pt x="80" y="215"/>
                  </a:lnTo>
                  <a:lnTo>
                    <a:pt x="80" y="219"/>
                  </a:lnTo>
                  <a:lnTo>
                    <a:pt x="76" y="219"/>
                  </a:lnTo>
                  <a:lnTo>
                    <a:pt x="72" y="219"/>
                  </a:lnTo>
                  <a:lnTo>
                    <a:pt x="68" y="215"/>
                  </a:lnTo>
                  <a:lnTo>
                    <a:pt x="68" y="211"/>
                  </a:lnTo>
                  <a:lnTo>
                    <a:pt x="64" y="211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4" y="207"/>
                  </a:lnTo>
                  <a:lnTo>
                    <a:pt x="60" y="207"/>
                  </a:lnTo>
                  <a:lnTo>
                    <a:pt x="60" y="203"/>
                  </a:lnTo>
                  <a:lnTo>
                    <a:pt x="56" y="199"/>
                  </a:lnTo>
                  <a:lnTo>
                    <a:pt x="56" y="195"/>
                  </a:lnTo>
                  <a:lnTo>
                    <a:pt x="56" y="191"/>
                  </a:lnTo>
                  <a:lnTo>
                    <a:pt x="56" y="187"/>
                  </a:lnTo>
                  <a:lnTo>
                    <a:pt x="52" y="183"/>
                  </a:lnTo>
                  <a:lnTo>
                    <a:pt x="56" y="183"/>
                  </a:lnTo>
                  <a:lnTo>
                    <a:pt x="52" y="179"/>
                  </a:lnTo>
                  <a:lnTo>
                    <a:pt x="52" y="176"/>
                  </a:lnTo>
                  <a:lnTo>
                    <a:pt x="52" y="172"/>
                  </a:lnTo>
                  <a:lnTo>
                    <a:pt x="52" y="168"/>
                  </a:lnTo>
                  <a:lnTo>
                    <a:pt x="48" y="168"/>
                  </a:lnTo>
                  <a:lnTo>
                    <a:pt x="48" y="164"/>
                  </a:lnTo>
                  <a:lnTo>
                    <a:pt x="48" y="160"/>
                  </a:lnTo>
                  <a:lnTo>
                    <a:pt x="48" y="156"/>
                  </a:lnTo>
                  <a:lnTo>
                    <a:pt x="48" y="152"/>
                  </a:lnTo>
                  <a:lnTo>
                    <a:pt x="48" y="148"/>
                  </a:lnTo>
                  <a:lnTo>
                    <a:pt x="48" y="144"/>
                  </a:lnTo>
                  <a:lnTo>
                    <a:pt x="44" y="144"/>
                  </a:lnTo>
                  <a:lnTo>
                    <a:pt x="44" y="140"/>
                  </a:lnTo>
                  <a:lnTo>
                    <a:pt x="44" y="136"/>
                  </a:lnTo>
                  <a:lnTo>
                    <a:pt x="44" y="132"/>
                  </a:lnTo>
                  <a:lnTo>
                    <a:pt x="44" y="128"/>
                  </a:lnTo>
                  <a:lnTo>
                    <a:pt x="44" y="124"/>
                  </a:lnTo>
                  <a:lnTo>
                    <a:pt x="44" y="120"/>
                  </a:lnTo>
                  <a:lnTo>
                    <a:pt x="44" y="116"/>
                  </a:lnTo>
                  <a:lnTo>
                    <a:pt x="44" y="112"/>
                  </a:lnTo>
                  <a:lnTo>
                    <a:pt x="44" y="108"/>
                  </a:lnTo>
                  <a:lnTo>
                    <a:pt x="44" y="104"/>
                  </a:lnTo>
                  <a:lnTo>
                    <a:pt x="44" y="100"/>
                  </a:lnTo>
                  <a:lnTo>
                    <a:pt x="40" y="96"/>
                  </a:lnTo>
                  <a:lnTo>
                    <a:pt x="40" y="92"/>
                  </a:lnTo>
                  <a:lnTo>
                    <a:pt x="36" y="92"/>
                  </a:lnTo>
                  <a:lnTo>
                    <a:pt x="36" y="88"/>
                  </a:lnTo>
                  <a:lnTo>
                    <a:pt x="36" y="84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28" y="72"/>
                  </a:lnTo>
                  <a:lnTo>
                    <a:pt x="28" y="68"/>
                  </a:lnTo>
                  <a:lnTo>
                    <a:pt x="24" y="68"/>
                  </a:lnTo>
                  <a:lnTo>
                    <a:pt x="24" y="64"/>
                  </a:lnTo>
                  <a:lnTo>
                    <a:pt x="24" y="60"/>
                  </a:lnTo>
                  <a:lnTo>
                    <a:pt x="24" y="56"/>
                  </a:lnTo>
                  <a:lnTo>
                    <a:pt x="20" y="56"/>
                  </a:lnTo>
                  <a:lnTo>
                    <a:pt x="20" y="52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0" y="12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60" y="8"/>
                  </a:lnTo>
                  <a:lnTo>
                    <a:pt x="68" y="8"/>
                  </a:lnTo>
                  <a:lnTo>
                    <a:pt x="76" y="8"/>
                  </a:lnTo>
                  <a:lnTo>
                    <a:pt x="88" y="8"/>
                  </a:lnTo>
                  <a:lnTo>
                    <a:pt x="92" y="8"/>
                  </a:lnTo>
                  <a:lnTo>
                    <a:pt x="96" y="8"/>
                  </a:lnTo>
                  <a:lnTo>
                    <a:pt x="100" y="8"/>
                  </a:lnTo>
                  <a:lnTo>
                    <a:pt x="104" y="8"/>
                  </a:lnTo>
                  <a:lnTo>
                    <a:pt x="108" y="12"/>
                  </a:lnTo>
                  <a:lnTo>
                    <a:pt x="108" y="16"/>
                  </a:lnTo>
                  <a:lnTo>
                    <a:pt x="112" y="16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6"/>
                  </a:lnTo>
                  <a:lnTo>
                    <a:pt x="132" y="16"/>
                  </a:lnTo>
                  <a:lnTo>
                    <a:pt x="136" y="16"/>
                  </a:lnTo>
                  <a:lnTo>
                    <a:pt x="136" y="20"/>
                  </a:lnTo>
                  <a:lnTo>
                    <a:pt x="140" y="20"/>
                  </a:lnTo>
                  <a:lnTo>
                    <a:pt x="144" y="16"/>
                  </a:lnTo>
                  <a:lnTo>
                    <a:pt x="148" y="16"/>
                  </a:lnTo>
                  <a:lnTo>
                    <a:pt x="148" y="20"/>
                  </a:lnTo>
                  <a:lnTo>
                    <a:pt x="156" y="16"/>
                  </a:lnTo>
                  <a:lnTo>
                    <a:pt x="164" y="16"/>
                  </a:lnTo>
                  <a:lnTo>
                    <a:pt x="168" y="16"/>
                  </a:lnTo>
                  <a:lnTo>
                    <a:pt x="172" y="12"/>
                  </a:lnTo>
                  <a:lnTo>
                    <a:pt x="176" y="12"/>
                  </a:lnTo>
                  <a:lnTo>
                    <a:pt x="180" y="12"/>
                  </a:lnTo>
                  <a:lnTo>
                    <a:pt x="184" y="12"/>
                  </a:lnTo>
                  <a:lnTo>
                    <a:pt x="188" y="8"/>
                  </a:lnTo>
                  <a:lnTo>
                    <a:pt x="192" y="8"/>
                  </a:lnTo>
                  <a:lnTo>
                    <a:pt x="196" y="8"/>
                  </a:lnTo>
                  <a:lnTo>
                    <a:pt x="200" y="8"/>
                  </a:lnTo>
                  <a:lnTo>
                    <a:pt x="204" y="8"/>
                  </a:lnTo>
                  <a:lnTo>
                    <a:pt x="204" y="12"/>
                  </a:lnTo>
                  <a:lnTo>
                    <a:pt x="208" y="16"/>
                  </a:lnTo>
                  <a:lnTo>
                    <a:pt x="204" y="16"/>
                  </a:lnTo>
                  <a:lnTo>
                    <a:pt x="200" y="16"/>
                  </a:lnTo>
                  <a:lnTo>
                    <a:pt x="196" y="20"/>
                  </a:lnTo>
                  <a:lnTo>
                    <a:pt x="196" y="16"/>
                  </a:lnTo>
                  <a:lnTo>
                    <a:pt x="192" y="16"/>
                  </a:lnTo>
                  <a:lnTo>
                    <a:pt x="192" y="20"/>
                  </a:lnTo>
                  <a:lnTo>
                    <a:pt x="188" y="20"/>
                  </a:lnTo>
                  <a:lnTo>
                    <a:pt x="188" y="24"/>
                  </a:lnTo>
                  <a:lnTo>
                    <a:pt x="184" y="24"/>
                  </a:lnTo>
                  <a:lnTo>
                    <a:pt x="184" y="28"/>
                  </a:lnTo>
                  <a:lnTo>
                    <a:pt x="180" y="28"/>
                  </a:lnTo>
                  <a:lnTo>
                    <a:pt x="180" y="24"/>
                  </a:lnTo>
                  <a:lnTo>
                    <a:pt x="180" y="20"/>
                  </a:lnTo>
                  <a:lnTo>
                    <a:pt x="176" y="20"/>
                  </a:lnTo>
                  <a:lnTo>
                    <a:pt x="168" y="20"/>
                  </a:lnTo>
                  <a:lnTo>
                    <a:pt x="164" y="20"/>
                  </a:lnTo>
                  <a:lnTo>
                    <a:pt x="160" y="20"/>
                  </a:lnTo>
                  <a:lnTo>
                    <a:pt x="156" y="24"/>
                  </a:lnTo>
                  <a:lnTo>
                    <a:pt x="148" y="24"/>
                  </a:lnTo>
                  <a:lnTo>
                    <a:pt x="144" y="24"/>
                  </a:lnTo>
                  <a:lnTo>
                    <a:pt x="144" y="28"/>
                  </a:lnTo>
                  <a:lnTo>
                    <a:pt x="144" y="32"/>
                  </a:lnTo>
                  <a:lnTo>
                    <a:pt x="144" y="40"/>
                  </a:lnTo>
                  <a:lnTo>
                    <a:pt x="144" y="56"/>
                  </a:lnTo>
                  <a:lnTo>
                    <a:pt x="144" y="60"/>
                  </a:lnTo>
                  <a:lnTo>
                    <a:pt x="144" y="72"/>
                  </a:lnTo>
                  <a:lnTo>
                    <a:pt x="144" y="76"/>
                  </a:lnTo>
                  <a:lnTo>
                    <a:pt x="144" y="80"/>
                  </a:lnTo>
                  <a:lnTo>
                    <a:pt x="144" y="88"/>
                  </a:lnTo>
                  <a:lnTo>
                    <a:pt x="144" y="92"/>
                  </a:lnTo>
                  <a:lnTo>
                    <a:pt x="144" y="96"/>
                  </a:lnTo>
                  <a:lnTo>
                    <a:pt x="140" y="96"/>
                  </a:lnTo>
                  <a:lnTo>
                    <a:pt x="136" y="96"/>
                  </a:lnTo>
                  <a:lnTo>
                    <a:pt x="132" y="96"/>
                  </a:lnTo>
                  <a:lnTo>
                    <a:pt x="128" y="96"/>
                  </a:lnTo>
                  <a:lnTo>
                    <a:pt x="128" y="100"/>
                  </a:lnTo>
                  <a:lnTo>
                    <a:pt x="128" y="104"/>
                  </a:lnTo>
                  <a:lnTo>
                    <a:pt x="128" y="108"/>
                  </a:lnTo>
                  <a:lnTo>
                    <a:pt x="128" y="112"/>
                  </a:lnTo>
                  <a:lnTo>
                    <a:pt x="128" y="116"/>
                  </a:lnTo>
                  <a:lnTo>
                    <a:pt x="128" y="12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1" name="Freeform 151">
              <a:extLst>
                <a:ext uri="{FF2B5EF4-FFF2-40B4-BE49-F238E27FC236}">
                  <a16:creationId xmlns:a16="http://schemas.microsoft.com/office/drawing/2014/main" id="{AE15478D-973C-4C4F-BC3D-D14C898C80ED}"/>
                </a:ext>
              </a:extLst>
            </p:cNvPr>
            <p:cNvSpPr>
              <a:spLocks/>
            </p:cNvSpPr>
            <p:nvPr>
              <p:custDataLst>
                <p:tags r:id="rId71"/>
              </p:custDataLst>
            </p:nvPr>
          </p:nvSpPr>
          <p:spPr bwMode="gray">
            <a:xfrm>
              <a:off x="3798066" y="5414778"/>
              <a:ext cx="301284" cy="281114"/>
            </a:xfrm>
            <a:custGeom>
              <a:avLst/>
              <a:gdLst/>
              <a:ahLst/>
              <a:cxnLst>
                <a:cxn ang="0">
                  <a:pos x="91" y="187"/>
                </a:cxn>
                <a:cxn ang="0">
                  <a:pos x="87" y="183"/>
                </a:cxn>
                <a:cxn ang="0">
                  <a:pos x="75" y="183"/>
                </a:cxn>
                <a:cxn ang="0">
                  <a:pos x="64" y="183"/>
                </a:cxn>
                <a:cxn ang="0">
                  <a:pos x="56" y="199"/>
                </a:cxn>
                <a:cxn ang="0">
                  <a:pos x="52" y="215"/>
                </a:cxn>
                <a:cxn ang="0">
                  <a:pos x="52" y="223"/>
                </a:cxn>
                <a:cxn ang="0">
                  <a:pos x="48" y="219"/>
                </a:cxn>
                <a:cxn ang="0">
                  <a:pos x="40" y="211"/>
                </a:cxn>
                <a:cxn ang="0">
                  <a:pos x="32" y="211"/>
                </a:cxn>
                <a:cxn ang="0">
                  <a:pos x="32" y="215"/>
                </a:cxn>
                <a:cxn ang="0">
                  <a:pos x="28" y="203"/>
                </a:cxn>
                <a:cxn ang="0">
                  <a:pos x="16" y="199"/>
                </a:cxn>
                <a:cxn ang="0">
                  <a:pos x="12" y="191"/>
                </a:cxn>
                <a:cxn ang="0">
                  <a:pos x="16" y="191"/>
                </a:cxn>
                <a:cxn ang="0">
                  <a:pos x="8" y="187"/>
                </a:cxn>
                <a:cxn ang="0">
                  <a:pos x="4" y="175"/>
                </a:cxn>
                <a:cxn ang="0">
                  <a:pos x="0" y="167"/>
                </a:cxn>
                <a:cxn ang="0">
                  <a:pos x="0" y="159"/>
                </a:cxn>
                <a:cxn ang="0">
                  <a:pos x="4" y="163"/>
                </a:cxn>
                <a:cxn ang="0">
                  <a:pos x="12" y="159"/>
                </a:cxn>
                <a:cxn ang="0">
                  <a:pos x="40" y="155"/>
                </a:cxn>
                <a:cxn ang="0">
                  <a:pos x="52" y="151"/>
                </a:cxn>
                <a:cxn ang="0">
                  <a:pos x="56" y="147"/>
                </a:cxn>
                <a:cxn ang="0">
                  <a:pos x="60" y="135"/>
                </a:cxn>
                <a:cxn ang="0">
                  <a:pos x="60" y="119"/>
                </a:cxn>
                <a:cxn ang="0">
                  <a:pos x="60" y="83"/>
                </a:cxn>
                <a:cxn ang="0">
                  <a:pos x="79" y="79"/>
                </a:cxn>
                <a:cxn ang="0">
                  <a:pos x="95" y="63"/>
                </a:cxn>
                <a:cxn ang="0">
                  <a:pos x="127" y="40"/>
                </a:cxn>
                <a:cxn ang="0">
                  <a:pos x="155" y="16"/>
                </a:cxn>
                <a:cxn ang="0">
                  <a:pos x="179" y="0"/>
                </a:cxn>
                <a:cxn ang="0">
                  <a:pos x="195" y="4"/>
                </a:cxn>
                <a:cxn ang="0">
                  <a:pos x="203" y="8"/>
                </a:cxn>
                <a:cxn ang="0">
                  <a:pos x="219" y="12"/>
                </a:cxn>
                <a:cxn ang="0">
                  <a:pos x="227" y="28"/>
                </a:cxn>
                <a:cxn ang="0">
                  <a:pos x="231" y="48"/>
                </a:cxn>
                <a:cxn ang="0">
                  <a:pos x="231" y="52"/>
                </a:cxn>
                <a:cxn ang="0">
                  <a:pos x="235" y="63"/>
                </a:cxn>
                <a:cxn ang="0">
                  <a:pos x="231" y="91"/>
                </a:cxn>
                <a:cxn ang="0">
                  <a:pos x="231" y="127"/>
                </a:cxn>
                <a:cxn ang="0">
                  <a:pos x="215" y="147"/>
                </a:cxn>
                <a:cxn ang="0">
                  <a:pos x="203" y="163"/>
                </a:cxn>
                <a:cxn ang="0">
                  <a:pos x="203" y="171"/>
                </a:cxn>
                <a:cxn ang="0">
                  <a:pos x="199" y="171"/>
                </a:cxn>
                <a:cxn ang="0">
                  <a:pos x="195" y="187"/>
                </a:cxn>
                <a:cxn ang="0">
                  <a:pos x="187" y="191"/>
                </a:cxn>
                <a:cxn ang="0">
                  <a:pos x="187" y="195"/>
                </a:cxn>
                <a:cxn ang="0">
                  <a:pos x="175" y="195"/>
                </a:cxn>
                <a:cxn ang="0">
                  <a:pos x="167" y="191"/>
                </a:cxn>
                <a:cxn ang="0">
                  <a:pos x="163" y="191"/>
                </a:cxn>
                <a:cxn ang="0">
                  <a:pos x="159" y="191"/>
                </a:cxn>
                <a:cxn ang="0">
                  <a:pos x="155" y="191"/>
                </a:cxn>
                <a:cxn ang="0">
                  <a:pos x="147" y="195"/>
                </a:cxn>
                <a:cxn ang="0">
                  <a:pos x="143" y="203"/>
                </a:cxn>
                <a:cxn ang="0">
                  <a:pos x="131" y="199"/>
                </a:cxn>
                <a:cxn ang="0">
                  <a:pos x="123" y="195"/>
                </a:cxn>
                <a:cxn ang="0">
                  <a:pos x="119" y="195"/>
                </a:cxn>
                <a:cxn ang="0">
                  <a:pos x="107" y="195"/>
                </a:cxn>
              </a:cxnLst>
              <a:rect l="0" t="0" r="r" b="b"/>
              <a:pathLst>
                <a:path w="239" h="223">
                  <a:moveTo>
                    <a:pt x="103" y="199"/>
                  </a:moveTo>
                  <a:lnTo>
                    <a:pt x="99" y="199"/>
                  </a:lnTo>
                  <a:lnTo>
                    <a:pt x="99" y="195"/>
                  </a:lnTo>
                  <a:lnTo>
                    <a:pt x="99" y="195"/>
                  </a:lnTo>
                  <a:lnTo>
                    <a:pt x="95" y="191"/>
                  </a:lnTo>
                  <a:lnTo>
                    <a:pt x="95" y="191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91" y="187"/>
                  </a:lnTo>
                  <a:lnTo>
                    <a:pt x="87" y="187"/>
                  </a:lnTo>
                  <a:lnTo>
                    <a:pt x="87" y="183"/>
                  </a:lnTo>
                  <a:lnTo>
                    <a:pt x="87" y="183"/>
                  </a:lnTo>
                  <a:lnTo>
                    <a:pt x="83" y="183"/>
                  </a:lnTo>
                  <a:lnTo>
                    <a:pt x="83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9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5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71" y="183"/>
                  </a:lnTo>
                  <a:lnTo>
                    <a:pt x="68" y="183"/>
                  </a:lnTo>
                  <a:lnTo>
                    <a:pt x="64" y="183"/>
                  </a:lnTo>
                  <a:lnTo>
                    <a:pt x="60" y="187"/>
                  </a:lnTo>
                  <a:lnTo>
                    <a:pt x="60" y="187"/>
                  </a:lnTo>
                  <a:lnTo>
                    <a:pt x="60" y="191"/>
                  </a:lnTo>
                  <a:lnTo>
                    <a:pt x="60" y="191"/>
                  </a:lnTo>
                  <a:lnTo>
                    <a:pt x="60" y="195"/>
                  </a:lnTo>
                  <a:lnTo>
                    <a:pt x="60" y="199"/>
                  </a:lnTo>
                  <a:lnTo>
                    <a:pt x="56" y="199"/>
                  </a:lnTo>
                  <a:lnTo>
                    <a:pt x="56" y="203"/>
                  </a:lnTo>
                  <a:lnTo>
                    <a:pt x="56" y="203"/>
                  </a:lnTo>
                  <a:lnTo>
                    <a:pt x="52" y="207"/>
                  </a:lnTo>
                  <a:lnTo>
                    <a:pt x="52" y="207"/>
                  </a:lnTo>
                  <a:lnTo>
                    <a:pt x="52" y="211"/>
                  </a:lnTo>
                  <a:lnTo>
                    <a:pt x="52" y="211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5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19"/>
                  </a:lnTo>
                  <a:lnTo>
                    <a:pt x="52" y="223"/>
                  </a:lnTo>
                  <a:lnTo>
                    <a:pt x="52" y="223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8" y="219"/>
                  </a:lnTo>
                  <a:lnTo>
                    <a:pt x="44" y="219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4" y="215"/>
                  </a:lnTo>
                  <a:lnTo>
                    <a:pt x="40" y="211"/>
                  </a:lnTo>
                  <a:lnTo>
                    <a:pt x="40" y="211"/>
                  </a:lnTo>
                  <a:lnTo>
                    <a:pt x="40" y="207"/>
                  </a:lnTo>
                  <a:lnTo>
                    <a:pt x="40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6" y="211"/>
                  </a:lnTo>
                  <a:lnTo>
                    <a:pt x="32" y="211"/>
                  </a:lnTo>
                  <a:lnTo>
                    <a:pt x="32" y="211"/>
                  </a:lnTo>
                  <a:lnTo>
                    <a:pt x="32" y="215"/>
                  </a:lnTo>
                  <a:lnTo>
                    <a:pt x="32" y="215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9"/>
                  </a:lnTo>
                  <a:lnTo>
                    <a:pt x="32" y="215"/>
                  </a:lnTo>
                  <a:lnTo>
                    <a:pt x="28" y="211"/>
                  </a:lnTo>
                  <a:lnTo>
                    <a:pt x="28" y="211"/>
                  </a:lnTo>
                  <a:lnTo>
                    <a:pt x="28" y="207"/>
                  </a:lnTo>
                  <a:lnTo>
                    <a:pt x="28" y="207"/>
                  </a:lnTo>
                  <a:lnTo>
                    <a:pt x="32" y="207"/>
                  </a:lnTo>
                  <a:lnTo>
                    <a:pt x="28" y="207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8" y="203"/>
                  </a:lnTo>
                  <a:lnTo>
                    <a:pt x="24" y="203"/>
                  </a:lnTo>
                  <a:lnTo>
                    <a:pt x="24" y="207"/>
                  </a:lnTo>
                  <a:lnTo>
                    <a:pt x="20" y="203"/>
                  </a:lnTo>
                  <a:lnTo>
                    <a:pt x="16" y="199"/>
                  </a:lnTo>
                  <a:lnTo>
                    <a:pt x="12" y="199"/>
                  </a:lnTo>
                  <a:lnTo>
                    <a:pt x="12" y="199"/>
                  </a:lnTo>
                  <a:lnTo>
                    <a:pt x="12" y="195"/>
                  </a:lnTo>
                  <a:lnTo>
                    <a:pt x="12" y="195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6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91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12" y="187"/>
                  </a:lnTo>
                  <a:lnTo>
                    <a:pt x="8" y="187"/>
                  </a:lnTo>
                  <a:lnTo>
                    <a:pt x="4" y="187"/>
                  </a:lnTo>
                  <a:lnTo>
                    <a:pt x="4" y="183"/>
                  </a:lnTo>
                  <a:lnTo>
                    <a:pt x="4" y="183"/>
                  </a:lnTo>
                  <a:lnTo>
                    <a:pt x="4" y="179"/>
                  </a:lnTo>
                  <a:lnTo>
                    <a:pt x="0" y="175"/>
                  </a:lnTo>
                  <a:lnTo>
                    <a:pt x="0" y="175"/>
                  </a:lnTo>
                  <a:lnTo>
                    <a:pt x="4" y="175"/>
                  </a:lnTo>
                  <a:lnTo>
                    <a:pt x="0" y="175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71"/>
                  </a:lnTo>
                  <a:lnTo>
                    <a:pt x="0" y="167"/>
                  </a:lnTo>
                  <a:lnTo>
                    <a:pt x="0" y="167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63"/>
                  </a:lnTo>
                  <a:lnTo>
                    <a:pt x="0" y="159"/>
                  </a:lnTo>
                  <a:lnTo>
                    <a:pt x="0" y="159"/>
                  </a:lnTo>
                  <a:lnTo>
                    <a:pt x="0" y="163"/>
                  </a:lnTo>
                  <a:lnTo>
                    <a:pt x="4" y="163"/>
                  </a:lnTo>
                  <a:lnTo>
                    <a:pt x="4" y="159"/>
                  </a:lnTo>
                  <a:lnTo>
                    <a:pt x="4" y="159"/>
                  </a:lnTo>
                  <a:lnTo>
                    <a:pt x="4" y="163"/>
                  </a:lnTo>
                  <a:lnTo>
                    <a:pt x="4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8" y="163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2" y="159"/>
                  </a:lnTo>
                  <a:lnTo>
                    <a:pt x="16" y="155"/>
                  </a:lnTo>
                  <a:lnTo>
                    <a:pt x="24" y="155"/>
                  </a:lnTo>
                  <a:lnTo>
                    <a:pt x="24" y="155"/>
                  </a:lnTo>
                  <a:lnTo>
                    <a:pt x="36" y="155"/>
                  </a:lnTo>
                  <a:lnTo>
                    <a:pt x="36" y="155"/>
                  </a:lnTo>
                  <a:lnTo>
                    <a:pt x="40" y="155"/>
                  </a:lnTo>
                  <a:lnTo>
                    <a:pt x="40" y="155"/>
                  </a:lnTo>
                  <a:lnTo>
                    <a:pt x="40" y="151"/>
                  </a:lnTo>
                  <a:lnTo>
                    <a:pt x="44" y="151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5"/>
                  </a:lnTo>
                  <a:lnTo>
                    <a:pt x="48" y="151"/>
                  </a:lnTo>
                  <a:lnTo>
                    <a:pt x="52" y="151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2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7"/>
                  </a:lnTo>
                  <a:lnTo>
                    <a:pt x="56" y="143"/>
                  </a:lnTo>
                  <a:lnTo>
                    <a:pt x="56" y="139"/>
                  </a:lnTo>
                  <a:lnTo>
                    <a:pt x="56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35"/>
                  </a:lnTo>
                  <a:lnTo>
                    <a:pt x="60" y="127"/>
                  </a:lnTo>
                  <a:lnTo>
                    <a:pt x="60" y="127"/>
                  </a:lnTo>
                  <a:lnTo>
                    <a:pt x="60" y="123"/>
                  </a:lnTo>
                  <a:lnTo>
                    <a:pt x="60" y="123"/>
                  </a:lnTo>
                  <a:lnTo>
                    <a:pt x="60" y="119"/>
                  </a:lnTo>
                  <a:lnTo>
                    <a:pt x="60" y="115"/>
                  </a:lnTo>
                  <a:lnTo>
                    <a:pt x="60" y="111"/>
                  </a:lnTo>
                  <a:lnTo>
                    <a:pt x="60" y="103"/>
                  </a:lnTo>
                  <a:lnTo>
                    <a:pt x="60" y="91"/>
                  </a:lnTo>
                  <a:lnTo>
                    <a:pt x="60" y="91"/>
                  </a:lnTo>
                  <a:lnTo>
                    <a:pt x="60" y="87"/>
                  </a:lnTo>
                  <a:lnTo>
                    <a:pt x="60" y="83"/>
                  </a:lnTo>
                  <a:lnTo>
                    <a:pt x="60" y="83"/>
                  </a:lnTo>
                  <a:lnTo>
                    <a:pt x="64" y="83"/>
                  </a:lnTo>
                  <a:lnTo>
                    <a:pt x="64" y="83"/>
                  </a:lnTo>
                  <a:lnTo>
                    <a:pt x="71" y="79"/>
                  </a:lnTo>
                  <a:lnTo>
                    <a:pt x="75" y="79"/>
                  </a:lnTo>
                  <a:lnTo>
                    <a:pt x="79" y="79"/>
                  </a:lnTo>
                  <a:lnTo>
                    <a:pt x="79" y="79"/>
                  </a:lnTo>
                  <a:lnTo>
                    <a:pt x="83" y="79"/>
                  </a:lnTo>
                  <a:lnTo>
                    <a:pt x="83" y="79"/>
                  </a:lnTo>
                  <a:lnTo>
                    <a:pt x="87" y="75"/>
                  </a:lnTo>
                  <a:lnTo>
                    <a:pt x="87" y="75"/>
                  </a:lnTo>
                  <a:lnTo>
                    <a:pt x="91" y="71"/>
                  </a:lnTo>
                  <a:lnTo>
                    <a:pt x="95" y="67"/>
                  </a:lnTo>
                  <a:lnTo>
                    <a:pt x="95" y="63"/>
                  </a:lnTo>
                  <a:lnTo>
                    <a:pt x="99" y="59"/>
                  </a:lnTo>
                  <a:lnTo>
                    <a:pt x="107" y="52"/>
                  </a:lnTo>
                  <a:lnTo>
                    <a:pt x="111" y="48"/>
                  </a:lnTo>
                  <a:lnTo>
                    <a:pt x="111" y="48"/>
                  </a:lnTo>
                  <a:lnTo>
                    <a:pt x="115" y="48"/>
                  </a:lnTo>
                  <a:lnTo>
                    <a:pt x="119" y="44"/>
                  </a:lnTo>
                  <a:lnTo>
                    <a:pt x="127" y="40"/>
                  </a:lnTo>
                  <a:lnTo>
                    <a:pt x="127" y="36"/>
                  </a:lnTo>
                  <a:lnTo>
                    <a:pt x="131" y="32"/>
                  </a:lnTo>
                  <a:lnTo>
                    <a:pt x="139" y="28"/>
                  </a:lnTo>
                  <a:lnTo>
                    <a:pt x="143" y="24"/>
                  </a:lnTo>
                  <a:lnTo>
                    <a:pt x="147" y="20"/>
                  </a:lnTo>
                  <a:lnTo>
                    <a:pt x="151" y="20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12"/>
                  </a:lnTo>
                  <a:lnTo>
                    <a:pt x="163" y="12"/>
                  </a:lnTo>
                  <a:lnTo>
                    <a:pt x="171" y="4"/>
                  </a:lnTo>
                  <a:lnTo>
                    <a:pt x="175" y="4"/>
                  </a:lnTo>
                  <a:lnTo>
                    <a:pt x="175" y="0"/>
                  </a:lnTo>
                  <a:lnTo>
                    <a:pt x="179" y="0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3" y="4"/>
                  </a:lnTo>
                  <a:lnTo>
                    <a:pt x="187" y="4"/>
                  </a:lnTo>
                  <a:lnTo>
                    <a:pt x="191" y="4"/>
                  </a:lnTo>
                  <a:lnTo>
                    <a:pt x="195" y="4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199" y="8"/>
                  </a:lnTo>
                  <a:lnTo>
                    <a:pt x="203" y="8"/>
                  </a:lnTo>
                  <a:lnTo>
                    <a:pt x="203" y="8"/>
                  </a:lnTo>
                  <a:lnTo>
                    <a:pt x="207" y="12"/>
                  </a:lnTo>
                  <a:lnTo>
                    <a:pt x="211" y="20"/>
                  </a:lnTo>
                  <a:lnTo>
                    <a:pt x="211" y="16"/>
                  </a:lnTo>
                  <a:lnTo>
                    <a:pt x="215" y="16"/>
                  </a:lnTo>
                  <a:lnTo>
                    <a:pt x="215" y="16"/>
                  </a:lnTo>
                  <a:lnTo>
                    <a:pt x="219" y="12"/>
                  </a:lnTo>
                  <a:lnTo>
                    <a:pt x="219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2"/>
                  </a:lnTo>
                  <a:lnTo>
                    <a:pt x="223" y="16"/>
                  </a:lnTo>
                  <a:lnTo>
                    <a:pt x="227" y="28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27" y="36"/>
                  </a:lnTo>
                  <a:lnTo>
                    <a:pt x="227" y="36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27" y="40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1" y="56"/>
                  </a:lnTo>
                  <a:lnTo>
                    <a:pt x="239" y="59"/>
                  </a:lnTo>
                  <a:lnTo>
                    <a:pt x="239" y="59"/>
                  </a:lnTo>
                  <a:lnTo>
                    <a:pt x="235" y="63"/>
                  </a:lnTo>
                  <a:lnTo>
                    <a:pt x="235" y="67"/>
                  </a:lnTo>
                  <a:lnTo>
                    <a:pt x="235" y="67"/>
                  </a:lnTo>
                  <a:lnTo>
                    <a:pt x="235" y="71"/>
                  </a:lnTo>
                  <a:lnTo>
                    <a:pt x="235" y="75"/>
                  </a:lnTo>
                  <a:lnTo>
                    <a:pt x="231" y="87"/>
                  </a:lnTo>
                  <a:lnTo>
                    <a:pt x="231" y="87"/>
                  </a:lnTo>
                  <a:lnTo>
                    <a:pt x="231" y="91"/>
                  </a:lnTo>
                  <a:lnTo>
                    <a:pt x="231" y="99"/>
                  </a:lnTo>
                  <a:lnTo>
                    <a:pt x="231" y="99"/>
                  </a:lnTo>
                  <a:lnTo>
                    <a:pt x="231" y="103"/>
                  </a:lnTo>
                  <a:lnTo>
                    <a:pt x="231" y="115"/>
                  </a:lnTo>
                  <a:lnTo>
                    <a:pt x="231" y="123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31" y="127"/>
                  </a:lnTo>
                  <a:lnTo>
                    <a:pt x="227" y="127"/>
                  </a:lnTo>
                  <a:lnTo>
                    <a:pt x="227" y="131"/>
                  </a:lnTo>
                  <a:lnTo>
                    <a:pt x="223" y="131"/>
                  </a:lnTo>
                  <a:lnTo>
                    <a:pt x="223" y="135"/>
                  </a:lnTo>
                  <a:lnTo>
                    <a:pt x="215" y="143"/>
                  </a:lnTo>
                  <a:lnTo>
                    <a:pt x="215" y="147"/>
                  </a:lnTo>
                  <a:lnTo>
                    <a:pt x="211" y="151"/>
                  </a:lnTo>
                  <a:lnTo>
                    <a:pt x="211" y="151"/>
                  </a:lnTo>
                  <a:lnTo>
                    <a:pt x="207" y="155"/>
                  </a:lnTo>
                  <a:lnTo>
                    <a:pt x="207" y="155"/>
                  </a:lnTo>
                  <a:lnTo>
                    <a:pt x="207" y="159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3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67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203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1"/>
                  </a:lnTo>
                  <a:lnTo>
                    <a:pt x="199" y="179"/>
                  </a:lnTo>
                  <a:lnTo>
                    <a:pt x="203" y="183"/>
                  </a:lnTo>
                  <a:lnTo>
                    <a:pt x="203" y="183"/>
                  </a:lnTo>
                  <a:lnTo>
                    <a:pt x="199" y="183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91" y="187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7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83" y="195"/>
                  </a:lnTo>
                  <a:lnTo>
                    <a:pt x="179" y="195"/>
                  </a:lnTo>
                  <a:lnTo>
                    <a:pt x="179" y="195"/>
                  </a:lnTo>
                  <a:lnTo>
                    <a:pt x="175" y="195"/>
                  </a:lnTo>
                  <a:lnTo>
                    <a:pt x="175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71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7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63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9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5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51" y="191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7" y="195"/>
                  </a:lnTo>
                  <a:lnTo>
                    <a:pt x="143" y="195"/>
                  </a:lnTo>
                  <a:lnTo>
                    <a:pt x="143" y="199"/>
                  </a:lnTo>
                  <a:lnTo>
                    <a:pt x="143" y="203"/>
                  </a:lnTo>
                  <a:lnTo>
                    <a:pt x="143" y="203"/>
                  </a:lnTo>
                  <a:lnTo>
                    <a:pt x="139" y="203"/>
                  </a:lnTo>
                  <a:lnTo>
                    <a:pt x="135" y="199"/>
                  </a:lnTo>
                  <a:lnTo>
                    <a:pt x="135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31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7" y="199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23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5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9" y="191"/>
                  </a:lnTo>
                  <a:lnTo>
                    <a:pt x="115" y="191"/>
                  </a:lnTo>
                  <a:lnTo>
                    <a:pt x="107" y="195"/>
                  </a:lnTo>
                  <a:lnTo>
                    <a:pt x="107" y="195"/>
                  </a:lnTo>
                  <a:lnTo>
                    <a:pt x="103" y="195"/>
                  </a:lnTo>
                  <a:lnTo>
                    <a:pt x="103" y="195"/>
                  </a:lnTo>
                  <a:lnTo>
                    <a:pt x="103" y="199"/>
                  </a:lnTo>
                  <a:lnTo>
                    <a:pt x="103" y="19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2" name="Freeform 152">
              <a:extLst>
                <a:ext uri="{FF2B5EF4-FFF2-40B4-BE49-F238E27FC236}">
                  <a16:creationId xmlns:a16="http://schemas.microsoft.com/office/drawing/2014/main" id="{C2099645-FA65-AB45-8BE7-44B8B960B9B1}"/>
                </a:ext>
              </a:extLst>
            </p:cNvPr>
            <p:cNvSpPr>
              <a:spLocks noEditPoints="1"/>
            </p:cNvSpPr>
            <p:nvPr>
              <p:custDataLst>
                <p:tags r:id="rId72"/>
              </p:custDataLst>
            </p:nvPr>
          </p:nvSpPr>
          <p:spPr bwMode="gray">
            <a:xfrm>
              <a:off x="3843447" y="5645469"/>
              <a:ext cx="230690" cy="221866"/>
            </a:xfrm>
            <a:custGeom>
              <a:avLst/>
              <a:gdLst/>
              <a:ahLst/>
              <a:cxnLst>
                <a:cxn ang="0">
                  <a:pos x="135" y="132"/>
                </a:cxn>
                <a:cxn ang="0">
                  <a:pos x="127" y="132"/>
                </a:cxn>
                <a:cxn ang="0">
                  <a:pos x="119" y="124"/>
                </a:cxn>
                <a:cxn ang="0">
                  <a:pos x="111" y="128"/>
                </a:cxn>
                <a:cxn ang="0">
                  <a:pos x="103" y="136"/>
                </a:cxn>
                <a:cxn ang="0">
                  <a:pos x="95" y="152"/>
                </a:cxn>
                <a:cxn ang="0">
                  <a:pos x="87" y="164"/>
                </a:cxn>
                <a:cxn ang="0">
                  <a:pos x="83" y="168"/>
                </a:cxn>
                <a:cxn ang="0">
                  <a:pos x="75" y="172"/>
                </a:cxn>
                <a:cxn ang="0">
                  <a:pos x="67" y="168"/>
                </a:cxn>
                <a:cxn ang="0">
                  <a:pos x="63" y="172"/>
                </a:cxn>
                <a:cxn ang="0">
                  <a:pos x="63" y="172"/>
                </a:cxn>
                <a:cxn ang="0">
                  <a:pos x="63" y="168"/>
                </a:cxn>
                <a:cxn ang="0">
                  <a:pos x="55" y="172"/>
                </a:cxn>
                <a:cxn ang="0">
                  <a:pos x="43" y="168"/>
                </a:cxn>
                <a:cxn ang="0">
                  <a:pos x="39" y="160"/>
                </a:cxn>
                <a:cxn ang="0">
                  <a:pos x="43" y="156"/>
                </a:cxn>
                <a:cxn ang="0">
                  <a:pos x="39" y="152"/>
                </a:cxn>
                <a:cxn ang="0">
                  <a:pos x="32" y="140"/>
                </a:cxn>
                <a:cxn ang="0">
                  <a:pos x="20" y="136"/>
                </a:cxn>
                <a:cxn ang="0">
                  <a:pos x="20" y="132"/>
                </a:cxn>
                <a:cxn ang="0">
                  <a:pos x="12" y="136"/>
                </a:cxn>
                <a:cxn ang="0">
                  <a:pos x="0" y="132"/>
                </a:cxn>
                <a:cxn ang="0">
                  <a:pos x="4" y="120"/>
                </a:cxn>
                <a:cxn ang="0">
                  <a:pos x="0" y="104"/>
                </a:cxn>
                <a:cxn ang="0">
                  <a:pos x="4" y="88"/>
                </a:cxn>
                <a:cxn ang="0">
                  <a:pos x="12" y="76"/>
                </a:cxn>
                <a:cxn ang="0">
                  <a:pos x="16" y="64"/>
                </a:cxn>
                <a:cxn ang="0">
                  <a:pos x="16" y="56"/>
                </a:cxn>
                <a:cxn ang="0">
                  <a:pos x="12" y="40"/>
                </a:cxn>
                <a:cxn ang="0">
                  <a:pos x="16" y="28"/>
                </a:cxn>
                <a:cxn ang="0">
                  <a:pos x="24" y="16"/>
                </a:cxn>
                <a:cxn ang="0">
                  <a:pos x="28" y="0"/>
                </a:cxn>
                <a:cxn ang="0">
                  <a:pos x="43" y="0"/>
                </a:cxn>
                <a:cxn ang="0">
                  <a:pos x="55" y="4"/>
                </a:cxn>
                <a:cxn ang="0">
                  <a:pos x="67" y="16"/>
                </a:cxn>
                <a:cxn ang="0">
                  <a:pos x="83" y="8"/>
                </a:cxn>
                <a:cxn ang="0">
                  <a:pos x="95" y="16"/>
                </a:cxn>
                <a:cxn ang="0">
                  <a:pos x="107" y="16"/>
                </a:cxn>
                <a:cxn ang="0">
                  <a:pos x="119" y="8"/>
                </a:cxn>
                <a:cxn ang="0">
                  <a:pos x="135" y="8"/>
                </a:cxn>
                <a:cxn ang="0">
                  <a:pos x="147" y="12"/>
                </a:cxn>
                <a:cxn ang="0">
                  <a:pos x="159" y="4"/>
                </a:cxn>
                <a:cxn ang="0">
                  <a:pos x="171" y="8"/>
                </a:cxn>
                <a:cxn ang="0">
                  <a:pos x="175" y="24"/>
                </a:cxn>
                <a:cxn ang="0">
                  <a:pos x="183" y="32"/>
                </a:cxn>
                <a:cxn ang="0">
                  <a:pos x="179" y="36"/>
                </a:cxn>
                <a:cxn ang="0">
                  <a:pos x="175" y="44"/>
                </a:cxn>
                <a:cxn ang="0">
                  <a:pos x="167" y="56"/>
                </a:cxn>
                <a:cxn ang="0">
                  <a:pos x="159" y="68"/>
                </a:cxn>
                <a:cxn ang="0">
                  <a:pos x="155" y="80"/>
                </a:cxn>
                <a:cxn ang="0">
                  <a:pos x="151" y="96"/>
                </a:cxn>
                <a:cxn ang="0">
                  <a:pos x="143" y="104"/>
                </a:cxn>
                <a:cxn ang="0">
                  <a:pos x="143" y="112"/>
                </a:cxn>
                <a:cxn ang="0">
                  <a:pos x="67" y="172"/>
                </a:cxn>
              </a:cxnLst>
              <a:rect l="0" t="0" r="r" b="b"/>
              <a:pathLst>
                <a:path w="183" h="176">
                  <a:moveTo>
                    <a:pt x="139" y="120"/>
                  </a:moveTo>
                  <a:lnTo>
                    <a:pt x="139" y="124"/>
                  </a:lnTo>
                  <a:lnTo>
                    <a:pt x="135" y="128"/>
                  </a:lnTo>
                  <a:lnTo>
                    <a:pt x="135" y="132"/>
                  </a:lnTo>
                  <a:lnTo>
                    <a:pt x="131" y="132"/>
                  </a:lnTo>
                  <a:lnTo>
                    <a:pt x="131" y="136"/>
                  </a:lnTo>
                  <a:lnTo>
                    <a:pt x="127" y="136"/>
                  </a:lnTo>
                  <a:lnTo>
                    <a:pt x="127" y="132"/>
                  </a:lnTo>
                  <a:lnTo>
                    <a:pt x="127" y="128"/>
                  </a:lnTo>
                  <a:lnTo>
                    <a:pt x="123" y="128"/>
                  </a:lnTo>
                  <a:lnTo>
                    <a:pt x="123" y="124"/>
                  </a:lnTo>
                  <a:lnTo>
                    <a:pt x="119" y="124"/>
                  </a:lnTo>
                  <a:lnTo>
                    <a:pt x="119" y="128"/>
                  </a:lnTo>
                  <a:lnTo>
                    <a:pt x="115" y="128"/>
                  </a:lnTo>
                  <a:lnTo>
                    <a:pt x="115" y="124"/>
                  </a:lnTo>
                  <a:lnTo>
                    <a:pt x="111" y="128"/>
                  </a:lnTo>
                  <a:lnTo>
                    <a:pt x="107" y="128"/>
                  </a:lnTo>
                  <a:lnTo>
                    <a:pt x="107" y="132"/>
                  </a:lnTo>
                  <a:lnTo>
                    <a:pt x="107" y="136"/>
                  </a:lnTo>
                  <a:lnTo>
                    <a:pt x="103" y="136"/>
                  </a:lnTo>
                  <a:lnTo>
                    <a:pt x="99" y="140"/>
                  </a:lnTo>
                  <a:lnTo>
                    <a:pt x="95" y="144"/>
                  </a:lnTo>
                  <a:lnTo>
                    <a:pt x="95" y="148"/>
                  </a:lnTo>
                  <a:lnTo>
                    <a:pt x="95" y="152"/>
                  </a:lnTo>
                  <a:lnTo>
                    <a:pt x="95" y="156"/>
                  </a:lnTo>
                  <a:lnTo>
                    <a:pt x="91" y="160"/>
                  </a:lnTo>
                  <a:lnTo>
                    <a:pt x="91" y="164"/>
                  </a:lnTo>
                  <a:lnTo>
                    <a:pt x="87" y="164"/>
                  </a:lnTo>
                  <a:lnTo>
                    <a:pt x="87" y="168"/>
                  </a:lnTo>
                  <a:lnTo>
                    <a:pt x="87" y="164"/>
                  </a:lnTo>
                  <a:lnTo>
                    <a:pt x="83" y="164"/>
                  </a:lnTo>
                  <a:lnTo>
                    <a:pt x="83" y="168"/>
                  </a:lnTo>
                  <a:lnTo>
                    <a:pt x="87" y="168"/>
                  </a:lnTo>
                  <a:lnTo>
                    <a:pt x="83" y="172"/>
                  </a:lnTo>
                  <a:lnTo>
                    <a:pt x="79" y="172"/>
                  </a:lnTo>
                  <a:lnTo>
                    <a:pt x="75" y="172"/>
                  </a:lnTo>
                  <a:lnTo>
                    <a:pt x="75" y="168"/>
                  </a:lnTo>
                  <a:lnTo>
                    <a:pt x="71" y="172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7" y="172"/>
                  </a:lnTo>
                  <a:lnTo>
                    <a:pt x="67" y="168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7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63" y="172"/>
                  </a:lnTo>
                  <a:lnTo>
                    <a:pt x="63" y="176"/>
                  </a:lnTo>
                  <a:lnTo>
                    <a:pt x="59" y="172"/>
                  </a:lnTo>
                  <a:lnTo>
                    <a:pt x="63" y="172"/>
                  </a:lnTo>
                  <a:lnTo>
                    <a:pt x="63" y="168"/>
                  </a:lnTo>
                  <a:lnTo>
                    <a:pt x="59" y="172"/>
                  </a:lnTo>
                  <a:lnTo>
                    <a:pt x="59" y="176"/>
                  </a:lnTo>
                  <a:lnTo>
                    <a:pt x="55" y="176"/>
                  </a:lnTo>
                  <a:lnTo>
                    <a:pt x="55" y="172"/>
                  </a:lnTo>
                  <a:lnTo>
                    <a:pt x="55" y="176"/>
                  </a:lnTo>
                  <a:lnTo>
                    <a:pt x="51" y="176"/>
                  </a:lnTo>
                  <a:lnTo>
                    <a:pt x="47" y="172"/>
                  </a:lnTo>
                  <a:lnTo>
                    <a:pt x="43" y="168"/>
                  </a:lnTo>
                  <a:lnTo>
                    <a:pt x="43" y="164"/>
                  </a:lnTo>
                  <a:lnTo>
                    <a:pt x="39" y="160"/>
                  </a:lnTo>
                  <a:lnTo>
                    <a:pt x="43" y="160"/>
                  </a:lnTo>
                  <a:lnTo>
                    <a:pt x="39" y="160"/>
                  </a:lnTo>
                  <a:lnTo>
                    <a:pt x="39" y="156"/>
                  </a:lnTo>
                  <a:lnTo>
                    <a:pt x="43" y="156"/>
                  </a:lnTo>
                  <a:lnTo>
                    <a:pt x="43" y="152"/>
                  </a:lnTo>
                  <a:lnTo>
                    <a:pt x="43" y="156"/>
                  </a:lnTo>
                  <a:lnTo>
                    <a:pt x="39" y="156"/>
                  </a:lnTo>
                  <a:lnTo>
                    <a:pt x="39" y="152"/>
                  </a:lnTo>
                  <a:lnTo>
                    <a:pt x="43" y="152"/>
                  </a:lnTo>
                  <a:lnTo>
                    <a:pt x="39" y="152"/>
                  </a:lnTo>
                  <a:lnTo>
                    <a:pt x="35" y="148"/>
                  </a:lnTo>
                  <a:lnTo>
                    <a:pt x="35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24" y="136"/>
                  </a:lnTo>
                  <a:lnTo>
                    <a:pt x="20" y="136"/>
                  </a:lnTo>
                  <a:lnTo>
                    <a:pt x="16" y="136"/>
                  </a:lnTo>
                  <a:lnTo>
                    <a:pt x="12" y="136"/>
                  </a:lnTo>
                  <a:lnTo>
                    <a:pt x="16" y="136"/>
                  </a:lnTo>
                  <a:lnTo>
                    <a:pt x="20" y="132"/>
                  </a:lnTo>
                  <a:lnTo>
                    <a:pt x="16" y="132"/>
                  </a:lnTo>
                  <a:lnTo>
                    <a:pt x="12" y="136"/>
                  </a:lnTo>
                  <a:lnTo>
                    <a:pt x="12" y="132"/>
                  </a:lnTo>
                  <a:lnTo>
                    <a:pt x="12" y="136"/>
                  </a:lnTo>
                  <a:lnTo>
                    <a:pt x="8" y="136"/>
                  </a:lnTo>
                  <a:lnTo>
                    <a:pt x="4" y="136"/>
                  </a:lnTo>
                  <a:lnTo>
                    <a:pt x="0" y="136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4" y="124"/>
                  </a:lnTo>
                  <a:lnTo>
                    <a:pt x="4" y="120"/>
                  </a:lnTo>
                  <a:lnTo>
                    <a:pt x="0" y="116"/>
                  </a:lnTo>
                  <a:lnTo>
                    <a:pt x="0" y="112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84"/>
                  </a:lnTo>
                  <a:lnTo>
                    <a:pt x="8" y="80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6" y="72"/>
                  </a:lnTo>
                  <a:lnTo>
                    <a:pt x="16" y="68"/>
                  </a:lnTo>
                  <a:lnTo>
                    <a:pt x="16" y="64"/>
                  </a:lnTo>
                  <a:lnTo>
                    <a:pt x="16" y="60"/>
                  </a:lnTo>
                  <a:lnTo>
                    <a:pt x="20" y="60"/>
                  </a:lnTo>
                  <a:lnTo>
                    <a:pt x="20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48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5" y="0"/>
                  </a:lnTo>
                  <a:lnTo>
                    <a:pt x="39" y="0"/>
                  </a:lnTo>
                  <a:lnTo>
                    <a:pt x="43" y="0"/>
                  </a:lnTo>
                  <a:lnTo>
                    <a:pt x="47" y="0"/>
                  </a:lnTo>
                  <a:lnTo>
                    <a:pt x="51" y="0"/>
                  </a:lnTo>
                  <a:lnTo>
                    <a:pt x="51" y="4"/>
                  </a:lnTo>
                  <a:lnTo>
                    <a:pt x="55" y="4"/>
                  </a:lnTo>
                  <a:lnTo>
                    <a:pt x="59" y="8"/>
                  </a:lnTo>
                  <a:lnTo>
                    <a:pt x="63" y="12"/>
                  </a:lnTo>
                  <a:lnTo>
                    <a:pt x="63" y="16"/>
                  </a:lnTo>
                  <a:lnTo>
                    <a:pt x="67" y="16"/>
                  </a:lnTo>
                  <a:lnTo>
                    <a:pt x="67" y="12"/>
                  </a:lnTo>
                  <a:lnTo>
                    <a:pt x="71" y="12"/>
                  </a:lnTo>
                  <a:lnTo>
                    <a:pt x="79" y="8"/>
                  </a:lnTo>
                  <a:lnTo>
                    <a:pt x="83" y="8"/>
                  </a:lnTo>
                  <a:lnTo>
                    <a:pt x="83" y="12"/>
                  </a:lnTo>
                  <a:lnTo>
                    <a:pt x="87" y="12"/>
                  </a:lnTo>
                  <a:lnTo>
                    <a:pt x="91" y="16"/>
                  </a:lnTo>
                  <a:lnTo>
                    <a:pt x="95" y="16"/>
                  </a:lnTo>
                  <a:lnTo>
                    <a:pt x="99" y="16"/>
                  </a:lnTo>
                  <a:lnTo>
                    <a:pt x="103" y="20"/>
                  </a:lnTo>
                  <a:lnTo>
                    <a:pt x="107" y="20"/>
                  </a:lnTo>
                  <a:lnTo>
                    <a:pt x="107" y="16"/>
                  </a:lnTo>
                  <a:lnTo>
                    <a:pt x="107" y="12"/>
                  </a:lnTo>
                  <a:lnTo>
                    <a:pt x="111" y="12"/>
                  </a:lnTo>
                  <a:lnTo>
                    <a:pt x="115" y="8"/>
                  </a:lnTo>
                  <a:lnTo>
                    <a:pt x="119" y="8"/>
                  </a:lnTo>
                  <a:lnTo>
                    <a:pt x="123" y="8"/>
                  </a:lnTo>
                  <a:lnTo>
                    <a:pt x="127" y="8"/>
                  </a:lnTo>
                  <a:lnTo>
                    <a:pt x="131" y="8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39" y="12"/>
                  </a:lnTo>
                  <a:lnTo>
                    <a:pt x="143" y="12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8"/>
                  </a:lnTo>
                  <a:lnTo>
                    <a:pt x="155" y="4"/>
                  </a:lnTo>
                  <a:lnTo>
                    <a:pt x="159" y="4"/>
                  </a:lnTo>
                  <a:lnTo>
                    <a:pt x="163" y="0"/>
                  </a:lnTo>
                  <a:lnTo>
                    <a:pt x="167" y="0"/>
                  </a:lnTo>
                  <a:lnTo>
                    <a:pt x="167" y="4"/>
                  </a:lnTo>
                  <a:lnTo>
                    <a:pt x="171" y="8"/>
                  </a:lnTo>
                  <a:lnTo>
                    <a:pt x="171" y="12"/>
                  </a:lnTo>
                  <a:lnTo>
                    <a:pt x="175" y="16"/>
                  </a:lnTo>
                  <a:lnTo>
                    <a:pt x="175" y="20"/>
                  </a:lnTo>
                  <a:lnTo>
                    <a:pt x="175" y="24"/>
                  </a:lnTo>
                  <a:lnTo>
                    <a:pt x="175" y="28"/>
                  </a:lnTo>
                  <a:lnTo>
                    <a:pt x="179" y="28"/>
                  </a:lnTo>
                  <a:lnTo>
                    <a:pt x="183" y="28"/>
                  </a:lnTo>
                  <a:lnTo>
                    <a:pt x="183" y="32"/>
                  </a:lnTo>
                  <a:lnTo>
                    <a:pt x="179" y="32"/>
                  </a:lnTo>
                  <a:lnTo>
                    <a:pt x="183" y="32"/>
                  </a:lnTo>
                  <a:lnTo>
                    <a:pt x="183" y="36"/>
                  </a:lnTo>
                  <a:lnTo>
                    <a:pt x="179" y="36"/>
                  </a:lnTo>
                  <a:lnTo>
                    <a:pt x="179" y="40"/>
                  </a:lnTo>
                  <a:lnTo>
                    <a:pt x="183" y="40"/>
                  </a:lnTo>
                  <a:lnTo>
                    <a:pt x="179" y="44"/>
                  </a:lnTo>
                  <a:lnTo>
                    <a:pt x="175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67" y="52"/>
                  </a:lnTo>
                  <a:lnTo>
                    <a:pt x="167" y="56"/>
                  </a:lnTo>
                  <a:lnTo>
                    <a:pt x="163" y="60"/>
                  </a:lnTo>
                  <a:lnTo>
                    <a:pt x="163" y="64"/>
                  </a:lnTo>
                  <a:lnTo>
                    <a:pt x="163" y="68"/>
                  </a:lnTo>
                  <a:lnTo>
                    <a:pt x="159" y="68"/>
                  </a:lnTo>
                  <a:lnTo>
                    <a:pt x="159" y="72"/>
                  </a:lnTo>
                  <a:lnTo>
                    <a:pt x="159" y="76"/>
                  </a:lnTo>
                  <a:lnTo>
                    <a:pt x="159" y="80"/>
                  </a:lnTo>
                  <a:lnTo>
                    <a:pt x="155" y="80"/>
                  </a:lnTo>
                  <a:lnTo>
                    <a:pt x="155" y="84"/>
                  </a:lnTo>
                  <a:lnTo>
                    <a:pt x="155" y="88"/>
                  </a:lnTo>
                  <a:lnTo>
                    <a:pt x="155" y="92"/>
                  </a:lnTo>
                  <a:lnTo>
                    <a:pt x="151" y="96"/>
                  </a:lnTo>
                  <a:lnTo>
                    <a:pt x="147" y="96"/>
                  </a:lnTo>
                  <a:lnTo>
                    <a:pt x="147" y="100"/>
                  </a:lnTo>
                  <a:lnTo>
                    <a:pt x="143" y="100"/>
                  </a:lnTo>
                  <a:lnTo>
                    <a:pt x="143" y="104"/>
                  </a:lnTo>
                  <a:lnTo>
                    <a:pt x="147" y="104"/>
                  </a:lnTo>
                  <a:lnTo>
                    <a:pt x="143" y="104"/>
                  </a:lnTo>
                  <a:lnTo>
                    <a:pt x="143" y="108"/>
                  </a:lnTo>
                  <a:lnTo>
                    <a:pt x="143" y="112"/>
                  </a:lnTo>
                  <a:lnTo>
                    <a:pt x="143" y="116"/>
                  </a:lnTo>
                  <a:lnTo>
                    <a:pt x="139" y="116"/>
                  </a:lnTo>
                  <a:lnTo>
                    <a:pt x="139" y="120"/>
                  </a:lnTo>
                  <a:close/>
                  <a:moveTo>
                    <a:pt x="67" y="172"/>
                  </a:moveTo>
                  <a:lnTo>
                    <a:pt x="71" y="172"/>
                  </a:lnTo>
                  <a:lnTo>
                    <a:pt x="67" y="17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3" name="Freeform 153">
              <a:extLst>
                <a:ext uri="{FF2B5EF4-FFF2-40B4-BE49-F238E27FC236}">
                  <a16:creationId xmlns:a16="http://schemas.microsoft.com/office/drawing/2014/main" id="{49CBBA7A-9673-A940-BED4-9F9C3FA02B0F}"/>
                </a:ext>
              </a:extLst>
            </p:cNvPr>
            <p:cNvSpPr>
              <a:spLocks/>
            </p:cNvSpPr>
            <p:nvPr>
              <p:custDataLst>
                <p:tags r:id="rId73"/>
              </p:custDataLst>
            </p:nvPr>
          </p:nvSpPr>
          <p:spPr bwMode="gray">
            <a:xfrm>
              <a:off x="4345168" y="5988353"/>
              <a:ext cx="35297" cy="40339"/>
            </a:xfrm>
            <a:custGeom>
              <a:avLst/>
              <a:gdLst/>
              <a:ahLst/>
              <a:cxnLst>
                <a:cxn ang="0">
                  <a:pos x="0" y="32"/>
                </a:cxn>
                <a:cxn ang="0">
                  <a:pos x="0" y="32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0"/>
                </a:cxn>
                <a:cxn ang="0">
                  <a:pos x="4" y="20"/>
                </a:cxn>
                <a:cxn ang="0">
                  <a:pos x="4" y="16"/>
                </a:cxn>
                <a:cxn ang="0">
                  <a:pos x="4" y="16"/>
                </a:cxn>
                <a:cxn ang="0">
                  <a:pos x="4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16" y="8"/>
                </a:cxn>
                <a:cxn ang="0">
                  <a:pos x="16" y="8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4" y="0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8" y="8"/>
                </a:cxn>
                <a:cxn ang="0">
                  <a:pos x="28" y="12"/>
                </a:cxn>
                <a:cxn ang="0">
                  <a:pos x="28" y="16"/>
                </a:cxn>
                <a:cxn ang="0">
                  <a:pos x="28" y="20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8" y="24"/>
                </a:cxn>
                <a:cxn ang="0">
                  <a:pos x="24" y="24"/>
                </a:cxn>
                <a:cxn ang="0">
                  <a:pos x="24" y="24"/>
                </a:cxn>
                <a:cxn ang="0">
                  <a:pos x="20" y="24"/>
                </a:cxn>
                <a:cxn ang="0">
                  <a:pos x="16" y="28"/>
                </a:cxn>
                <a:cxn ang="0">
                  <a:pos x="16" y="24"/>
                </a:cxn>
                <a:cxn ang="0">
                  <a:pos x="16" y="32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32"/>
                </a:cxn>
              </a:cxnLst>
              <a:rect l="0" t="0" r="r" b="b"/>
              <a:pathLst>
                <a:path w="28" h="32">
                  <a:moveTo>
                    <a:pt x="0" y="32"/>
                  </a:move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20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2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16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0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8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8"/>
                  </a:lnTo>
                  <a:lnTo>
                    <a:pt x="16" y="32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4" name="Freeform 154">
              <a:extLst>
                <a:ext uri="{FF2B5EF4-FFF2-40B4-BE49-F238E27FC236}">
                  <a16:creationId xmlns:a16="http://schemas.microsoft.com/office/drawing/2014/main" id="{C608988A-F093-424F-98AA-7C6F1DB613B5}"/>
                </a:ext>
              </a:extLst>
            </p:cNvPr>
            <p:cNvSpPr>
              <a:spLocks noEditPoints="1"/>
            </p:cNvSpPr>
            <p:nvPr>
              <p:custDataLst>
                <p:tags r:id="rId74"/>
              </p:custDataLst>
            </p:nvPr>
          </p:nvSpPr>
          <p:spPr bwMode="gray">
            <a:xfrm>
              <a:off x="3917823" y="5927844"/>
              <a:ext cx="15127" cy="35297"/>
            </a:xfrm>
            <a:custGeom>
              <a:avLst/>
              <a:gdLst/>
              <a:ahLst/>
              <a:cxnLst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12" y="0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0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4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</a:cxnLst>
              <a:rect l="0" t="0" r="r" b="b"/>
              <a:pathLst>
                <a:path w="12" h="28">
                  <a:moveTo>
                    <a:pt x="12" y="0"/>
                  </a:move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2" y="0"/>
                  </a:lnTo>
                  <a:close/>
                  <a:moveTo>
                    <a:pt x="0" y="28"/>
                  </a:move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5" name="Freeform 155">
              <a:extLst>
                <a:ext uri="{FF2B5EF4-FFF2-40B4-BE49-F238E27FC236}">
                  <a16:creationId xmlns:a16="http://schemas.microsoft.com/office/drawing/2014/main" id="{E2E2AF9C-2A21-D74B-9186-C2ACF9ACA97F}"/>
                </a:ext>
              </a:extLst>
            </p:cNvPr>
            <p:cNvSpPr>
              <a:spLocks/>
            </p:cNvSpPr>
            <p:nvPr>
              <p:custDataLst>
                <p:tags r:id="rId75"/>
              </p:custDataLst>
            </p:nvPr>
          </p:nvSpPr>
          <p:spPr bwMode="gray">
            <a:xfrm>
              <a:off x="3455181" y="5574875"/>
              <a:ext cx="121018" cy="105891"/>
            </a:xfrm>
            <a:custGeom>
              <a:avLst/>
              <a:gdLst/>
              <a:ahLst/>
              <a:cxnLst>
                <a:cxn ang="0">
                  <a:pos x="88" y="84"/>
                </a:cxn>
                <a:cxn ang="0">
                  <a:pos x="84" y="84"/>
                </a:cxn>
                <a:cxn ang="0">
                  <a:pos x="76" y="84"/>
                </a:cxn>
                <a:cxn ang="0">
                  <a:pos x="68" y="80"/>
                </a:cxn>
                <a:cxn ang="0">
                  <a:pos x="64" y="76"/>
                </a:cxn>
                <a:cxn ang="0">
                  <a:pos x="48" y="76"/>
                </a:cxn>
                <a:cxn ang="0">
                  <a:pos x="32" y="80"/>
                </a:cxn>
                <a:cxn ang="0">
                  <a:pos x="24" y="80"/>
                </a:cxn>
                <a:cxn ang="0">
                  <a:pos x="16" y="84"/>
                </a:cxn>
                <a:cxn ang="0">
                  <a:pos x="16" y="76"/>
                </a:cxn>
                <a:cxn ang="0">
                  <a:pos x="24" y="80"/>
                </a:cxn>
                <a:cxn ang="0">
                  <a:pos x="28" y="80"/>
                </a:cxn>
                <a:cxn ang="0">
                  <a:pos x="32" y="76"/>
                </a:cxn>
                <a:cxn ang="0">
                  <a:pos x="32" y="76"/>
                </a:cxn>
                <a:cxn ang="0">
                  <a:pos x="28" y="76"/>
                </a:cxn>
                <a:cxn ang="0">
                  <a:pos x="24" y="76"/>
                </a:cxn>
                <a:cxn ang="0">
                  <a:pos x="16" y="76"/>
                </a:cxn>
                <a:cxn ang="0">
                  <a:pos x="12" y="80"/>
                </a:cxn>
                <a:cxn ang="0">
                  <a:pos x="12" y="72"/>
                </a:cxn>
                <a:cxn ang="0">
                  <a:pos x="28" y="68"/>
                </a:cxn>
                <a:cxn ang="0">
                  <a:pos x="36" y="64"/>
                </a:cxn>
                <a:cxn ang="0">
                  <a:pos x="40" y="60"/>
                </a:cxn>
                <a:cxn ang="0">
                  <a:pos x="44" y="64"/>
                </a:cxn>
                <a:cxn ang="0">
                  <a:pos x="48" y="68"/>
                </a:cxn>
                <a:cxn ang="0">
                  <a:pos x="56" y="64"/>
                </a:cxn>
                <a:cxn ang="0">
                  <a:pos x="60" y="60"/>
                </a:cxn>
                <a:cxn ang="0">
                  <a:pos x="52" y="60"/>
                </a:cxn>
                <a:cxn ang="0">
                  <a:pos x="48" y="60"/>
                </a:cxn>
                <a:cxn ang="0">
                  <a:pos x="44" y="60"/>
                </a:cxn>
                <a:cxn ang="0">
                  <a:pos x="44" y="56"/>
                </a:cxn>
                <a:cxn ang="0">
                  <a:pos x="36" y="56"/>
                </a:cxn>
                <a:cxn ang="0">
                  <a:pos x="32" y="60"/>
                </a:cxn>
                <a:cxn ang="0">
                  <a:pos x="16" y="60"/>
                </a:cxn>
                <a:cxn ang="0">
                  <a:pos x="16" y="56"/>
                </a:cxn>
                <a:cxn ang="0">
                  <a:pos x="16" y="52"/>
                </a:cxn>
                <a:cxn ang="0">
                  <a:pos x="20" y="48"/>
                </a:cxn>
                <a:cxn ang="0">
                  <a:pos x="16" y="52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40"/>
                </a:cxn>
                <a:cxn ang="0">
                  <a:pos x="8" y="36"/>
                </a:cxn>
                <a:cxn ang="0">
                  <a:pos x="12" y="24"/>
                </a:cxn>
                <a:cxn ang="0">
                  <a:pos x="16" y="20"/>
                </a:cxn>
                <a:cxn ang="0">
                  <a:pos x="20" y="8"/>
                </a:cxn>
                <a:cxn ang="0">
                  <a:pos x="24" y="4"/>
                </a:cxn>
                <a:cxn ang="0">
                  <a:pos x="32" y="4"/>
                </a:cxn>
                <a:cxn ang="0">
                  <a:pos x="40" y="4"/>
                </a:cxn>
                <a:cxn ang="0">
                  <a:pos x="48" y="4"/>
                </a:cxn>
                <a:cxn ang="0">
                  <a:pos x="60" y="12"/>
                </a:cxn>
                <a:cxn ang="0">
                  <a:pos x="64" y="16"/>
                </a:cxn>
                <a:cxn ang="0">
                  <a:pos x="72" y="28"/>
                </a:cxn>
                <a:cxn ang="0">
                  <a:pos x="72" y="32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8" y="52"/>
                </a:cxn>
                <a:cxn ang="0">
                  <a:pos x="84" y="56"/>
                </a:cxn>
                <a:cxn ang="0">
                  <a:pos x="88" y="64"/>
                </a:cxn>
                <a:cxn ang="0">
                  <a:pos x="92" y="68"/>
                </a:cxn>
                <a:cxn ang="0">
                  <a:pos x="96" y="76"/>
                </a:cxn>
              </a:cxnLst>
              <a:rect l="0" t="0" r="r" b="b"/>
              <a:pathLst>
                <a:path w="96" h="84">
                  <a:moveTo>
                    <a:pt x="96" y="80"/>
                  </a:moveTo>
                  <a:lnTo>
                    <a:pt x="96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0"/>
                  </a:lnTo>
                  <a:lnTo>
                    <a:pt x="92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4"/>
                  </a:lnTo>
                  <a:lnTo>
                    <a:pt x="88" y="80"/>
                  </a:lnTo>
                  <a:lnTo>
                    <a:pt x="84" y="80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4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4"/>
                  </a:lnTo>
                  <a:lnTo>
                    <a:pt x="80" y="80"/>
                  </a:lnTo>
                  <a:lnTo>
                    <a:pt x="80" y="80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72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72" y="80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4" y="76"/>
                  </a:lnTo>
                  <a:lnTo>
                    <a:pt x="64" y="76"/>
                  </a:lnTo>
                  <a:lnTo>
                    <a:pt x="60" y="76"/>
                  </a:lnTo>
                  <a:lnTo>
                    <a:pt x="60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0" y="76"/>
                  </a:lnTo>
                  <a:lnTo>
                    <a:pt x="36" y="76"/>
                  </a:lnTo>
                  <a:lnTo>
                    <a:pt x="36" y="76"/>
                  </a:lnTo>
                  <a:lnTo>
                    <a:pt x="36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0" y="80"/>
                  </a:lnTo>
                  <a:lnTo>
                    <a:pt x="20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4" y="80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6" y="76"/>
                  </a:lnTo>
                  <a:lnTo>
                    <a:pt x="36" y="72"/>
                  </a:lnTo>
                  <a:lnTo>
                    <a:pt x="32" y="72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76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32" y="80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76"/>
                  </a:lnTo>
                  <a:lnTo>
                    <a:pt x="24" y="80"/>
                  </a:lnTo>
                  <a:lnTo>
                    <a:pt x="24" y="76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80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6" y="68"/>
                  </a:lnTo>
                  <a:lnTo>
                    <a:pt x="16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32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4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4" y="64"/>
                  </a:lnTo>
                  <a:lnTo>
                    <a:pt x="48" y="64"/>
                  </a:lnTo>
                  <a:lnTo>
                    <a:pt x="48" y="64"/>
                  </a:lnTo>
                  <a:lnTo>
                    <a:pt x="48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56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4"/>
                  </a:lnTo>
                  <a:lnTo>
                    <a:pt x="60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6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48" y="64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4" y="56"/>
                  </a:lnTo>
                  <a:lnTo>
                    <a:pt x="40" y="56"/>
                  </a:lnTo>
                  <a:lnTo>
                    <a:pt x="40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6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56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28" y="60"/>
                  </a:lnTo>
                  <a:lnTo>
                    <a:pt x="24" y="60"/>
                  </a:lnTo>
                  <a:lnTo>
                    <a:pt x="24" y="60"/>
                  </a:lnTo>
                  <a:lnTo>
                    <a:pt x="16" y="60"/>
                  </a:lnTo>
                  <a:lnTo>
                    <a:pt x="16" y="60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16" y="48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4" y="40"/>
                  </a:lnTo>
                  <a:lnTo>
                    <a:pt x="0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8" y="36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4"/>
                  </a:lnTo>
                  <a:lnTo>
                    <a:pt x="12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0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48" y="4"/>
                  </a:lnTo>
                  <a:lnTo>
                    <a:pt x="52" y="4"/>
                  </a:lnTo>
                  <a:lnTo>
                    <a:pt x="52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0" y="12"/>
                  </a:lnTo>
                  <a:lnTo>
                    <a:pt x="64" y="12"/>
                  </a:lnTo>
                  <a:lnTo>
                    <a:pt x="64" y="12"/>
                  </a:lnTo>
                  <a:lnTo>
                    <a:pt x="64" y="16"/>
                  </a:lnTo>
                  <a:lnTo>
                    <a:pt x="68" y="20"/>
                  </a:lnTo>
                  <a:lnTo>
                    <a:pt x="68" y="20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68" y="24"/>
                  </a:lnTo>
                  <a:lnTo>
                    <a:pt x="72" y="24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28"/>
                  </a:lnTo>
                  <a:lnTo>
                    <a:pt x="72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76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8" y="48"/>
                  </a:lnTo>
                  <a:lnTo>
                    <a:pt x="88" y="48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4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2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8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56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4" y="60"/>
                  </a:lnTo>
                  <a:lnTo>
                    <a:pt x="88" y="60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88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4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2"/>
                  </a:lnTo>
                  <a:lnTo>
                    <a:pt x="96" y="76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lnTo>
                    <a:pt x="96" y="80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6" name="Freeform 156">
              <a:extLst>
                <a:ext uri="{FF2B5EF4-FFF2-40B4-BE49-F238E27FC236}">
                  <a16:creationId xmlns:a16="http://schemas.microsoft.com/office/drawing/2014/main" id="{64E25B3F-B111-4244-9BAC-8DCB95B9A70F}"/>
                </a:ext>
              </a:extLst>
            </p:cNvPr>
            <p:cNvSpPr>
              <a:spLocks noEditPoints="1"/>
            </p:cNvSpPr>
            <p:nvPr>
              <p:custDataLst>
                <p:tags r:id="rId76"/>
              </p:custDataLst>
            </p:nvPr>
          </p:nvSpPr>
          <p:spPr bwMode="gray">
            <a:xfrm>
              <a:off x="4672925" y="6067771"/>
              <a:ext cx="180266" cy="115976"/>
            </a:xfrm>
            <a:custGeom>
              <a:avLst/>
              <a:gdLst/>
              <a:ahLst/>
              <a:cxnLst>
                <a:cxn ang="0">
                  <a:pos x="4" y="92"/>
                </a:cxn>
                <a:cxn ang="0">
                  <a:pos x="4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0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4" y="88"/>
                </a:cxn>
                <a:cxn ang="0">
                  <a:pos x="8" y="88"/>
                </a:cxn>
                <a:cxn ang="0">
                  <a:pos x="8" y="92"/>
                </a:cxn>
                <a:cxn ang="0">
                  <a:pos x="8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4" y="92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39" y="4"/>
                </a:cxn>
                <a:cxn ang="0">
                  <a:pos x="139" y="0"/>
                </a:cxn>
                <a:cxn ang="0">
                  <a:pos x="139" y="0"/>
                </a:cxn>
                <a:cxn ang="0">
                  <a:pos x="143" y="0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  <a:cxn ang="0">
                  <a:pos x="143" y="4"/>
                </a:cxn>
              </a:cxnLst>
              <a:rect l="0" t="0" r="r" b="b"/>
              <a:pathLst>
                <a:path w="143" h="92">
                  <a:moveTo>
                    <a:pt x="4" y="92"/>
                  </a:moveTo>
                  <a:lnTo>
                    <a:pt x="4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8" y="88"/>
                  </a:lnTo>
                  <a:lnTo>
                    <a:pt x="8" y="92"/>
                  </a:lnTo>
                  <a:lnTo>
                    <a:pt x="8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lnTo>
                    <a:pt x="4" y="92"/>
                  </a:lnTo>
                  <a:close/>
                  <a:moveTo>
                    <a:pt x="143" y="4"/>
                  </a:move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39" y="4"/>
                  </a:lnTo>
                  <a:lnTo>
                    <a:pt x="139" y="0"/>
                  </a:lnTo>
                  <a:lnTo>
                    <a:pt x="139" y="0"/>
                  </a:lnTo>
                  <a:lnTo>
                    <a:pt x="143" y="0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lnTo>
                    <a:pt x="143" y="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7" name="Freeform 157">
              <a:extLst>
                <a:ext uri="{FF2B5EF4-FFF2-40B4-BE49-F238E27FC236}">
                  <a16:creationId xmlns:a16="http://schemas.microsoft.com/office/drawing/2014/main" id="{132CB308-C8B1-4949-8D4E-C1409DF68E91}"/>
                </a:ext>
              </a:extLst>
            </p:cNvPr>
            <p:cNvSpPr>
              <a:spLocks noEditPoints="1"/>
            </p:cNvSpPr>
            <p:nvPr>
              <p:custDataLst>
                <p:tags r:id="rId77"/>
              </p:custDataLst>
            </p:nvPr>
          </p:nvSpPr>
          <p:spPr bwMode="gray">
            <a:xfrm>
              <a:off x="3540902" y="5736232"/>
              <a:ext cx="55467" cy="70594"/>
            </a:xfrm>
            <a:custGeom>
              <a:avLst/>
              <a:gdLst/>
              <a:ahLst/>
              <a:cxnLst>
                <a:cxn ang="0">
                  <a:pos x="24" y="52"/>
                </a:cxn>
                <a:cxn ang="0">
                  <a:pos x="20" y="52"/>
                </a:cxn>
                <a:cxn ang="0">
                  <a:pos x="12" y="48"/>
                </a:cxn>
                <a:cxn ang="0">
                  <a:pos x="12" y="44"/>
                </a:cxn>
                <a:cxn ang="0">
                  <a:pos x="12" y="44"/>
                </a:cxn>
                <a:cxn ang="0">
                  <a:pos x="16" y="44"/>
                </a:cxn>
                <a:cxn ang="0">
                  <a:pos x="12" y="44"/>
                </a:cxn>
                <a:cxn ang="0">
                  <a:pos x="8" y="40"/>
                </a:cxn>
                <a:cxn ang="0">
                  <a:pos x="4" y="36"/>
                </a:cxn>
                <a:cxn ang="0">
                  <a:pos x="4" y="32"/>
                </a:cxn>
                <a:cxn ang="0">
                  <a:pos x="4" y="32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0" y="28"/>
                </a:cxn>
                <a:cxn ang="0">
                  <a:pos x="4" y="24"/>
                </a:cxn>
                <a:cxn ang="0">
                  <a:pos x="4" y="24"/>
                </a:cxn>
                <a:cxn ang="0">
                  <a:pos x="0" y="24"/>
                </a:cxn>
                <a:cxn ang="0">
                  <a:pos x="0" y="20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0" y="16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8" y="8"/>
                </a:cxn>
                <a:cxn ang="0">
                  <a:pos x="8" y="4"/>
                </a:cxn>
                <a:cxn ang="0">
                  <a:pos x="16" y="0"/>
                </a:cxn>
                <a:cxn ang="0">
                  <a:pos x="16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4"/>
                </a:cxn>
                <a:cxn ang="0">
                  <a:pos x="36" y="8"/>
                </a:cxn>
                <a:cxn ang="0">
                  <a:pos x="40" y="12"/>
                </a:cxn>
                <a:cxn ang="0">
                  <a:pos x="36" y="16"/>
                </a:cxn>
                <a:cxn ang="0">
                  <a:pos x="40" y="16"/>
                </a:cxn>
                <a:cxn ang="0">
                  <a:pos x="40" y="20"/>
                </a:cxn>
                <a:cxn ang="0">
                  <a:pos x="40" y="24"/>
                </a:cxn>
                <a:cxn ang="0">
                  <a:pos x="40" y="28"/>
                </a:cxn>
                <a:cxn ang="0">
                  <a:pos x="44" y="28"/>
                </a:cxn>
                <a:cxn ang="0">
                  <a:pos x="44" y="32"/>
                </a:cxn>
                <a:cxn ang="0">
                  <a:pos x="40" y="32"/>
                </a:cxn>
                <a:cxn ang="0">
                  <a:pos x="40" y="36"/>
                </a:cxn>
                <a:cxn ang="0">
                  <a:pos x="36" y="40"/>
                </a:cxn>
                <a:cxn ang="0">
                  <a:pos x="36" y="44"/>
                </a:cxn>
                <a:cxn ang="0">
                  <a:pos x="32" y="48"/>
                </a:cxn>
                <a:cxn ang="0">
                  <a:pos x="32" y="48"/>
                </a:cxn>
                <a:cxn ang="0">
                  <a:pos x="28" y="52"/>
                </a:cxn>
                <a:cxn ang="0">
                  <a:pos x="28" y="56"/>
                </a:cxn>
                <a:cxn ang="0">
                  <a:pos x="8" y="40"/>
                </a:cxn>
                <a:cxn ang="0">
                  <a:pos x="8" y="40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8" y="44"/>
                </a:cxn>
                <a:cxn ang="0">
                  <a:pos x="4" y="44"/>
                </a:cxn>
              </a:cxnLst>
              <a:rect l="0" t="0" r="r" b="b"/>
              <a:pathLst>
                <a:path w="44" h="56">
                  <a:moveTo>
                    <a:pt x="24" y="56"/>
                  </a:moveTo>
                  <a:lnTo>
                    <a:pt x="24" y="56"/>
                  </a:lnTo>
                  <a:lnTo>
                    <a:pt x="24" y="56"/>
                  </a:lnTo>
                  <a:lnTo>
                    <a:pt x="24" y="52"/>
                  </a:lnTo>
                  <a:lnTo>
                    <a:pt x="24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20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4" y="40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6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4" y="32"/>
                  </a:lnTo>
                  <a:lnTo>
                    <a:pt x="0" y="32"/>
                  </a:lnTo>
                  <a:lnTo>
                    <a:pt x="0" y="32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8"/>
                  </a:lnTo>
                  <a:lnTo>
                    <a:pt x="4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0" y="28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4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4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20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0" y="16"/>
                  </a:lnTo>
                  <a:lnTo>
                    <a:pt x="4" y="16"/>
                  </a:lnTo>
                  <a:lnTo>
                    <a:pt x="4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0"/>
                  </a:lnTo>
                  <a:lnTo>
                    <a:pt x="12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16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36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16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40" y="24"/>
                  </a:lnTo>
                  <a:lnTo>
                    <a:pt x="36" y="28"/>
                  </a:lnTo>
                  <a:lnTo>
                    <a:pt x="36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4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40"/>
                  </a:lnTo>
                  <a:lnTo>
                    <a:pt x="40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32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6"/>
                  </a:lnTo>
                  <a:lnTo>
                    <a:pt x="24" y="56"/>
                  </a:lnTo>
                  <a:lnTo>
                    <a:pt x="24" y="56"/>
                  </a:lnTo>
                  <a:close/>
                  <a:moveTo>
                    <a:pt x="4" y="44"/>
                  </a:move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0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close/>
                </a:path>
              </a:pathLst>
            </a:custGeom>
            <a:solidFill>
              <a:srgbClr val="92D05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8" name="Freeform 158">
              <a:extLst>
                <a:ext uri="{FF2B5EF4-FFF2-40B4-BE49-F238E27FC236}">
                  <a16:creationId xmlns:a16="http://schemas.microsoft.com/office/drawing/2014/main" id="{72F3BC4D-E6C7-3B4B-9EBF-78D592AAB87C}"/>
                </a:ext>
              </a:extLst>
            </p:cNvPr>
            <p:cNvSpPr>
              <a:spLocks/>
            </p:cNvSpPr>
            <p:nvPr>
              <p:custDataLst>
                <p:tags r:id="rId78"/>
              </p:custDataLst>
            </p:nvPr>
          </p:nvSpPr>
          <p:spPr bwMode="gray">
            <a:xfrm>
              <a:off x="4577119" y="5685808"/>
              <a:ext cx="196654" cy="317672"/>
            </a:xfrm>
            <a:custGeom>
              <a:avLst/>
              <a:gdLst/>
              <a:ahLst/>
              <a:cxnLst>
                <a:cxn ang="0">
                  <a:pos x="84" y="24"/>
                </a:cxn>
                <a:cxn ang="0">
                  <a:pos x="100" y="16"/>
                </a:cxn>
                <a:cxn ang="0">
                  <a:pos x="116" y="12"/>
                </a:cxn>
                <a:cxn ang="0">
                  <a:pos x="128" y="12"/>
                </a:cxn>
                <a:cxn ang="0">
                  <a:pos x="144" y="8"/>
                </a:cxn>
                <a:cxn ang="0">
                  <a:pos x="152" y="4"/>
                </a:cxn>
                <a:cxn ang="0">
                  <a:pos x="152" y="16"/>
                </a:cxn>
                <a:cxn ang="0">
                  <a:pos x="152" y="32"/>
                </a:cxn>
                <a:cxn ang="0">
                  <a:pos x="152" y="32"/>
                </a:cxn>
                <a:cxn ang="0">
                  <a:pos x="148" y="48"/>
                </a:cxn>
                <a:cxn ang="0">
                  <a:pos x="140" y="60"/>
                </a:cxn>
                <a:cxn ang="0">
                  <a:pos x="136" y="72"/>
                </a:cxn>
                <a:cxn ang="0">
                  <a:pos x="132" y="84"/>
                </a:cxn>
                <a:cxn ang="0">
                  <a:pos x="124" y="92"/>
                </a:cxn>
                <a:cxn ang="0">
                  <a:pos x="120" y="108"/>
                </a:cxn>
                <a:cxn ang="0">
                  <a:pos x="112" y="128"/>
                </a:cxn>
                <a:cxn ang="0">
                  <a:pos x="104" y="136"/>
                </a:cxn>
                <a:cxn ang="0">
                  <a:pos x="96" y="148"/>
                </a:cxn>
                <a:cxn ang="0">
                  <a:pos x="88" y="160"/>
                </a:cxn>
                <a:cxn ang="0">
                  <a:pos x="80" y="172"/>
                </a:cxn>
                <a:cxn ang="0">
                  <a:pos x="68" y="180"/>
                </a:cxn>
                <a:cxn ang="0">
                  <a:pos x="60" y="188"/>
                </a:cxn>
                <a:cxn ang="0">
                  <a:pos x="48" y="200"/>
                </a:cxn>
                <a:cxn ang="0">
                  <a:pos x="40" y="208"/>
                </a:cxn>
                <a:cxn ang="0">
                  <a:pos x="28" y="220"/>
                </a:cxn>
                <a:cxn ang="0">
                  <a:pos x="20" y="228"/>
                </a:cxn>
                <a:cxn ang="0">
                  <a:pos x="12" y="240"/>
                </a:cxn>
                <a:cxn ang="0">
                  <a:pos x="8" y="252"/>
                </a:cxn>
                <a:cxn ang="0">
                  <a:pos x="0" y="220"/>
                </a:cxn>
                <a:cxn ang="0">
                  <a:pos x="4" y="164"/>
                </a:cxn>
                <a:cxn ang="0">
                  <a:pos x="16" y="144"/>
                </a:cxn>
                <a:cxn ang="0">
                  <a:pos x="28" y="140"/>
                </a:cxn>
                <a:cxn ang="0">
                  <a:pos x="36" y="132"/>
                </a:cxn>
                <a:cxn ang="0">
                  <a:pos x="52" y="132"/>
                </a:cxn>
                <a:cxn ang="0">
                  <a:pos x="68" y="120"/>
                </a:cxn>
                <a:cxn ang="0">
                  <a:pos x="76" y="108"/>
                </a:cxn>
                <a:cxn ang="0">
                  <a:pos x="100" y="80"/>
                </a:cxn>
                <a:cxn ang="0">
                  <a:pos x="88" y="76"/>
                </a:cxn>
                <a:cxn ang="0">
                  <a:pos x="76" y="68"/>
                </a:cxn>
                <a:cxn ang="0">
                  <a:pos x="52" y="60"/>
                </a:cxn>
                <a:cxn ang="0">
                  <a:pos x="36" y="48"/>
                </a:cxn>
                <a:cxn ang="0">
                  <a:pos x="28" y="36"/>
                </a:cxn>
                <a:cxn ang="0">
                  <a:pos x="28" y="24"/>
                </a:cxn>
                <a:cxn ang="0">
                  <a:pos x="32" y="12"/>
                </a:cxn>
                <a:cxn ang="0">
                  <a:pos x="40" y="24"/>
                </a:cxn>
                <a:cxn ang="0">
                  <a:pos x="52" y="32"/>
                </a:cxn>
                <a:cxn ang="0">
                  <a:pos x="60" y="28"/>
                </a:cxn>
                <a:cxn ang="0">
                  <a:pos x="68" y="24"/>
                </a:cxn>
              </a:cxnLst>
              <a:rect l="0" t="0" r="r" b="b"/>
              <a:pathLst>
                <a:path w="156" h="252">
                  <a:moveTo>
                    <a:pt x="72" y="24"/>
                  </a:moveTo>
                  <a:lnTo>
                    <a:pt x="76" y="24"/>
                  </a:lnTo>
                  <a:lnTo>
                    <a:pt x="80" y="24"/>
                  </a:lnTo>
                  <a:lnTo>
                    <a:pt x="84" y="24"/>
                  </a:lnTo>
                  <a:lnTo>
                    <a:pt x="88" y="20"/>
                  </a:lnTo>
                  <a:lnTo>
                    <a:pt x="92" y="20"/>
                  </a:lnTo>
                  <a:lnTo>
                    <a:pt x="96" y="16"/>
                  </a:lnTo>
                  <a:lnTo>
                    <a:pt x="100" y="16"/>
                  </a:lnTo>
                  <a:lnTo>
                    <a:pt x="104" y="16"/>
                  </a:lnTo>
                  <a:lnTo>
                    <a:pt x="108" y="16"/>
                  </a:lnTo>
                  <a:lnTo>
                    <a:pt x="112" y="12"/>
                  </a:lnTo>
                  <a:lnTo>
                    <a:pt x="116" y="12"/>
                  </a:lnTo>
                  <a:lnTo>
                    <a:pt x="116" y="16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8" y="12"/>
                  </a:lnTo>
                  <a:lnTo>
                    <a:pt x="132" y="12"/>
                  </a:lnTo>
                  <a:lnTo>
                    <a:pt x="136" y="12"/>
                  </a:lnTo>
                  <a:lnTo>
                    <a:pt x="140" y="8"/>
                  </a:lnTo>
                  <a:lnTo>
                    <a:pt x="144" y="8"/>
                  </a:lnTo>
                  <a:lnTo>
                    <a:pt x="144" y="4"/>
                  </a:lnTo>
                  <a:lnTo>
                    <a:pt x="148" y="0"/>
                  </a:lnTo>
                  <a:lnTo>
                    <a:pt x="148" y="4"/>
                  </a:lnTo>
                  <a:lnTo>
                    <a:pt x="152" y="4"/>
                  </a:lnTo>
                  <a:lnTo>
                    <a:pt x="156" y="4"/>
                  </a:lnTo>
                  <a:lnTo>
                    <a:pt x="152" y="8"/>
                  </a:lnTo>
                  <a:lnTo>
                    <a:pt x="152" y="12"/>
                  </a:lnTo>
                  <a:lnTo>
                    <a:pt x="152" y="16"/>
                  </a:lnTo>
                  <a:lnTo>
                    <a:pt x="152" y="20"/>
                  </a:lnTo>
                  <a:lnTo>
                    <a:pt x="152" y="24"/>
                  </a:lnTo>
                  <a:lnTo>
                    <a:pt x="152" y="28"/>
                  </a:lnTo>
                  <a:lnTo>
                    <a:pt x="152" y="32"/>
                  </a:lnTo>
                  <a:lnTo>
                    <a:pt x="152" y="28"/>
                  </a:lnTo>
                  <a:lnTo>
                    <a:pt x="156" y="28"/>
                  </a:lnTo>
                  <a:lnTo>
                    <a:pt x="156" y="32"/>
                  </a:lnTo>
                  <a:lnTo>
                    <a:pt x="152" y="32"/>
                  </a:lnTo>
                  <a:lnTo>
                    <a:pt x="148" y="32"/>
                  </a:lnTo>
                  <a:lnTo>
                    <a:pt x="148" y="36"/>
                  </a:lnTo>
                  <a:lnTo>
                    <a:pt x="148" y="44"/>
                  </a:lnTo>
                  <a:lnTo>
                    <a:pt x="148" y="48"/>
                  </a:lnTo>
                  <a:lnTo>
                    <a:pt x="148" y="52"/>
                  </a:lnTo>
                  <a:lnTo>
                    <a:pt x="144" y="52"/>
                  </a:lnTo>
                  <a:lnTo>
                    <a:pt x="144" y="56"/>
                  </a:lnTo>
                  <a:lnTo>
                    <a:pt x="140" y="60"/>
                  </a:lnTo>
                  <a:lnTo>
                    <a:pt x="140" y="64"/>
                  </a:lnTo>
                  <a:lnTo>
                    <a:pt x="140" y="68"/>
                  </a:lnTo>
                  <a:lnTo>
                    <a:pt x="136" y="68"/>
                  </a:lnTo>
                  <a:lnTo>
                    <a:pt x="136" y="72"/>
                  </a:lnTo>
                  <a:lnTo>
                    <a:pt x="136" y="76"/>
                  </a:lnTo>
                  <a:lnTo>
                    <a:pt x="132" y="76"/>
                  </a:lnTo>
                  <a:lnTo>
                    <a:pt x="132" y="80"/>
                  </a:lnTo>
                  <a:lnTo>
                    <a:pt x="132" y="84"/>
                  </a:lnTo>
                  <a:lnTo>
                    <a:pt x="128" y="84"/>
                  </a:lnTo>
                  <a:lnTo>
                    <a:pt x="128" y="88"/>
                  </a:lnTo>
                  <a:lnTo>
                    <a:pt x="128" y="92"/>
                  </a:lnTo>
                  <a:lnTo>
                    <a:pt x="124" y="92"/>
                  </a:lnTo>
                  <a:lnTo>
                    <a:pt x="124" y="96"/>
                  </a:lnTo>
                  <a:lnTo>
                    <a:pt x="124" y="100"/>
                  </a:lnTo>
                  <a:lnTo>
                    <a:pt x="120" y="104"/>
                  </a:lnTo>
                  <a:lnTo>
                    <a:pt x="120" y="108"/>
                  </a:lnTo>
                  <a:lnTo>
                    <a:pt x="116" y="116"/>
                  </a:lnTo>
                  <a:lnTo>
                    <a:pt x="116" y="120"/>
                  </a:lnTo>
                  <a:lnTo>
                    <a:pt x="112" y="124"/>
                  </a:lnTo>
                  <a:lnTo>
                    <a:pt x="112" y="128"/>
                  </a:lnTo>
                  <a:lnTo>
                    <a:pt x="108" y="128"/>
                  </a:lnTo>
                  <a:lnTo>
                    <a:pt x="108" y="132"/>
                  </a:lnTo>
                  <a:lnTo>
                    <a:pt x="108" y="136"/>
                  </a:lnTo>
                  <a:lnTo>
                    <a:pt x="104" y="136"/>
                  </a:lnTo>
                  <a:lnTo>
                    <a:pt x="104" y="140"/>
                  </a:lnTo>
                  <a:lnTo>
                    <a:pt x="100" y="144"/>
                  </a:lnTo>
                  <a:lnTo>
                    <a:pt x="100" y="148"/>
                  </a:lnTo>
                  <a:lnTo>
                    <a:pt x="96" y="148"/>
                  </a:lnTo>
                  <a:lnTo>
                    <a:pt x="96" y="152"/>
                  </a:lnTo>
                  <a:lnTo>
                    <a:pt x="92" y="156"/>
                  </a:lnTo>
                  <a:lnTo>
                    <a:pt x="92" y="160"/>
                  </a:lnTo>
                  <a:lnTo>
                    <a:pt x="88" y="160"/>
                  </a:lnTo>
                  <a:lnTo>
                    <a:pt x="84" y="164"/>
                  </a:lnTo>
                  <a:lnTo>
                    <a:pt x="84" y="168"/>
                  </a:lnTo>
                  <a:lnTo>
                    <a:pt x="80" y="168"/>
                  </a:lnTo>
                  <a:lnTo>
                    <a:pt x="80" y="172"/>
                  </a:lnTo>
                  <a:lnTo>
                    <a:pt x="76" y="172"/>
                  </a:lnTo>
                  <a:lnTo>
                    <a:pt x="76" y="176"/>
                  </a:lnTo>
                  <a:lnTo>
                    <a:pt x="72" y="180"/>
                  </a:lnTo>
                  <a:lnTo>
                    <a:pt x="68" y="180"/>
                  </a:lnTo>
                  <a:lnTo>
                    <a:pt x="68" y="184"/>
                  </a:lnTo>
                  <a:lnTo>
                    <a:pt x="64" y="184"/>
                  </a:lnTo>
                  <a:lnTo>
                    <a:pt x="64" y="188"/>
                  </a:lnTo>
                  <a:lnTo>
                    <a:pt x="60" y="188"/>
                  </a:lnTo>
                  <a:lnTo>
                    <a:pt x="56" y="188"/>
                  </a:lnTo>
                  <a:lnTo>
                    <a:pt x="52" y="192"/>
                  </a:lnTo>
                  <a:lnTo>
                    <a:pt x="48" y="196"/>
                  </a:lnTo>
                  <a:lnTo>
                    <a:pt x="48" y="200"/>
                  </a:lnTo>
                  <a:lnTo>
                    <a:pt x="44" y="200"/>
                  </a:lnTo>
                  <a:lnTo>
                    <a:pt x="44" y="204"/>
                  </a:lnTo>
                  <a:lnTo>
                    <a:pt x="40" y="204"/>
                  </a:lnTo>
                  <a:lnTo>
                    <a:pt x="40" y="208"/>
                  </a:lnTo>
                  <a:lnTo>
                    <a:pt x="36" y="212"/>
                  </a:lnTo>
                  <a:lnTo>
                    <a:pt x="32" y="212"/>
                  </a:lnTo>
                  <a:lnTo>
                    <a:pt x="32" y="216"/>
                  </a:lnTo>
                  <a:lnTo>
                    <a:pt x="28" y="220"/>
                  </a:lnTo>
                  <a:lnTo>
                    <a:pt x="28" y="224"/>
                  </a:lnTo>
                  <a:lnTo>
                    <a:pt x="24" y="224"/>
                  </a:lnTo>
                  <a:lnTo>
                    <a:pt x="24" y="228"/>
                  </a:lnTo>
                  <a:lnTo>
                    <a:pt x="20" y="228"/>
                  </a:lnTo>
                  <a:lnTo>
                    <a:pt x="20" y="232"/>
                  </a:lnTo>
                  <a:lnTo>
                    <a:pt x="16" y="236"/>
                  </a:lnTo>
                  <a:lnTo>
                    <a:pt x="16" y="240"/>
                  </a:lnTo>
                  <a:lnTo>
                    <a:pt x="12" y="240"/>
                  </a:lnTo>
                  <a:lnTo>
                    <a:pt x="12" y="244"/>
                  </a:lnTo>
                  <a:lnTo>
                    <a:pt x="12" y="248"/>
                  </a:lnTo>
                  <a:lnTo>
                    <a:pt x="8" y="248"/>
                  </a:lnTo>
                  <a:lnTo>
                    <a:pt x="8" y="252"/>
                  </a:lnTo>
                  <a:lnTo>
                    <a:pt x="4" y="248"/>
                  </a:lnTo>
                  <a:lnTo>
                    <a:pt x="0" y="240"/>
                  </a:lnTo>
                  <a:lnTo>
                    <a:pt x="0" y="236"/>
                  </a:lnTo>
                  <a:lnTo>
                    <a:pt x="0" y="220"/>
                  </a:lnTo>
                  <a:lnTo>
                    <a:pt x="0" y="196"/>
                  </a:lnTo>
                  <a:lnTo>
                    <a:pt x="0" y="180"/>
                  </a:lnTo>
                  <a:lnTo>
                    <a:pt x="0" y="172"/>
                  </a:lnTo>
                  <a:lnTo>
                    <a:pt x="4" y="164"/>
                  </a:lnTo>
                  <a:lnTo>
                    <a:pt x="12" y="152"/>
                  </a:lnTo>
                  <a:lnTo>
                    <a:pt x="12" y="148"/>
                  </a:lnTo>
                  <a:lnTo>
                    <a:pt x="16" y="148"/>
                  </a:lnTo>
                  <a:lnTo>
                    <a:pt x="16" y="144"/>
                  </a:lnTo>
                  <a:lnTo>
                    <a:pt x="20" y="144"/>
                  </a:lnTo>
                  <a:lnTo>
                    <a:pt x="24" y="144"/>
                  </a:lnTo>
                  <a:lnTo>
                    <a:pt x="28" y="144"/>
                  </a:lnTo>
                  <a:lnTo>
                    <a:pt x="28" y="140"/>
                  </a:lnTo>
                  <a:lnTo>
                    <a:pt x="28" y="136"/>
                  </a:lnTo>
                  <a:lnTo>
                    <a:pt x="32" y="136"/>
                  </a:lnTo>
                  <a:lnTo>
                    <a:pt x="36" y="136"/>
                  </a:lnTo>
                  <a:lnTo>
                    <a:pt x="36" y="132"/>
                  </a:lnTo>
                  <a:lnTo>
                    <a:pt x="40" y="132"/>
                  </a:lnTo>
                  <a:lnTo>
                    <a:pt x="44" y="132"/>
                  </a:lnTo>
                  <a:lnTo>
                    <a:pt x="48" y="132"/>
                  </a:lnTo>
                  <a:lnTo>
                    <a:pt x="52" y="132"/>
                  </a:lnTo>
                  <a:lnTo>
                    <a:pt x="60" y="132"/>
                  </a:lnTo>
                  <a:lnTo>
                    <a:pt x="60" y="128"/>
                  </a:lnTo>
                  <a:lnTo>
                    <a:pt x="64" y="124"/>
                  </a:lnTo>
                  <a:lnTo>
                    <a:pt x="68" y="120"/>
                  </a:lnTo>
                  <a:lnTo>
                    <a:pt x="68" y="116"/>
                  </a:lnTo>
                  <a:lnTo>
                    <a:pt x="72" y="112"/>
                  </a:lnTo>
                  <a:lnTo>
                    <a:pt x="76" y="112"/>
                  </a:lnTo>
                  <a:lnTo>
                    <a:pt x="76" y="108"/>
                  </a:lnTo>
                  <a:lnTo>
                    <a:pt x="84" y="100"/>
                  </a:lnTo>
                  <a:lnTo>
                    <a:pt x="88" y="92"/>
                  </a:lnTo>
                  <a:lnTo>
                    <a:pt x="96" y="84"/>
                  </a:lnTo>
                  <a:lnTo>
                    <a:pt x="100" y="80"/>
                  </a:lnTo>
                  <a:lnTo>
                    <a:pt x="104" y="76"/>
                  </a:lnTo>
                  <a:lnTo>
                    <a:pt x="100" y="76"/>
                  </a:lnTo>
                  <a:lnTo>
                    <a:pt x="92" y="76"/>
                  </a:lnTo>
                  <a:lnTo>
                    <a:pt x="88" y="76"/>
                  </a:lnTo>
                  <a:lnTo>
                    <a:pt x="88" y="72"/>
                  </a:lnTo>
                  <a:lnTo>
                    <a:pt x="84" y="72"/>
                  </a:lnTo>
                  <a:lnTo>
                    <a:pt x="80" y="72"/>
                  </a:lnTo>
                  <a:lnTo>
                    <a:pt x="76" y="68"/>
                  </a:lnTo>
                  <a:lnTo>
                    <a:pt x="68" y="68"/>
                  </a:lnTo>
                  <a:lnTo>
                    <a:pt x="64" y="64"/>
                  </a:lnTo>
                  <a:lnTo>
                    <a:pt x="60" y="64"/>
                  </a:lnTo>
                  <a:lnTo>
                    <a:pt x="52" y="60"/>
                  </a:lnTo>
                  <a:lnTo>
                    <a:pt x="44" y="56"/>
                  </a:lnTo>
                  <a:lnTo>
                    <a:pt x="40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2" y="44"/>
                  </a:lnTo>
                  <a:lnTo>
                    <a:pt x="32" y="40"/>
                  </a:lnTo>
                  <a:lnTo>
                    <a:pt x="28" y="40"/>
                  </a:lnTo>
                  <a:lnTo>
                    <a:pt x="28" y="36"/>
                  </a:lnTo>
                  <a:lnTo>
                    <a:pt x="24" y="32"/>
                  </a:lnTo>
                  <a:lnTo>
                    <a:pt x="24" y="28"/>
                  </a:lnTo>
                  <a:lnTo>
                    <a:pt x="24" y="24"/>
                  </a:lnTo>
                  <a:lnTo>
                    <a:pt x="28" y="24"/>
                  </a:lnTo>
                  <a:lnTo>
                    <a:pt x="28" y="20"/>
                  </a:lnTo>
                  <a:lnTo>
                    <a:pt x="28" y="16"/>
                  </a:lnTo>
                  <a:lnTo>
                    <a:pt x="32" y="16"/>
                  </a:lnTo>
                  <a:lnTo>
                    <a:pt x="32" y="12"/>
                  </a:lnTo>
                  <a:lnTo>
                    <a:pt x="36" y="12"/>
                  </a:lnTo>
                  <a:lnTo>
                    <a:pt x="36" y="16"/>
                  </a:lnTo>
                  <a:lnTo>
                    <a:pt x="40" y="20"/>
                  </a:lnTo>
                  <a:lnTo>
                    <a:pt x="40" y="24"/>
                  </a:lnTo>
                  <a:lnTo>
                    <a:pt x="44" y="24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6" y="28"/>
                  </a:lnTo>
                  <a:lnTo>
                    <a:pt x="56" y="32"/>
                  </a:lnTo>
                  <a:lnTo>
                    <a:pt x="60" y="32"/>
                  </a:lnTo>
                  <a:lnTo>
                    <a:pt x="60" y="28"/>
                  </a:lnTo>
                  <a:lnTo>
                    <a:pt x="64" y="28"/>
                  </a:lnTo>
                  <a:lnTo>
                    <a:pt x="64" y="24"/>
                  </a:lnTo>
                  <a:lnTo>
                    <a:pt x="64" y="28"/>
                  </a:lnTo>
                  <a:lnTo>
                    <a:pt x="68" y="24"/>
                  </a:lnTo>
                  <a:lnTo>
                    <a:pt x="72" y="24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89" name="Freeform 160">
              <a:extLst>
                <a:ext uri="{FF2B5EF4-FFF2-40B4-BE49-F238E27FC236}">
                  <a16:creationId xmlns:a16="http://schemas.microsoft.com/office/drawing/2014/main" id="{B2C1EEAA-4D36-B54F-B262-1D301362CC9A}"/>
                </a:ext>
              </a:extLst>
            </p:cNvPr>
            <p:cNvSpPr>
              <a:spLocks/>
            </p:cNvSpPr>
            <p:nvPr>
              <p:custDataLst>
                <p:tags r:id="rId79"/>
              </p:custDataLst>
            </p:nvPr>
          </p:nvSpPr>
          <p:spPr bwMode="gray">
            <a:xfrm>
              <a:off x="4380465" y="6566970"/>
              <a:ext cx="25212" cy="39078"/>
            </a:xfrm>
            <a:custGeom>
              <a:avLst/>
              <a:gdLst/>
              <a:ahLst/>
              <a:cxnLst>
                <a:cxn ang="0">
                  <a:pos x="0" y="19"/>
                </a:cxn>
                <a:cxn ang="0">
                  <a:pos x="0" y="23"/>
                </a:cxn>
                <a:cxn ang="0">
                  <a:pos x="0" y="23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9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5"/>
                </a:cxn>
                <a:cxn ang="0">
                  <a:pos x="0" y="12"/>
                </a:cxn>
                <a:cxn ang="0">
                  <a:pos x="4" y="12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8" y="0"/>
                </a:cxn>
                <a:cxn ang="0">
                  <a:pos x="8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20" y="8"/>
                </a:cxn>
                <a:cxn ang="0">
                  <a:pos x="20" y="8"/>
                </a:cxn>
                <a:cxn ang="0">
                  <a:pos x="20" y="12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15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20" y="23"/>
                </a:cxn>
                <a:cxn ang="0">
                  <a:pos x="16" y="23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27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6" y="31"/>
                </a:cxn>
                <a:cxn ang="0">
                  <a:pos x="12" y="31"/>
                </a:cxn>
                <a:cxn ang="0">
                  <a:pos x="12" y="31"/>
                </a:cxn>
                <a:cxn ang="0">
                  <a:pos x="8" y="31"/>
                </a:cxn>
                <a:cxn ang="0">
                  <a:pos x="8" y="31"/>
                </a:cxn>
                <a:cxn ang="0">
                  <a:pos x="4" y="31"/>
                </a:cxn>
                <a:cxn ang="0">
                  <a:pos x="4" y="31"/>
                </a:cxn>
                <a:cxn ang="0">
                  <a:pos x="4" y="27"/>
                </a:cxn>
                <a:cxn ang="0">
                  <a:pos x="4" y="23"/>
                </a:cxn>
                <a:cxn ang="0">
                  <a:pos x="0" y="23"/>
                </a:cxn>
                <a:cxn ang="0">
                  <a:pos x="0" y="19"/>
                </a:cxn>
              </a:cxnLst>
              <a:rect l="0" t="0" r="r" b="b"/>
              <a:pathLst>
                <a:path w="20" h="31">
                  <a:moveTo>
                    <a:pt x="0" y="19"/>
                  </a:moveTo>
                  <a:lnTo>
                    <a:pt x="0" y="23"/>
                  </a:lnTo>
                  <a:lnTo>
                    <a:pt x="0" y="23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9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5"/>
                  </a:lnTo>
                  <a:lnTo>
                    <a:pt x="0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8" y="0"/>
                  </a:lnTo>
                  <a:lnTo>
                    <a:pt x="8" y="0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12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15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20" y="23"/>
                  </a:lnTo>
                  <a:lnTo>
                    <a:pt x="16" y="23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27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6" y="31"/>
                  </a:lnTo>
                  <a:lnTo>
                    <a:pt x="12" y="31"/>
                  </a:lnTo>
                  <a:lnTo>
                    <a:pt x="12" y="31"/>
                  </a:lnTo>
                  <a:lnTo>
                    <a:pt x="8" y="31"/>
                  </a:lnTo>
                  <a:lnTo>
                    <a:pt x="8" y="31"/>
                  </a:lnTo>
                  <a:lnTo>
                    <a:pt x="4" y="31"/>
                  </a:lnTo>
                  <a:lnTo>
                    <a:pt x="4" y="31"/>
                  </a:lnTo>
                  <a:lnTo>
                    <a:pt x="4" y="27"/>
                  </a:lnTo>
                  <a:lnTo>
                    <a:pt x="4" y="23"/>
                  </a:lnTo>
                  <a:lnTo>
                    <a:pt x="0" y="23"/>
                  </a:lnTo>
                  <a:lnTo>
                    <a:pt x="0" y="19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0" name="Freeform 161">
              <a:extLst>
                <a:ext uri="{FF2B5EF4-FFF2-40B4-BE49-F238E27FC236}">
                  <a16:creationId xmlns:a16="http://schemas.microsoft.com/office/drawing/2014/main" id="{DDB2062F-0DEE-3F4C-93AE-14DC37168B5F}"/>
                </a:ext>
              </a:extLst>
            </p:cNvPr>
            <p:cNvSpPr>
              <a:spLocks noEditPoints="1"/>
            </p:cNvSpPr>
            <p:nvPr>
              <p:custDataLst>
                <p:tags r:id="rId80"/>
              </p:custDataLst>
            </p:nvPr>
          </p:nvSpPr>
          <p:spPr bwMode="gray">
            <a:xfrm>
              <a:off x="4350210" y="5988353"/>
              <a:ext cx="211782" cy="245817"/>
            </a:xfrm>
            <a:custGeom>
              <a:avLst/>
              <a:gdLst/>
              <a:ahLst/>
              <a:cxnLst>
                <a:cxn ang="0">
                  <a:pos x="68" y="159"/>
                </a:cxn>
                <a:cxn ang="0">
                  <a:pos x="56" y="155"/>
                </a:cxn>
                <a:cxn ang="0">
                  <a:pos x="44" y="147"/>
                </a:cxn>
                <a:cxn ang="0">
                  <a:pos x="32" y="139"/>
                </a:cxn>
                <a:cxn ang="0">
                  <a:pos x="24" y="131"/>
                </a:cxn>
                <a:cxn ang="0">
                  <a:pos x="20" y="119"/>
                </a:cxn>
                <a:cxn ang="0">
                  <a:pos x="16" y="107"/>
                </a:cxn>
                <a:cxn ang="0">
                  <a:pos x="4" y="95"/>
                </a:cxn>
                <a:cxn ang="0">
                  <a:pos x="4" y="79"/>
                </a:cxn>
                <a:cxn ang="0">
                  <a:pos x="0" y="67"/>
                </a:cxn>
                <a:cxn ang="0">
                  <a:pos x="12" y="59"/>
                </a:cxn>
                <a:cxn ang="0">
                  <a:pos x="20" y="47"/>
                </a:cxn>
                <a:cxn ang="0">
                  <a:pos x="24" y="36"/>
                </a:cxn>
                <a:cxn ang="0">
                  <a:pos x="20" y="24"/>
                </a:cxn>
                <a:cxn ang="0">
                  <a:pos x="24" y="12"/>
                </a:cxn>
                <a:cxn ang="0">
                  <a:pos x="20" y="0"/>
                </a:cxn>
                <a:cxn ang="0">
                  <a:pos x="36" y="0"/>
                </a:cxn>
                <a:cxn ang="0">
                  <a:pos x="60" y="0"/>
                </a:cxn>
                <a:cxn ang="0">
                  <a:pos x="84" y="8"/>
                </a:cxn>
                <a:cxn ang="0">
                  <a:pos x="104" y="20"/>
                </a:cxn>
                <a:cxn ang="0">
                  <a:pos x="120" y="32"/>
                </a:cxn>
                <a:cxn ang="0">
                  <a:pos x="128" y="43"/>
                </a:cxn>
                <a:cxn ang="0">
                  <a:pos x="140" y="59"/>
                </a:cxn>
                <a:cxn ang="0">
                  <a:pos x="152" y="71"/>
                </a:cxn>
                <a:cxn ang="0">
                  <a:pos x="144" y="87"/>
                </a:cxn>
                <a:cxn ang="0">
                  <a:pos x="148" y="99"/>
                </a:cxn>
                <a:cxn ang="0">
                  <a:pos x="156" y="111"/>
                </a:cxn>
                <a:cxn ang="0">
                  <a:pos x="152" y="123"/>
                </a:cxn>
                <a:cxn ang="0">
                  <a:pos x="152" y="135"/>
                </a:cxn>
                <a:cxn ang="0">
                  <a:pos x="152" y="143"/>
                </a:cxn>
                <a:cxn ang="0">
                  <a:pos x="156" y="151"/>
                </a:cxn>
                <a:cxn ang="0">
                  <a:pos x="160" y="167"/>
                </a:cxn>
                <a:cxn ang="0">
                  <a:pos x="168" y="167"/>
                </a:cxn>
                <a:cxn ang="0">
                  <a:pos x="160" y="179"/>
                </a:cxn>
                <a:cxn ang="0">
                  <a:pos x="152" y="187"/>
                </a:cxn>
                <a:cxn ang="0">
                  <a:pos x="136" y="191"/>
                </a:cxn>
                <a:cxn ang="0">
                  <a:pos x="128" y="191"/>
                </a:cxn>
                <a:cxn ang="0">
                  <a:pos x="124" y="195"/>
                </a:cxn>
                <a:cxn ang="0">
                  <a:pos x="108" y="195"/>
                </a:cxn>
                <a:cxn ang="0">
                  <a:pos x="92" y="195"/>
                </a:cxn>
                <a:cxn ang="0">
                  <a:pos x="84" y="187"/>
                </a:cxn>
                <a:cxn ang="0">
                  <a:pos x="84" y="175"/>
                </a:cxn>
                <a:cxn ang="0">
                  <a:pos x="80" y="163"/>
                </a:cxn>
                <a:cxn ang="0">
                  <a:pos x="160" y="75"/>
                </a:cxn>
                <a:cxn ang="0">
                  <a:pos x="160" y="83"/>
                </a:cxn>
                <a:cxn ang="0">
                  <a:pos x="152" y="91"/>
                </a:cxn>
                <a:cxn ang="0">
                  <a:pos x="156" y="95"/>
                </a:cxn>
                <a:cxn ang="0">
                  <a:pos x="152" y="91"/>
                </a:cxn>
                <a:cxn ang="0">
                  <a:pos x="156" y="127"/>
                </a:cxn>
              </a:cxnLst>
              <a:rect l="0" t="0" r="r" b="b"/>
              <a:pathLst>
                <a:path w="168" h="195">
                  <a:moveTo>
                    <a:pt x="76" y="155"/>
                  </a:moveTo>
                  <a:lnTo>
                    <a:pt x="72" y="155"/>
                  </a:lnTo>
                  <a:lnTo>
                    <a:pt x="72" y="159"/>
                  </a:lnTo>
                  <a:lnTo>
                    <a:pt x="68" y="159"/>
                  </a:lnTo>
                  <a:lnTo>
                    <a:pt x="64" y="159"/>
                  </a:lnTo>
                  <a:lnTo>
                    <a:pt x="64" y="155"/>
                  </a:lnTo>
                  <a:lnTo>
                    <a:pt x="60" y="155"/>
                  </a:lnTo>
                  <a:lnTo>
                    <a:pt x="56" y="155"/>
                  </a:lnTo>
                  <a:lnTo>
                    <a:pt x="52" y="151"/>
                  </a:lnTo>
                  <a:lnTo>
                    <a:pt x="48" y="151"/>
                  </a:lnTo>
                  <a:lnTo>
                    <a:pt x="48" y="147"/>
                  </a:lnTo>
                  <a:lnTo>
                    <a:pt x="44" y="147"/>
                  </a:lnTo>
                  <a:lnTo>
                    <a:pt x="40" y="147"/>
                  </a:lnTo>
                  <a:lnTo>
                    <a:pt x="40" y="143"/>
                  </a:lnTo>
                  <a:lnTo>
                    <a:pt x="36" y="143"/>
                  </a:lnTo>
                  <a:lnTo>
                    <a:pt x="32" y="139"/>
                  </a:lnTo>
                  <a:lnTo>
                    <a:pt x="28" y="139"/>
                  </a:lnTo>
                  <a:lnTo>
                    <a:pt x="24" y="139"/>
                  </a:lnTo>
                  <a:lnTo>
                    <a:pt x="24" y="135"/>
                  </a:lnTo>
                  <a:lnTo>
                    <a:pt x="24" y="131"/>
                  </a:lnTo>
                  <a:lnTo>
                    <a:pt x="24" y="127"/>
                  </a:lnTo>
                  <a:lnTo>
                    <a:pt x="20" y="127"/>
                  </a:lnTo>
                  <a:lnTo>
                    <a:pt x="20" y="123"/>
                  </a:lnTo>
                  <a:lnTo>
                    <a:pt x="20" y="119"/>
                  </a:lnTo>
                  <a:lnTo>
                    <a:pt x="16" y="119"/>
                  </a:lnTo>
                  <a:lnTo>
                    <a:pt x="16" y="115"/>
                  </a:lnTo>
                  <a:lnTo>
                    <a:pt x="16" y="111"/>
                  </a:lnTo>
                  <a:lnTo>
                    <a:pt x="16" y="107"/>
                  </a:lnTo>
                  <a:lnTo>
                    <a:pt x="12" y="107"/>
                  </a:lnTo>
                  <a:lnTo>
                    <a:pt x="8" y="103"/>
                  </a:lnTo>
                  <a:lnTo>
                    <a:pt x="4" y="99"/>
                  </a:lnTo>
                  <a:lnTo>
                    <a:pt x="4" y="95"/>
                  </a:lnTo>
                  <a:lnTo>
                    <a:pt x="4" y="91"/>
                  </a:lnTo>
                  <a:lnTo>
                    <a:pt x="4" y="87"/>
                  </a:lnTo>
                  <a:lnTo>
                    <a:pt x="4" y="83"/>
                  </a:lnTo>
                  <a:lnTo>
                    <a:pt x="4" y="79"/>
                  </a:lnTo>
                  <a:lnTo>
                    <a:pt x="4" y="75"/>
                  </a:lnTo>
                  <a:lnTo>
                    <a:pt x="0" y="75"/>
                  </a:lnTo>
                  <a:lnTo>
                    <a:pt x="0" y="71"/>
                  </a:lnTo>
                  <a:lnTo>
                    <a:pt x="0" y="67"/>
                  </a:lnTo>
                  <a:lnTo>
                    <a:pt x="4" y="67"/>
                  </a:lnTo>
                  <a:lnTo>
                    <a:pt x="4" y="63"/>
                  </a:lnTo>
                  <a:lnTo>
                    <a:pt x="8" y="63"/>
                  </a:lnTo>
                  <a:lnTo>
                    <a:pt x="12" y="59"/>
                  </a:lnTo>
                  <a:lnTo>
                    <a:pt x="16" y="55"/>
                  </a:lnTo>
                  <a:lnTo>
                    <a:pt x="16" y="51"/>
                  </a:lnTo>
                  <a:lnTo>
                    <a:pt x="16" y="47"/>
                  </a:lnTo>
                  <a:lnTo>
                    <a:pt x="20" y="47"/>
                  </a:lnTo>
                  <a:lnTo>
                    <a:pt x="20" y="43"/>
                  </a:lnTo>
                  <a:lnTo>
                    <a:pt x="24" y="43"/>
                  </a:lnTo>
                  <a:lnTo>
                    <a:pt x="24" y="39"/>
                  </a:lnTo>
                  <a:lnTo>
                    <a:pt x="24" y="36"/>
                  </a:lnTo>
                  <a:lnTo>
                    <a:pt x="20" y="36"/>
                  </a:lnTo>
                  <a:lnTo>
                    <a:pt x="16" y="36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4" y="24"/>
                  </a:lnTo>
                  <a:lnTo>
                    <a:pt x="24" y="20"/>
                  </a:lnTo>
                  <a:lnTo>
                    <a:pt x="24" y="16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48" y="0"/>
                  </a:lnTo>
                  <a:lnTo>
                    <a:pt x="52" y="0"/>
                  </a:lnTo>
                  <a:lnTo>
                    <a:pt x="56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72" y="0"/>
                  </a:lnTo>
                  <a:lnTo>
                    <a:pt x="80" y="4"/>
                  </a:lnTo>
                  <a:lnTo>
                    <a:pt x="84" y="8"/>
                  </a:lnTo>
                  <a:lnTo>
                    <a:pt x="92" y="12"/>
                  </a:lnTo>
                  <a:lnTo>
                    <a:pt x="96" y="16"/>
                  </a:lnTo>
                  <a:lnTo>
                    <a:pt x="100" y="20"/>
                  </a:lnTo>
                  <a:lnTo>
                    <a:pt x="104" y="20"/>
                  </a:lnTo>
                  <a:lnTo>
                    <a:pt x="104" y="24"/>
                  </a:lnTo>
                  <a:lnTo>
                    <a:pt x="108" y="24"/>
                  </a:lnTo>
                  <a:lnTo>
                    <a:pt x="112" y="28"/>
                  </a:lnTo>
                  <a:lnTo>
                    <a:pt x="120" y="32"/>
                  </a:lnTo>
                  <a:lnTo>
                    <a:pt x="124" y="36"/>
                  </a:lnTo>
                  <a:lnTo>
                    <a:pt x="128" y="36"/>
                  </a:lnTo>
                  <a:lnTo>
                    <a:pt x="128" y="39"/>
                  </a:lnTo>
                  <a:lnTo>
                    <a:pt x="128" y="43"/>
                  </a:lnTo>
                  <a:lnTo>
                    <a:pt x="128" y="47"/>
                  </a:lnTo>
                  <a:lnTo>
                    <a:pt x="132" y="47"/>
                  </a:lnTo>
                  <a:lnTo>
                    <a:pt x="140" y="55"/>
                  </a:lnTo>
                  <a:lnTo>
                    <a:pt x="140" y="59"/>
                  </a:lnTo>
                  <a:lnTo>
                    <a:pt x="144" y="59"/>
                  </a:lnTo>
                  <a:lnTo>
                    <a:pt x="148" y="63"/>
                  </a:lnTo>
                  <a:lnTo>
                    <a:pt x="152" y="67"/>
                  </a:lnTo>
                  <a:lnTo>
                    <a:pt x="152" y="71"/>
                  </a:lnTo>
                  <a:lnTo>
                    <a:pt x="148" y="75"/>
                  </a:lnTo>
                  <a:lnTo>
                    <a:pt x="148" y="79"/>
                  </a:lnTo>
                  <a:lnTo>
                    <a:pt x="148" y="83"/>
                  </a:lnTo>
                  <a:lnTo>
                    <a:pt x="144" y="87"/>
                  </a:lnTo>
                  <a:lnTo>
                    <a:pt x="144" y="91"/>
                  </a:lnTo>
                  <a:lnTo>
                    <a:pt x="144" y="95"/>
                  </a:lnTo>
                  <a:lnTo>
                    <a:pt x="144" y="99"/>
                  </a:lnTo>
                  <a:lnTo>
                    <a:pt x="148" y="99"/>
                  </a:lnTo>
                  <a:lnTo>
                    <a:pt x="152" y="103"/>
                  </a:lnTo>
                  <a:lnTo>
                    <a:pt x="152" y="107"/>
                  </a:lnTo>
                  <a:lnTo>
                    <a:pt x="156" y="107"/>
                  </a:lnTo>
                  <a:lnTo>
                    <a:pt x="156" y="111"/>
                  </a:lnTo>
                  <a:lnTo>
                    <a:pt x="156" y="115"/>
                  </a:lnTo>
                  <a:lnTo>
                    <a:pt x="152" y="115"/>
                  </a:lnTo>
                  <a:lnTo>
                    <a:pt x="152" y="119"/>
                  </a:lnTo>
                  <a:lnTo>
                    <a:pt x="152" y="123"/>
                  </a:lnTo>
                  <a:lnTo>
                    <a:pt x="156" y="123"/>
                  </a:lnTo>
                  <a:lnTo>
                    <a:pt x="156" y="127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1"/>
                  </a:lnTo>
                  <a:lnTo>
                    <a:pt x="152" y="135"/>
                  </a:lnTo>
                  <a:lnTo>
                    <a:pt x="152" y="139"/>
                  </a:lnTo>
                  <a:lnTo>
                    <a:pt x="152" y="143"/>
                  </a:lnTo>
                  <a:lnTo>
                    <a:pt x="156" y="143"/>
                  </a:lnTo>
                  <a:lnTo>
                    <a:pt x="152" y="143"/>
                  </a:lnTo>
                  <a:lnTo>
                    <a:pt x="156" y="147"/>
                  </a:lnTo>
                  <a:lnTo>
                    <a:pt x="156" y="151"/>
                  </a:lnTo>
                  <a:lnTo>
                    <a:pt x="160" y="155"/>
                  </a:lnTo>
                  <a:lnTo>
                    <a:pt x="160" y="159"/>
                  </a:lnTo>
                  <a:lnTo>
                    <a:pt x="160" y="163"/>
                  </a:lnTo>
                  <a:lnTo>
                    <a:pt x="160" y="167"/>
                  </a:lnTo>
                  <a:lnTo>
                    <a:pt x="164" y="167"/>
                  </a:lnTo>
                  <a:lnTo>
                    <a:pt x="164" y="171"/>
                  </a:lnTo>
                  <a:lnTo>
                    <a:pt x="168" y="171"/>
                  </a:lnTo>
                  <a:lnTo>
                    <a:pt x="168" y="167"/>
                  </a:lnTo>
                  <a:lnTo>
                    <a:pt x="168" y="171"/>
                  </a:lnTo>
                  <a:lnTo>
                    <a:pt x="168" y="175"/>
                  </a:lnTo>
                  <a:lnTo>
                    <a:pt x="164" y="179"/>
                  </a:lnTo>
                  <a:lnTo>
                    <a:pt x="160" y="179"/>
                  </a:lnTo>
                  <a:lnTo>
                    <a:pt x="160" y="183"/>
                  </a:lnTo>
                  <a:lnTo>
                    <a:pt x="156" y="183"/>
                  </a:lnTo>
                  <a:lnTo>
                    <a:pt x="152" y="183"/>
                  </a:lnTo>
                  <a:lnTo>
                    <a:pt x="152" y="187"/>
                  </a:lnTo>
                  <a:lnTo>
                    <a:pt x="148" y="187"/>
                  </a:lnTo>
                  <a:lnTo>
                    <a:pt x="144" y="187"/>
                  </a:lnTo>
                  <a:lnTo>
                    <a:pt x="140" y="191"/>
                  </a:lnTo>
                  <a:lnTo>
                    <a:pt x="136" y="191"/>
                  </a:lnTo>
                  <a:lnTo>
                    <a:pt x="136" y="187"/>
                  </a:lnTo>
                  <a:lnTo>
                    <a:pt x="132" y="187"/>
                  </a:lnTo>
                  <a:lnTo>
                    <a:pt x="132" y="191"/>
                  </a:lnTo>
                  <a:lnTo>
                    <a:pt x="128" y="191"/>
                  </a:lnTo>
                  <a:lnTo>
                    <a:pt x="132" y="191"/>
                  </a:lnTo>
                  <a:lnTo>
                    <a:pt x="132" y="195"/>
                  </a:lnTo>
                  <a:lnTo>
                    <a:pt x="128" y="195"/>
                  </a:lnTo>
                  <a:lnTo>
                    <a:pt x="124" y="195"/>
                  </a:lnTo>
                  <a:lnTo>
                    <a:pt x="120" y="195"/>
                  </a:lnTo>
                  <a:lnTo>
                    <a:pt x="116" y="195"/>
                  </a:lnTo>
                  <a:lnTo>
                    <a:pt x="112" y="195"/>
                  </a:lnTo>
                  <a:lnTo>
                    <a:pt x="108" y="195"/>
                  </a:lnTo>
                  <a:lnTo>
                    <a:pt x="104" y="195"/>
                  </a:lnTo>
                  <a:lnTo>
                    <a:pt x="100" y="191"/>
                  </a:lnTo>
                  <a:lnTo>
                    <a:pt x="96" y="195"/>
                  </a:lnTo>
                  <a:lnTo>
                    <a:pt x="92" y="195"/>
                  </a:lnTo>
                  <a:lnTo>
                    <a:pt x="88" y="195"/>
                  </a:lnTo>
                  <a:lnTo>
                    <a:pt x="88" y="191"/>
                  </a:lnTo>
                  <a:lnTo>
                    <a:pt x="84" y="191"/>
                  </a:lnTo>
                  <a:lnTo>
                    <a:pt x="84" y="187"/>
                  </a:lnTo>
                  <a:lnTo>
                    <a:pt x="80" y="187"/>
                  </a:lnTo>
                  <a:lnTo>
                    <a:pt x="80" y="183"/>
                  </a:lnTo>
                  <a:lnTo>
                    <a:pt x="84" y="179"/>
                  </a:lnTo>
                  <a:lnTo>
                    <a:pt x="84" y="175"/>
                  </a:lnTo>
                  <a:lnTo>
                    <a:pt x="80" y="175"/>
                  </a:lnTo>
                  <a:lnTo>
                    <a:pt x="80" y="171"/>
                  </a:lnTo>
                  <a:lnTo>
                    <a:pt x="80" y="167"/>
                  </a:lnTo>
                  <a:lnTo>
                    <a:pt x="80" y="163"/>
                  </a:lnTo>
                  <a:lnTo>
                    <a:pt x="76" y="163"/>
                  </a:lnTo>
                  <a:lnTo>
                    <a:pt x="76" y="159"/>
                  </a:lnTo>
                  <a:lnTo>
                    <a:pt x="76" y="155"/>
                  </a:lnTo>
                  <a:close/>
                  <a:moveTo>
                    <a:pt x="160" y="75"/>
                  </a:moveTo>
                  <a:lnTo>
                    <a:pt x="160" y="71"/>
                  </a:lnTo>
                  <a:lnTo>
                    <a:pt x="160" y="75"/>
                  </a:lnTo>
                  <a:lnTo>
                    <a:pt x="160" y="79"/>
                  </a:lnTo>
                  <a:lnTo>
                    <a:pt x="160" y="83"/>
                  </a:lnTo>
                  <a:lnTo>
                    <a:pt x="156" y="79"/>
                  </a:lnTo>
                  <a:lnTo>
                    <a:pt x="160" y="79"/>
                  </a:lnTo>
                  <a:lnTo>
                    <a:pt x="160" y="75"/>
                  </a:lnTo>
                  <a:close/>
                  <a:moveTo>
                    <a:pt x="152" y="91"/>
                  </a:moveTo>
                  <a:lnTo>
                    <a:pt x="152" y="87"/>
                  </a:lnTo>
                  <a:lnTo>
                    <a:pt x="152" y="91"/>
                  </a:lnTo>
                  <a:lnTo>
                    <a:pt x="156" y="91"/>
                  </a:lnTo>
                  <a:lnTo>
                    <a:pt x="156" y="95"/>
                  </a:lnTo>
                  <a:lnTo>
                    <a:pt x="156" y="99"/>
                  </a:lnTo>
                  <a:lnTo>
                    <a:pt x="156" y="95"/>
                  </a:lnTo>
                  <a:lnTo>
                    <a:pt x="152" y="95"/>
                  </a:lnTo>
                  <a:lnTo>
                    <a:pt x="152" y="91"/>
                  </a:lnTo>
                  <a:close/>
                  <a:moveTo>
                    <a:pt x="156" y="127"/>
                  </a:moveTo>
                  <a:lnTo>
                    <a:pt x="160" y="123"/>
                  </a:lnTo>
                  <a:lnTo>
                    <a:pt x="160" y="127"/>
                  </a:lnTo>
                  <a:lnTo>
                    <a:pt x="156" y="127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1" name="Freeform 162">
              <a:extLst>
                <a:ext uri="{FF2B5EF4-FFF2-40B4-BE49-F238E27FC236}">
                  <a16:creationId xmlns:a16="http://schemas.microsoft.com/office/drawing/2014/main" id="{9E4614EA-76FC-864F-9797-F47D11B88ECB}"/>
                </a:ext>
              </a:extLst>
            </p:cNvPr>
            <p:cNvSpPr>
              <a:spLocks/>
            </p:cNvSpPr>
            <p:nvPr>
              <p:custDataLst>
                <p:tags r:id="rId81"/>
              </p:custDataLst>
            </p:nvPr>
          </p:nvSpPr>
          <p:spPr bwMode="gray">
            <a:xfrm>
              <a:off x="3470309" y="5645469"/>
              <a:ext cx="60509" cy="15127"/>
            </a:xfrm>
            <a:custGeom>
              <a:avLst/>
              <a:gdLst/>
              <a:ahLst/>
              <a:cxnLst>
                <a:cxn ang="0">
                  <a:pos x="4" y="8"/>
                </a:cxn>
                <a:cxn ang="0">
                  <a:pos x="4" y="8"/>
                </a:cxn>
                <a:cxn ang="0">
                  <a:pos x="4" y="8"/>
                </a:cxn>
                <a:cxn ang="0">
                  <a:pos x="8" y="12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12" y="8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0" y="4"/>
                </a:cxn>
                <a:cxn ang="0">
                  <a:pos x="12" y="8"/>
                </a:cxn>
                <a:cxn ang="0">
                  <a:pos x="12" y="8"/>
                </a:cxn>
                <a:cxn ang="0">
                  <a:pos x="8" y="8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12" y="4"/>
                </a:cxn>
                <a:cxn ang="0">
                  <a:pos x="20" y="4"/>
                </a:cxn>
                <a:cxn ang="0">
                  <a:pos x="20" y="4"/>
                </a:cxn>
                <a:cxn ang="0">
                  <a:pos x="20" y="0"/>
                </a:cxn>
                <a:cxn ang="0">
                  <a:pos x="24" y="0"/>
                </a:cxn>
                <a:cxn ang="0">
                  <a:pos x="24" y="0"/>
                </a:cxn>
                <a:cxn ang="0">
                  <a:pos x="28" y="0"/>
                </a:cxn>
                <a:cxn ang="0">
                  <a:pos x="32" y="0"/>
                </a:cxn>
                <a:cxn ang="0">
                  <a:pos x="32" y="0"/>
                </a:cxn>
                <a:cxn ang="0">
                  <a:pos x="32" y="4"/>
                </a:cxn>
                <a:cxn ang="0">
                  <a:pos x="32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4"/>
                </a:cxn>
                <a:cxn ang="0">
                  <a:pos x="36" y="8"/>
                </a:cxn>
                <a:cxn ang="0">
                  <a:pos x="40" y="4"/>
                </a:cxn>
                <a:cxn ang="0">
                  <a:pos x="44" y="4"/>
                </a:cxn>
                <a:cxn ang="0">
                  <a:pos x="44" y="4"/>
                </a:cxn>
                <a:cxn ang="0">
                  <a:pos x="48" y="4"/>
                </a:cxn>
                <a:cxn ang="0">
                  <a:pos x="48" y="8"/>
                </a:cxn>
                <a:cxn ang="0">
                  <a:pos x="44" y="8"/>
                </a:cxn>
                <a:cxn ang="0">
                  <a:pos x="44" y="8"/>
                </a:cxn>
                <a:cxn ang="0">
                  <a:pos x="40" y="12"/>
                </a:cxn>
                <a:cxn ang="0">
                  <a:pos x="40" y="12"/>
                </a:cxn>
                <a:cxn ang="0">
                  <a:pos x="36" y="8"/>
                </a:cxn>
                <a:cxn ang="0">
                  <a:pos x="32" y="8"/>
                </a:cxn>
                <a:cxn ang="0">
                  <a:pos x="32" y="8"/>
                </a:cxn>
                <a:cxn ang="0">
                  <a:pos x="28" y="8"/>
                </a:cxn>
                <a:cxn ang="0">
                  <a:pos x="28" y="4"/>
                </a:cxn>
                <a:cxn ang="0">
                  <a:pos x="28" y="4"/>
                </a:cxn>
                <a:cxn ang="0">
                  <a:pos x="24" y="4"/>
                </a:cxn>
                <a:cxn ang="0">
                  <a:pos x="24" y="8"/>
                </a:cxn>
                <a:cxn ang="0">
                  <a:pos x="24" y="8"/>
                </a:cxn>
                <a:cxn ang="0">
                  <a:pos x="20" y="8"/>
                </a:cxn>
                <a:cxn ang="0">
                  <a:pos x="16" y="12"/>
                </a:cxn>
                <a:cxn ang="0">
                  <a:pos x="12" y="12"/>
                </a:cxn>
                <a:cxn ang="0">
                  <a:pos x="0" y="12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4"/>
                </a:cxn>
              </a:cxnLst>
              <a:rect l="0" t="0" r="r" b="b"/>
              <a:pathLst>
                <a:path w="48" h="12">
                  <a:moveTo>
                    <a:pt x="4" y="8"/>
                  </a:move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8" y="12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12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6" y="8"/>
                  </a:lnTo>
                  <a:lnTo>
                    <a:pt x="20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12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8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4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0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4" y="0"/>
                  </a:lnTo>
                  <a:lnTo>
                    <a:pt x="28" y="0"/>
                  </a:lnTo>
                  <a:lnTo>
                    <a:pt x="28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0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2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8"/>
                  </a:lnTo>
                  <a:lnTo>
                    <a:pt x="40" y="8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8" y="4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0" y="8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36" y="12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0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2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0" y="12"/>
                  </a:lnTo>
                  <a:lnTo>
                    <a:pt x="0" y="12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2" name="Freeform 163">
              <a:extLst>
                <a:ext uri="{FF2B5EF4-FFF2-40B4-BE49-F238E27FC236}">
                  <a16:creationId xmlns:a16="http://schemas.microsoft.com/office/drawing/2014/main" id="{8CDAC747-2A88-424E-95A4-0DCE6E9C4FBE}"/>
                </a:ext>
              </a:extLst>
            </p:cNvPr>
            <p:cNvSpPr>
              <a:spLocks/>
            </p:cNvSpPr>
            <p:nvPr>
              <p:custDataLst>
                <p:tags r:id="rId82"/>
              </p:custDataLst>
            </p:nvPr>
          </p:nvSpPr>
          <p:spPr bwMode="gray">
            <a:xfrm>
              <a:off x="3787981" y="5705978"/>
              <a:ext cx="40339" cy="121018"/>
            </a:xfrm>
            <a:custGeom>
              <a:avLst/>
              <a:gdLst/>
              <a:ahLst/>
              <a:cxnLst>
                <a:cxn ang="0">
                  <a:pos x="28" y="72"/>
                </a:cxn>
                <a:cxn ang="0">
                  <a:pos x="28" y="80"/>
                </a:cxn>
                <a:cxn ang="0">
                  <a:pos x="28" y="84"/>
                </a:cxn>
                <a:cxn ang="0">
                  <a:pos x="28" y="84"/>
                </a:cxn>
                <a:cxn ang="0">
                  <a:pos x="32" y="88"/>
                </a:cxn>
                <a:cxn ang="0">
                  <a:pos x="28" y="92"/>
                </a:cxn>
                <a:cxn ang="0">
                  <a:pos x="28" y="92"/>
                </a:cxn>
                <a:cxn ang="0">
                  <a:pos x="24" y="92"/>
                </a:cxn>
                <a:cxn ang="0">
                  <a:pos x="20" y="92"/>
                </a:cxn>
                <a:cxn ang="0">
                  <a:pos x="16" y="88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2" y="84"/>
                </a:cxn>
                <a:cxn ang="0">
                  <a:pos x="12" y="76"/>
                </a:cxn>
                <a:cxn ang="0">
                  <a:pos x="12" y="72"/>
                </a:cxn>
                <a:cxn ang="0">
                  <a:pos x="12" y="68"/>
                </a:cxn>
                <a:cxn ang="0">
                  <a:pos x="12" y="68"/>
                </a:cxn>
                <a:cxn ang="0">
                  <a:pos x="12" y="56"/>
                </a:cxn>
                <a:cxn ang="0">
                  <a:pos x="16" y="52"/>
                </a:cxn>
                <a:cxn ang="0">
                  <a:pos x="12" y="52"/>
                </a:cxn>
                <a:cxn ang="0">
                  <a:pos x="8" y="44"/>
                </a:cxn>
                <a:cxn ang="0">
                  <a:pos x="12" y="44"/>
                </a:cxn>
                <a:cxn ang="0">
                  <a:pos x="12" y="40"/>
                </a:cxn>
                <a:cxn ang="0">
                  <a:pos x="12" y="32"/>
                </a:cxn>
                <a:cxn ang="0">
                  <a:pos x="12" y="32"/>
                </a:cxn>
                <a:cxn ang="0">
                  <a:pos x="8" y="32"/>
                </a:cxn>
                <a:cxn ang="0">
                  <a:pos x="8" y="28"/>
                </a:cxn>
                <a:cxn ang="0">
                  <a:pos x="12" y="20"/>
                </a:cxn>
                <a:cxn ang="0">
                  <a:pos x="8" y="20"/>
                </a:cxn>
                <a:cxn ang="0">
                  <a:pos x="8" y="16"/>
                </a:cxn>
                <a:cxn ang="0">
                  <a:pos x="4" y="12"/>
                </a:cxn>
                <a:cxn ang="0">
                  <a:pos x="4" y="8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0"/>
                </a:cxn>
                <a:cxn ang="0">
                  <a:pos x="12" y="4"/>
                </a:cxn>
                <a:cxn ang="0">
                  <a:pos x="12" y="4"/>
                </a:cxn>
                <a:cxn ang="0">
                  <a:pos x="16" y="4"/>
                </a:cxn>
                <a:cxn ang="0">
                  <a:pos x="16" y="8"/>
                </a:cxn>
                <a:cxn ang="0">
                  <a:pos x="16" y="12"/>
                </a:cxn>
                <a:cxn ang="0">
                  <a:pos x="16" y="12"/>
                </a:cxn>
                <a:cxn ang="0">
                  <a:pos x="20" y="20"/>
                </a:cxn>
                <a:cxn ang="0">
                  <a:pos x="24" y="24"/>
                </a:cxn>
                <a:cxn ang="0">
                  <a:pos x="24" y="32"/>
                </a:cxn>
                <a:cxn ang="0">
                  <a:pos x="24" y="32"/>
                </a:cxn>
                <a:cxn ang="0">
                  <a:pos x="28" y="36"/>
                </a:cxn>
                <a:cxn ang="0">
                  <a:pos x="28" y="36"/>
                </a:cxn>
                <a:cxn ang="0">
                  <a:pos x="28" y="44"/>
                </a:cxn>
                <a:cxn ang="0">
                  <a:pos x="28" y="52"/>
                </a:cxn>
                <a:cxn ang="0">
                  <a:pos x="28" y="68"/>
                </a:cxn>
              </a:cxnLst>
              <a:rect l="0" t="0" r="r" b="b"/>
              <a:pathLst>
                <a:path w="32" h="96">
                  <a:moveTo>
                    <a:pt x="28" y="68"/>
                  </a:moveTo>
                  <a:lnTo>
                    <a:pt x="28" y="68"/>
                  </a:lnTo>
                  <a:lnTo>
                    <a:pt x="28" y="68"/>
                  </a:lnTo>
                  <a:lnTo>
                    <a:pt x="28" y="72"/>
                  </a:lnTo>
                  <a:lnTo>
                    <a:pt x="28" y="72"/>
                  </a:lnTo>
                  <a:lnTo>
                    <a:pt x="28" y="76"/>
                  </a:lnTo>
                  <a:lnTo>
                    <a:pt x="28" y="76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0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8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4" y="96"/>
                  </a:lnTo>
                  <a:lnTo>
                    <a:pt x="24" y="92"/>
                  </a:lnTo>
                  <a:lnTo>
                    <a:pt x="24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92"/>
                  </a:lnTo>
                  <a:lnTo>
                    <a:pt x="20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12" y="80"/>
                  </a:lnTo>
                  <a:lnTo>
                    <a:pt x="12" y="80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12" y="48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0"/>
                  </a:lnTo>
                  <a:lnTo>
                    <a:pt x="12" y="40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6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32"/>
                  </a:lnTo>
                  <a:lnTo>
                    <a:pt x="8" y="28"/>
                  </a:lnTo>
                  <a:lnTo>
                    <a:pt x="8" y="28"/>
                  </a:lnTo>
                  <a:lnTo>
                    <a:pt x="8" y="20"/>
                  </a:lnTo>
                  <a:lnTo>
                    <a:pt x="12" y="20"/>
                  </a:lnTo>
                  <a:lnTo>
                    <a:pt x="12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20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8" y="16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12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8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8" y="4"/>
                  </a:lnTo>
                  <a:lnTo>
                    <a:pt x="8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2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4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8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16" y="16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4" y="20"/>
                  </a:lnTo>
                  <a:lnTo>
                    <a:pt x="24" y="20"/>
                  </a:lnTo>
                  <a:lnTo>
                    <a:pt x="24" y="24"/>
                  </a:lnTo>
                  <a:lnTo>
                    <a:pt x="24" y="24"/>
                  </a:lnTo>
                  <a:lnTo>
                    <a:pt x="24" y="28"/>
                  </a:lnTo>
                  <a:lnTo>
                    <a:pt x="24" y="28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36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8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52"/>
                  </a:lnTo>
                  <a:lnTo>
                    <a:pt x="28" y="60"/>
                  </a:lnTo>
                  <a:lnTo>
                    <a:pt x="28" y="64"/>
                  </a:lnTo>
                  <a:lnTo>
                    <a:pt x="28" y="68"/>
                  </a:lnTo>
                  <a:lnTo>
                    <a:pt x="28" y="68"/>
                  </a:lnTo>
                  <a:lnTo>
                    <a:pt x="28" y="6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3" name="Freeform 164">
              <a:extLst>
                <a:ext uri="{FF2B5EF4-FFF2-40B4-BE49-F238E27FC236}">
                  <a16:creationId xmlns:a16="http://schemas.microsoft.com/office/drawing/2014/main" id="{21426936-4673-624D-8D8F-E96A51A774E6}"/>
                </a:ext>
              </a:extLst>
            </p:cNvPr>
            <p:cNvSpPr>
              <a:spLocks noEditPoints="1"/>
            </p:cNvSpPr>
            <p:nvPr>
              <p:custDataLst>
                <p:tags r:id="rId83"/>
              </p:custDataLst>
            </p:nvPr>
          </p:nvSpPr>
          <p:spPr bwMode="gray">
            <a:xfrm>
              <a:off x="3932951" y="5071893"/>
              <a:ext cx="80679" cy="181527"/>
            </a:xfrm>
            <a:custGeom>
              <a:avLst/>
              <a:gdLst/>
              <a:ahLst/>
              <a:cxnLst>
                <a:cxn ang="0">
                  <a:pos x="44" y="12"/>
                </a:cxn>
                <a:cxn ang="0">
                  <a:pos x="48" y="12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52" y="16"/>
                </a:cxn>
                <a:cxn ang="0">
                  <a:pos x="52" y="20"/>
                </a:cxn>
                <a:cxn ang="0">
                  <a:pos x="48" y="20"/>
                </a:cxn>
                <a:cxn ang="0">
                  <a:pos x="48" y="32"/>
                </a:cxn>
                <a:cxn ang="0">
                  <a:pos x="52" y="36"/>
                </a:cxn>
                <a:cxn ang="0">
                  <a:pos x="56" y="36"/>
                </a:cxn>
                <a:cxn ang="0">
                  <a:pos x="56" y="44"/>
                </a:cxn>
                <a:cxn ang="0">
                  <a:pos x="52" y="56"/>
                </a:cxn>
                <a:cxn ang="0">
                  <a:pos x="48" y="60"/>
                </a:cxn>
                <a:cxn ang="0">
                  <a:pos x="40" y="64"/>
                </a:cxn>
                <a:cxn ang="0">
                  <a:pos x="40" y="68"/>
                </a:cxn>
                <a:cxn ang="0">
                  <a:pos x="44" y="76"/>
                </a:cxn>
                <a:cxn ang="0">
                  <a:pos x="48" y="76"/>
                </a:cxn>
                <a:cxn ang="0">
                  <a:pos x="52" y="80"/>
                </a:cxn>
                <a:cxn ang="0">
                  <a:pos x="56" y="76"/>
                </a:cxn>
                <a:cxn ang="0">
                  <a:pos x="56" y="80"/>
                </a:cxn>
                <a:cxn ang="0">
                  <a:pos x="60" y="84"/>
                </a:cxn>
                <a:cxn ang="0">
                  <a:pos x="64" y="88"/>
                </a:cxn>
                <a:cxn ang="0">
                  <a:pos x="64" y="96"/>
                </a:cxn>
                <a:cxn ang="0">
                  <a:pos x="64" y="100"/>
                </a:cxn>
                <a:cxn ang="0">
                  <a:pos x="52" y="108"/>
                </a:cxn>
                <a:cxn ang="0">
                  <a:pos x="48" y="112"/>
                </a:cxn>
                <a:cxn ang="0">
                  <a:pos x="40" y="116"/>
                </a:cxn>
                <a:cxn ang="0">
                  <a:pos x="44" y="132"/>
                </a:cxn>
                <a:cxn ang="0">
                  <a:pos x="36" y="140"/>
                </a:cxn>
                <a:cxn ang="0">
                  <a:pos x="32" y="132"/>
                </a:cxn>
                <a:cxn ang="0">
                  <a:pos x="24" y="108"/>
                </a:cxn>
                <a:cxn ang="0">
                  <a:pos x="16" y="96"/>
                </a:cxn>
                <a:cxn ang="0">
                  <a:pos x="12" y="88"/>
                </a:cxn>
                <a:cxn ang="0">
                  <a:pos x="4" y="84"/>
                </a:cxn>
                <a:cxn ang="0">
                  <a:pos x="4" y="72"/>
                </a:cxn>
                <a:cxn ang="0">
                  <a:pos x="4" y="68"/>
                </a:cxn>
                <a:cxn ang="0">
                  <a:pos x="4" y="64"/>
                </a:cxn>
                <a:cxn ang="0">
                  <a:pos x="12" y="56"/>
                </a:cxn>
                <a:cxn ang="0">
                  <a:pos x="12" y="52"/>
                </a:cxn>
                <a:cxn ang="0">
                  <a:pos x="16" y="44"/>
                </a:cxn>
                <a:cxn ang="0">
                  <a:pos x="16" y="36"/>
                </a:cxn>
                <a:cxn ang="0">
                  <a:pos x="12" y="32"/>
                </a:cxn>
                <a:cxn ang="0">
                  <a:pos x="16" y="24"/>
                </a:cxn>
                <a:cxn ang="0">
                  <a:pos x="12" y="16"/>
                </a:cxn>
                <a:cxn ang="0">
                  <a:pos x="12" y="16"/>
                </a:cxn>
                <a:cxn ang="0">
                  <a:pos x="20" y="8"/>
                </a:cxn>
                <a:cxn ang="0">
                  <a:pos x="24" y="8"/>
                </a:cxn>
                <a:cxn ang="0">
                  <a:pos x="24" y="4"/>
                </a:cxn>
                <a:cxn ang="0">
                  <a:pos x="36" y="0"/>
                </a:cxn>
                <a:cxn ang="0">
                  <a:pos x="36" y="4"/>
                </a:cxn>
                <a:cxn ang="0">
                  <a:pos x="44" y="4"/>
                </a:cxn>
                <a:cxn ang="0">
                  <a:pos x="44" y="8"/>
                </a:cxn>
                <a:cxn ang="0">
                  <a:pos x="56" y="52"/>
                </a:cxn>
                <a:cxn ang="0">
                  <a:pos x="60" y="52"/>
                </a:cxn>
                <a:cxn ang="0">
                  <a:pos x="52" y="76"/>
                </a:cxn>
                <a:cxn ang="0">
                  <a:pos x="52" y="72"/>
                </a:cxn>
                <a:cxn ang="0">
                  <a:pos x="52" y="72"/>
                </a:cxn>
                <a:cxn ang="0">
                  <a:pos x="56" y="72"/>
                </a:cxn>
                <a:cxn ang="0">
                  <a:pos x="52" y="76"/>
                </a:cxn>
              </a:cxnLst>
              <a:rect l="0" t="0" r="r" b="b"/>
              <a:pathLst>
                <a:path w="64" h="144">
                  <a:moveTo>
                    <a:pt x="44" y="8"/>
                  </a:moveTo>
                  <a:lnTo>
                    <a:pt x="44" y="8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4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12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4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16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0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8"/>
                  </a:lnTo>
                  <a:lnTo>
                    <a:pt x="48" y="28"/>
                  </a:lnTo>
                  <a:lnTo>
                    <a:pt x="48" y="32"/>
                  </a:lnTo>
                  <a:lnTo>
                    <a:pt x="48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2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2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36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0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4"/>
                  </a:lnTo>
                  <a:lnTo>
                    <a:pt x="56" y="48"/>
                  </a:lnTo>
                  <a:lnTo>
                    <a:pt x="56" y="48"/>
                  </a:lnTo>
                  <a:lnTo>
                    <a:pt x="52" y="52"/>
                  </a:lnTo>
                  <a:lnTo>
                    <a:pt x="52" y="52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52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56"/>
                  </a:lnTo>
                  <a:lnTo>
                    <a:pt x="48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4" y="60"/>
                  </a:lnTo>
                  <a:lnTo>
                    <a:pt x="40" y="60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4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0" y="68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2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4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48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80"/>
                  </a:lnTo>
                  <a:lnTo>
                    <a:pt x="52" y="80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76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0"/>
                  </a:lnTo>
                  <a:lnTo>
                    <a:pt x="56" y="84"/>
                  </a:lnTo>
                  <a:lnTo>
                    <a:pt x="56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0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4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88"/>
                  </a:lnTo>
                  <a:lnTo>
                    <a:pt x="64" y="92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96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4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6" y="104"/>
                  </a:lnTo>
                  <a:lnTo>
                    <a:pt x="52" y="104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52" y="108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8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4" y="112"/>
                  </a:lnTo>
                  <a:lnTo>
                    <a:pt x="40" y="116"/>
                  </a:lnTo>
                  <a:lnTo>
                    <a:pt x="40" y="120"/>
                  </a:lnTo>
                  <a:lnTo>
                    <a:pt x="44" y="120"/>
                  </a:lnTo>
                  <a:lnTo>
                    <a:pt x="44" y="124"/>
                  </a:lnTo>
                  <a:lnTo>
                    <a:pt x="44" y="128"/>
                  </a:lnTo>
                  <a:lnTo>
                    <a:pt x="44" y="128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4" y="132"/>
                  </a:lnTo>
                  <a:lnTo>
                    <a:pt x="40" y="136"/>
                  </a:lnTo>
                  <a:lnTo>
                    <a:pt x="40" y="140"/>
                  </a:lnTo>
                  <a:lnTo>
                    <a:pt x="40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6" y="140"/>
                  </a:lnTo>
                  <a:lnTo>
                    <a:pt x="32" y="144"/>
                  </a:lnTo>
                  <a:lnTo>
                    <a:pt x="32" y="144"/>
                  </a:lnTo>
                  <a:lnTo>
                    <a:pt x="32" y="140"/>
                  </a:lnTo>
                  <a:lnTo>
                    <a:pt x="32" y="136"/>
                  </a:lnTo>
                  <a:lnTo>
                    <a:pt x="32" y="136"/>
                  </a:lnTo>
                  <a:lnTo>
                    <a:pt x="32" y="132"/>
                  </a:lnTo>
                  <a:lnTo>
                    <a:pt x="28" y="128"/>
                  </a:lnTo>
                  <a:lnTo>
                    <a:pt x="28" y="124"/>
                  </a:lnTo>
                  <a:lnTo>
                    <a:pt x="28" y="116"/>
                  </a:lnTo>
                  <a:lnTo>
                    <a:pt x="28" y="116"/>
                  </a:lnTo>
                  <a:lnTo>
                    <a:pt x="28" y="108"/>
                  </a:lnTo>
                  <a:lnTo>
                    <a:pt x="24" y="108"/>
                  </a:lnTo>
                  <a:lnTo>
                    <a:pt x="24" y="108"/>
                  </a:lnTo>
                  <a:lnTo>
                    <a:pt x="24" y="104"/>
                  </a:lnTo>
                  <a:lnTo>
                    <a:pt x="24" y="104"/>
                  </a:lnTo>
                  <a:lnTo>
                    <a:pt x="20" y="100"/>
                  </a:lnTo>
                  <a:lnTo>
                    <a:pt x="16" y="100"/>
                  </a:lnTo>
                  <a:lnTo>
                    <a:pt x="16" y="100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2" y="84"/>
                  </a:lnTo>
                  <a:lnTo>
                    <a:pt x="12" y="84"/>
                  </a:lnTo>
                  <a:lnTo>
                    <a:pt x="8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0" y="72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0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8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4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52"/>
                  </a:lnTo>
                  <a:lnTo>
                    <a:pt x="12" y="48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40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6"/>
                  </a:lnTo>
                  <a:lnTo>
                    <a:pt x="16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32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2" y="28"/>
                  </a:lnTo>
                  <a:lnTo>
                    <a:pt x="16" y="24"/>
                  </a:lnTo>
                  <a:lnTo>
                    <a:pt x="16" y="24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6" y="20"/>
                  </a:lnTo>
                  <a:lnTo>
                    <a:pt x="12" y="16"/>
                  </a:lnTo>
                  <a:lnTo>
                    <a:pt x="12" y="20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2" y="16"/>
                  </a:lnTo>
                  <a:lnTo>
                    <a:pt x="16" y="16"/>
                  </a:lnTo>
                  <a:lnTo>
                    <a:pt x="16" y="16"/>
                  </a:lnTo>
                  <a:lnTo>
                    <a:pt x="16" y="12"/>
                  </a:lnTo>
                  <a:lnTo>
                    <a:pt x="16" y="12"/>
                  </a:lnTo>
                  <a:lnTo>
                    <a:pt x="20" y="12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0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4" y="4"/>
                  </a:lnTo>
                  <a:lnTo>
                    <a:pt x="28" y="4"/>
                  </a:lnTo>
                  <a:lnTo>
                    <a:pt x="28" y="4"/>
                  </a:lnTo>
                  <a:lnTo>
                    <a:pt x="32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0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36" y="4"/>
                  </a:lnTo>
                  <a:lnTo>
                    <a:pt x="40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0" y="4"/>
                  </a:lnTo>
                  <a:lnTo>
                    <a:pt x="44" y="4"/>
                  </a:lnTo>
                  <a:lnTo>
                    <a:pt x="44" y="4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4" y="8"/>
                  </a:lnTo>
                  <a:close/>
                  <a:moveTo>
                    <a:pt x="56" y="56"/>
                  </a:moveTo>
                  <a:lnTo>
                    <a:pt x="56" y="56"/>
                  </a:lnTo>
                  <a:lnTo>
                    <a:pt x="56" y="56"/>
                  </a:lnTo>
                  <a:lnTo>
                    <a:pt x="56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60" y="52"/>
                  </a:lnTo>
                  <a:lnTo>
                    <a:pt x="56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56" y="56"/>
                  </a:lnTo>
                  <a:close/>
                  <a:moveTo>
                    <a:pt x="52" y="76"/>
                  </a:moveTo>
                  <a:lnTo>
                    <a:pt x="52" y="76"/>
                  </a:lnTo>
                  <a:lnTo>
                    <a:pt x="52" y="76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2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6" y="72"/>
                  </a:lnTo>
                  <a:lnTo>
                    <a:pt x="52" y="76"/>
                  </a:lnTo>
                  <a:lnTo>
                    <a:pt x="52" y="76"/>
                  </a:lnTo>
                  <a:lnTo>
                    <a:pt x="52" y="7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4" name="Freeform 165">
              <a:extLst>
                <a:ext uri="{FF2B5EF4-FFF2-40B4-BE49-F238E27FC236}">
                  <a16:creationId xmlns:a16="http://schemas.microsoft.com/office/drawing/2014/main" id="{8FB0C4A0-9E60-6844-B24F-7A5F5E14DC46}"/>
                </a:ext>
              </a:extLst>
            </p:cNvPr>
            <p:cNvSpPr>
              <a:spLocks/>
            </p:cNvSpPr>
            <p:nvPr>
              <p:custDataLst>
                <p:tags r:id="rId84"/>
              </p:custDataLst>
            </p:nvPr>
          </p:nvSpPr>
          <p:spPr bwMode="gray">
            <a:xfrm>
              <a:off x="4355253" y="5867335"/>
              <a:ext cx="105891" cy="131103"/>
            </a:xfrm>
            <a:custGeom>
              <a:avLst/>
              <a:gdLst/>
              <a:ahLst/>
              <a:cxnLst>
                <a:cxn ang="0">
                  <a:pos x="44" y="96"/>
                </a:cxn>
                <a:cxn ang="0">
                  <a:pos x="24" y="96"/>
                </a:cxn>
                <a:cxn ang="0">
                  <a:pos x="16" y="96"/>
                </a:cxn>
                <a:cxn ang="0">
                  <a:pos x="12" y="100"/>
                </a:cxn>
                <a:cxn ang="0">
                  <a:pos x="8" y="104"/>
                </a:cxn>
                <a:cxn ang="0">
                  <a:pos x="4" y="104"/>
                </a:cxn>
                <a:cxn ang="0">
                  <a:pos x="4" y="104"/>
                </a:cxn>
                <a:cxn ang="0">
                  <a:pos x="0" y="104"/>
                </a:cxn>
                <a:cxn ang="0">
                  <a:pos x="0" y="96"/>
                </a:cxn>
                <a:cxn ang="0">
                  <a:pos x="4" y="88"/>
                </a:cxn>
                <a:cxn ang="0">
                  <a:pos x="4" y="80"/>
                </a:cxn>
                <a:cxn ang="0">
                  <a:pos x="4" y="76"/>
                </a:cxn>
                <a:cxn ang="0">
                  <a:pos x="8" y="68"/>
                </a:cxn>
                <a:cxn ang="0">
                  <a:pos x="8" y="64"/>
                </a:cxn>
                <a:cxn ang="0">
                  <a:pos x="8" y="60"/>
                </a:cxn>
                <a:cxn ang="0">
                  <a:pos x="12" y="56"/>
                </a:cxn>
                <a:cxn ang="0">
                  <a:pos x="16" y="56"/>
                </a:cxn>
                <a:cxn ang="0">
                  <a:pos x="24" y="44"/>
                </a:cxn>
                <a:cxn ang="0">
                  <a:pos x="24" y="36"/>
                </a:cxn>
                <a:cxn ang="0">
                  <a:pos x="20" y="36"/>
                </a:cxn>
                <a:cxn ang="0">
                  <a:pos x="20" y="32"/>
                </a:cxn>
                <a:cxn ang="0">
                  <a:pos x="20" y="24"/>
                </a:cxn>
                <a:cxn ang="0">
                  <a:pos x="20" y="20"/>
                </a:cxn>
                <a:cxn ang="0">
                  <a:pos x="20" y="12"/>
                </a:cxn>
                <a:cxn ang="0">
                  <a:pos x="20" y="12"/>
                </a:cxn>
                <a:cxn ang="0">
                  <a:pos x="28" y="8"/>
                </a:cxn>
                <a:cxn ang="0">
                  <a:pos x="36" y="8"/>
                </a:cxn>
                <a:cxn ang="0">
                  <a:pos x="36" y="12"/>
                </a:cxn>
                <a:cxn ang="0">
                  <a:pos x="40" y="12"/>
                </a:cxn>
                <a:cxn ang="0">
                  <a:pos x="44" y="8"/>
                </a:cxn>
                <a:cxn ang="0">
                  <a:pos x="48" y="8"/>
                </a:cxn>
                <a:cxn ang="0">
                  <a:pos x="52" y="8"/>
                </a:cxn>
                <a:cxn ang="0">
                  <a:pos x="60" y="8"/>
                </a:cxn>
                <a:cxn ang="0">
                  <a:pos x="68" y="0"/>
                </a:cxn>
                <a:cxn ang="0">
                  <a:pos x="72" y="8"/>
                </a:cxn>
                <a:cxn ang="0">
                  <a:pos x="76" y="12"/>
                </a:cxn>
                <a:cxn ang="0">
                  <a:pos x="76" y="20"/>
                </a:cxn>
                <a:cxn ang="0">
                  <a:pos x="80" y="24"/>
                </a:cxn>
                <a:cxn ang="0">
                  <a:pos x="80" y="28"/>
                </a:cxn>
                <a:cxn ang="0">
                  <a:pos x="80" y="36"/>
                </a:cxn>
                <a:cxn ang="0">
                  <a:pos x="84" y="44"/>
                </a:cxn>
                <a:cxn ang="0">
                  <a:pos x="80" y="48"/>
                </a:cxn>
                <a:cxn ang="0">
                  <a:pos x="80" y="52"/>
                </a:cxn>
                <a:cxn ang="0">
                  <a:pos x="80" y="56"/>
                </a:cxn>
                <a:cxn ang="0">
                  <a:pos x="80" y="56"/>
                </a:cxn>
                <a:cxn ang="0">
                  <a:pos x="76" y="60"/>
                </a:cxn>
                <a:cxn ang="0">
                  <a:pos x="76" y="64"/>
                </a:cxn>
                <a:cxn ang="0">
                  <a:pos x="68" y="72"/>
                </a:cxn>
                <a:cxn ang="0">
                  <a:pos x="68" y="76"/>
                </a:cxn>
                <a:cxn ang="0">
                  <a:pos x="68" y="84"/>
                </a:cxn>
                <a:cxn ang="0">
                  <a:pos x="60" y="96"/>
                </a:cxn>
                <a:cxn ang="0">
                  <a:pos x="56" y="96"/>
                </a:cxn>
              </a:cxnLst>
              <a:rect l="0" t="0" r="r" b="b"/>
              <a:pathLst>
                <a:path w="84" h="104">
                  <a:moveTo>
                    <a:pt x="52" y="96"/>
                  </a:moveTo>
                  <a:lnTo>
                    <a:pt x="48" y="96"/>
                  </a:lnTo>
                  <a:lnTo>
                    <a:pt x="48" y="96"/>
                  </a:lnTo>
                  <a:lnTo>
                    <a:pt x="48" y="96"/>
                  </a:lnTo>
                  <a:lnTo>
                    <a:pt x="44" y="96"/>
                  </a:lnTo>
                  <a:lnTo>
                    <a:pt x="32" y="96"/>
                  </a:lnTo>
                  <a:lnTo>
                    <a:pt x="32" y="96"/>
                  </a:lnTo>
                  <a:lnTo>
                    <a:pt x="28" y="96"/>
                  </a:lnTo>
                  <a:lnTo>
                    <a:pt x="28" y="96"/>
                  </a:lnTo>
                  <a:lnTo>
                    <a:pt x="24" y="96"/>
                  </a:lnTo>
                  <a:lnTo>
                    <a:pt x="20" y="96"/>
                  </a:lnTo>
                  <a:lnTo>
                    <a:pt x="20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6" y="96"/>
                  </a:lnTo>
                  <a:lnTo>
                    <a:pt x="12" y="96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4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4"/>
                  </a:lnTo>
                  <a:lnTo>
                    <a:pt x="0" y="100"/>
                  </a:lnTo>
                  <a:lnTo>
                    <a:pt x="0" y="100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6"/>
                  </a:lnTo>
                  <a:lnTo>
                    <a:pt x="0" y="92"/>
                  </a:lnTo>
                  <a:lnTo>
                    <a:pt x="0" y="92"/>
                  </a:lnTo>
                  <a:lnTo>
                    <a:pt x="0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8"/>
                  </a:lnTo>
                  <a:lnTo>
                    <a:pt x="4" y="84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80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6"/>
                  </a:lnTo>
                  <a:lnTo>
                    <a:pt x="4" y="72"/>
                  </a:lnTo>
                  <a:lnTo>
                    <a:pt x="4" y="72"/>
                  </a:lnTo>
                  <a:lnTo>
                    <a:pt x="8" y="72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8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8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60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2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6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16" y="52"/>
                  </a:lnTo>
                  <a:lnTo>
                    <a:pt x="20" y="48"/>
                  </a:lnTo>
                  <a:lnTo>
                    <a:pt x="24" y="44"/>
                  </a:lnTo>
                  <a:lnTo>
                    <a:pt x="24" y="40"/>
                  </a:lnTo>
                  <a:lnTo>
                    <a:pt x="28" y="40"/>
                  </a:lnTo>
                  <a:lnTo>
                    <a:pt x="28" y="40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6"/>
                  </a:lnTo>
                  <a:lnTo>
                    <a:pt x="24" y="32"/>
                  </a:lnTo>
                  <a:lnTo>
                    <a:pt x="24" y="32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6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32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8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4"/>
                  </a:lnTo>
                  <a:lnTo>
                    <a:pt x="20" y="20"/>
                  </a:lnTo>
                  <a:lnTo>
                    <a:pt x="20" y="20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6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0" y="12"/>
                  </a:lnTo>
                  <a:lnTo>
                    <a:pt x="24" y="12"/>
                  </a:lnTo>
                  <a:lnTo>
                    <a:pt x="24" y="8"/>
                  </a:lnTo>
                  <a:lnTo>
                    <a:pt x="24" y="8"/>
                  </a:lnTo>
                  <a:lnTo>
                    <a:pt x="28" y="8"/>
                  </a:lnTo>
                  <a:lnTo>
                    <a:pt x="28" y="8"/>
                  </a:lnTo>
                  <a:lnTo>
                    <a:pt x="28" y="12"/>
                  </a:lnTo>
                  <a:lnTo>
                    <a:pt x="32" y="12"/>
                  </a:lnTo>
                  <a:lnTo>
                    <a:pt x="32" y="8"/>
                  </a:lnTo>
                  <a:lnTo>
                    <a:pt x="32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8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36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0" y="12"/>
                  </a:lnTo>
                  <a:lnTo>
                    <a:pt x="44" y="8"/>
                  </a:lnTo>
                  <a:lnTo>
                    <a:pt x="44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48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2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0" y="8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0"/>
                  </a:lnTo>
                  <a:lnTo>
                    <a:pt x="68" y="4"/>
                  </a:lnTo>
                  <a:lnTo>
                    <a:pt x="72" y="4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2" y="8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2"/>
                  </a:lnTo>
                  <a:lnTo>
                    <a:pt x="76" y="16"/>
                  </a:lnTo>
                  <a:lnTo>
                    <a:pt x="76" y="16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0"/>
                  </a:lnTo>
                  <a:lnTo>
                    <a:pt x="76" y="24"/>
                  </a:lnTo>
                  <a:lnTo>
                    <a:pt x="76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4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28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2"/>
                  </a:lnTo>
                  <a:lnTo>
                    <a:pt x="80" y="36"/>
                  </a:lnTo>
                  <a:lnTo>
                    <a:pt x="80" y="36"/>
                  </a:lnTo>
                  <a:lnTo>
                    <a:pt x="84" y="36"/>
                  </a:lnTo>
                  <a:lnTo>
                    <a:pt x="84" y="36"/>
                  </a:lnTo>
                  <a:lnTo>
                    <a:pt x="84" y="40"/>
                  </a:lnTo>
                  <a:lnTo>
                    <a:pt x="84" y="44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4" y="48"/>
                  </a:lnTo>
                  <a:lnTo>
                    <a:pt x="80" y="48"/>
                  </a:lnTo>
                  <a:lnTo>
                    <a:pt x="80" y="48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2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80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0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72" y="68"/>
                  </a:lnTo>
                  <a:lnTo>
                    <a:pt x="68" y="72"/>
                  </a:lnTo>
                  <a:lnTo>
                    <a:pt x="68" y="72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76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0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8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6" y="96"/>
                  </a:lnTo>
                  <a:lnTo>
                    <a:pt x="52" y="96"/>
                  </a:lnTo>
                  <a:lnTo>
                    <a:pt x="52" y="96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5" name="Freeform 166">
              <a:extLst>
                <a:ext uri="{FF2B5EF4-FFF2-40B4-BE49-F238E27FC236}">
                  <a16:creationId xmlns:a16="http://schemas.microsoft.com/office/drawing/2014/main" id="{65E61BF1-5676-9E4D-9717-1C4629B0F745}"/>
                </a:ext>
              </a:extLst>
            </p:cNvPr>
            <p:cNvSpPr>
              <a:spLocks/>
            </p:cNvSpPr>
            <p:nvPr>
              <p:custDataLst>
                <p:tags r:id="rId85"/>
              </p:custDataLst>
            </p:nvPr>
          </p:nvSpPr>
          <p:spPr bwMode="gray">
            <a:xfrm>
              <a:off x="3465266" y="5313929"/>
              <a:ext cx="161357" cy="166400"/>
            </a:xfrm>
            <a:custGeom>
              <a:avLst/>
              <a:gdLst/>
              <a:ahLst/>
              <a:cxnLst>
                <a:cxn ang="0">
                  <a:pos x="0" y="128"/>
                </a:cxn>
                <a:cxn ang="0">
                  <a:pos x="0" y="120"/>
                </a:cxn>
                <a:cxn ang="0">
                  <a:pos x="4" y="116"/>
                </a:cxn>
                <a:cxn ang="0">
                  <a:pos x="4" y="112"/>
                </a:cxn>
                <a:cxn ang="0">
                  <a:pos x="8" y="104"/>
                </a:cxn>
                <a:cxn ang="0">
                  <a:pos x="12" y="104"/>
                </a:cxn>
                <a:cxn ang="0">
                  <a:pos x="12" y="100"/>
                </a:cxn>
                <a:cxn ang="0">
                  <a:pos x="12" y="96"/>
                </a:cxn>
                <a:cxn ang="0">
                  <a:pos x="16" y="92"/>
                </a:cxn>
                <a:cxn ang="0">
                  <a:pos x="16" y="88"/>
                </a:cxn>
                <a:cxn ang="0">
                  <a:pos x="16" y="84"/>
                </a:cxn>
                <a:cxn ang="0">
                  <a:pos x="16" y="84"/>
                </a:cxn>
                <a:cxn ang="0">
                  <a:pos x="20" y="80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6"/>
                </a:cxn>
                <a:cxn ang="0">
                  <a:pos x="20" y="72"/>
                </a:cxn>
                <a:cxn ang="0">
                  <a:pos x="28" y="68"/>
                </a:cxn>
                <a:cxn ang="0">
                  <a:pos x="28" y="64"/>
                </a:cxn>
                <a:cxn ang="0">
                  <a:pos x="32" y="60"/>
                </a:cxn>
                <a:cxn ang="0">
                  <a:pos x="36" y="56"/>
                </a:cxn>
                <a:cxn ang="0">
                  <a:pos x="36" y="52"/>
                </a:cxn>
                <a:cxn ang="0">
                  <a:pos x="36" y="44"/>
                </a:cxn>
                <a:cxn ang="0">
                  <a:pos x="36" y="36"/>
                </a:cxn>
                <a:cxn ang="0">
                  <a:pos x="40" y="36"/>
                </a:cxn>
                <a:cxn ang="0">
                  <a:pos x="40" y="32"/>
                </a:cxn>
                <a:cxn ang="0">
                  <a:pos x="40" y="32"/>
                </a:cxn>
                <a:cxn ang="0">
                  <a:pos x="44" y="28"/>
                </a:cxn>
                <a:cxn ang="0">
                  <a:pos x="44" y="28"/>
                </a:cxn>
                <a:cxn ang="0">
                  <a:pos x="48" y="24"/>
                </a:cxn>
                <a:cxn ang="0">
                  <a:pos x="52" y="20"/>
                </a:cxn>
                <a:cxn ang="0">
                  <a:pos x="56" y="16"/>
                </a:cxn>
                <a:cxn ang="0">
                  <a:pos x="56" y="12"/>
                </a:cxn>
                <a:cxn ang="0">
                  <a:pos x="56" y="8"/>
                </a:cxn>
                <a:cxn ang="0">
                  <a:pos x="60" y="4"/>
                </a:cxn>
                <a:cxn ang="0">
                  <a:pos x="60" y="0"/>
                </a:cxn>
                <a:cxn ang="0">
                  <a:pos x="108" y="0"/>
                </a:cxn>
                <a:cxn ang="0">
                  <a:pos x="112" y="0"/>
                </a:cxn>
                <a:cxn ang="0">
                  <a:pos x="128" y="0"/>
                </a:cxn>
                <a:cxn ang="0">
                  <a:pos x="128" y="16"/>
                </a:cxn>
                <a:cxn ang="0">
                  <a:pos x="128" y="32"/>
                </a:cxn>
                <a:cxn ang="0">
                  <a:pos x="112" y="32"/>
                </a:cxn>
                <a:cxn ang="0">
                  <a:pos x="108" y="32"/>
                </a:cxn>
                <a:cxn ang="0">
                  <a:pos x="88" y="32"/>
                </a:cxn>
                <a:cxn ang="0">
                  <a:pos x="76" y="40"/>
                </a:cxn>
                <a:cxn ang="0">
                  <a:pos x="76" y="48"/>
                </a:cxn>
                <a:cxn ang="0">
                  <a:pos x="76" y="64"/>
                </a:cxn>
                <a:cxn ang="0">
                  <a:pos x="76" y="84"/>
                </a:cxn>
                <a:cxn ang="0">
                  <a:pos x="68" y="84"/>
                </a:cxn>
                <a:cxn ang="0">
                  <a:pos x="64" y="92"/>
                </a:cxn>
                <a:cxn ang="0">
                  <a:pos x="60" y="96"/>
                </a:cxn>
                <a:cxn ang="0">
                  <a:pos x="60" y="104"/>
                </a:cxn>
                <a:cxn ang="0">
                  <a:pos x="64" y="112"/>
                </a:cxn>
                <a:cxn ang="0">
                  <a:pos x="48" y="124"/>
                </a:cxn>
                <a:cxn ang="0">
                  <a:pos x="36" y="124"/>
                </a:cxn>
                <a:cxn ang="0">
                  <a:pos x="20" y="124"/>
                </a:cxn>
                <a:cxn ang="0">
                  <a:pos x="4" y="124"/>
                </a:cxn>
                <a:cxn ang="0">
                  <a:pos x="0" y="128"/>
                </a:cxn>
              </a:cxnLst>
              <a:rect l="0" t="0" r="r" b="b"/>
              <a:pathLst>
                <a:path w="128" h="132">
                  <a:moveTo>
                    <a:pt x="0" y="132"/>
                  </a:moveTo>
                  <a:lnTo>
                    <a:pt x="0" y="132"/>
                  </a:lnTo>
                  <a:lnTo>
                    <a:pt x="0" y="132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0" y="120"/>
                  </a:lnTo>
                  <a:lnTo>
                    <a:pt x="4" y="120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6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12"/>
                  </a:lnTo>
                  <a:lnTo>
                    <a:pt x="4" y="108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8" y="104"/>
                  </a:lnTo>
                  <a:lnTo>
                    <a:pt x="12" y="104"/>
                  </a:lnTo>
                  <a:lnTo>
                    <a:pt x="12" y="104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100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6"/>
                  </a:lnTo>
                  <a:lnTo>
                    <a:pt x="12" y="92"/>
                  </a:lnTo>
                  <a:lnTo>
                    <a:pt x="12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92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8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4"/>
                  </a:lnTo>
                  <a:lnTo>
                    <a:pt x="16" y="80"/>
                  </a:lnTo>
                  <a:lnTo>
                    <a:pt x="16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16" y="80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6"/>
                  </a:lnTo>
                  <a:lnTo>
                    <a:pt x="20" y="72"/>
                  </a:lnTo>
                  <a:lnTo>
                    <a:pt x="20" y="72"/>
                  </a:lnTo>
                  <a:lnTo>
                    <a:pt x="24" y="72"/>
                  </a:lnTo>
                  <a:lnTo>
                    <a:pt x="24" y="68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28" y="64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2" y="60"/>
                  </a:lnTo>
                  <a:lnTo>
                    <a:pt x="36" y="56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52"/>
                  </a:lnTo>
                  <a:lnTo>
                    <a:pt x="36" y="48"/>
                  </a:lnTo>
                  <a:lnTo>
                    <a:pt x="36" y="48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4"/>
                  </a:lnTo>
                  <a:lnTo>
                    <a:pt x="36" y="40"/>
                  </a:lnTo>
                  <a:lnTo>
                    <a:pt x="36" y="40"/>
                  </a:lnTo>
                  <a:lnTo>
                    <a:pt x="36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6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8"/>
                  </a:lnTo>
                  <a:lnTo>
                    <a:pt x="44" y="24"/>
                  </a:lnTo>
                  <a:lnTo>
                    <a:pt x="44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48" y="24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2" y="20"/>
                  </a:lnTo>
                  <a:lnTo>
                    <a:pt x="56" y="20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6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12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56" y="8"/>
                  </a:lnTo>
                  <a:lnTo>
                    <a:pt x="60" y="8"/>
                  </a:lnTo>
                  <a:lnTo>
                    <a:pt x="60" y="4"/>
                  </a:lnTo>
                  <a:lnTo>
                    <a:pt x="60" y="4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0" y="0"/>
                  </a:lnTo>
                  <a:lnTo>
                    <a:pt x="64" y="0"/>
                  </a:lnTo>
                  <a:lnTo>
                    <a:pt x="104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08" y="0"/>
                  </a:lnTo>
                  <a:lnTo>
                    <a:pt x="112" y="0"/>
                  </a:lnTo>
                  <a:lnTo>
                    <a:pt x="112" y="0"/>
                  </a:lnTo>
                  <a:lnTo>
                    <a:pt x="120" y="0"/>
                  </a:lnTo>
                  <a:lnTo>
                    <a:pt x="120" y="0"/>
                  </a:lnTo>
                  <a:lnTo>
                    <a:pt x="128" y="0"/>
                  </a:lnTo>
                  <a:lnTo>
                    <a:pt x="128" y="4"/>
                  </a:lnTo>
                  <a:lnTo>
                    <a:pt x="128" y="4"/>
                  </a:lnTo>
                  <a:lnTo>
                    <a:pt x="128" y="8"/>
                  </a:lnTo>
                  <a:lnTo>
                    <a:pt x="128" y="16"/>
                  </a:lnTo>
                  <a:lnTo>
                    <a:pt x="128" y="16"/>
                  </a:lnTo>
                  <a:lnTo>
                    <a:pt x="128" y="24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28" y="32"/>
                  </a:lnTo>
                  <a:lnTo>
                    <a:pt x="116" y="32"/>
                  </a:lnTo>
                  <a:lnTo>
                    <a:pt x="116" y="32"/>
                  </a:lnTo>
                  <a:lnTo>
                    <a:pt x="112" y="32"/>
                  </a:lnTo>
                  <a:lnTo>
                    <a:pt x="112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8" y="32"/>
                  </a:lnTo>
                  <a:lnTo>
                    <a:pt x="100" y="32"/>
                  </a:lnTo>
                  <a:lnTo>
                    <a:pt x="96" y="32"/>
                  </a:lnTo>
                  <a:lnTo>
                    <a:pt x="88" y="32"/>
                  </a:lnTo>
                  <a:lnTo>
                    <a:pt x="84" y="32"/>
                  </a:lnTo>
                  <a:lnTo>
                    <a:pt x="76" y="32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0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48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56"/>
                  </a:lnTo>
                  <a:lnTo>
                    <a:pt x="76" y="64"/>
                  </a:lnTo>
                  <a:lnTo>
                    <a:pt x="76" y="64"/>
                  </a:lnTo>
                  <a:lnTo>
                    <a:pt x="76" y="72"/>
                  </a:lnTo>
                  <a:lnTo>
                    <a:pt x="76" y="76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6" y="84"/>
                  </a:lnTo>
                  <a:lnTo>
                    <a:pt x="72" y="84"/>
                  </a:lnTo>
                  <a:lnTo>
                    <a:pt x="68" y="84"/>
                  </a:lnTo>
                  <a:lnTo>
                    <a:pt x="68" y="84"/>
                  </a:lnTo>
                  <a:lnTo>
                    <a:pt x="68" y="88"/>
                  </a:lnTo>
                  <a:lnTo>
                    <a:pt x="68" y="88"/>
                  </a:lnTo>
                  <a:lnTo>
                    <a:pt x="64" y="92"/>
                  </a:lnTo>
                  <a:lnTo>
                    <a:pt x="60" y="92"/>
                  </a:lnTo>
                  <a:lnTo>
                    <a:pt x="60" y="92"/>
                  </a:lnTo>
                  <a:lnTo>
                    <a:pt x="60" y="96"/>
                  </a:lnTo>
                  <a:lnTo>
                    <a:pt x="60" y="96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0"/>
                  </a:lnTo>
                  <a:lnTo>
                    <a:pt x="60" y="104"/>
                  </a:lnTo>
                  <a:lnTo>
                    <a:pt x="60" y="104"/>
                  </a:lnTo>
                  <a:lnTo>
                    <a:pt x="60" y="108"/>
                  </a:lnTo>
                  <a:lnTo>
                    <a:pt x="60" y="108"/>
                  </a:lnTo>
                  <a:lnTo>
                    <a:pt x="64" y="112"/>
                  </a:lnTo>
                  <a:lnTo>
                    <a:pt x="64" y="120"/>
                  </a:lnTo>
                  <a:lnTo>
                    <a:pt x="64" y="124"/>
                  </a:lnTo>
                  <a:lnTo>
                    <a:pt x="56" y="124"/>
                  </a:lnTo>
                  <a:lnTo>
                    <a:pt x="48" y="124"/>
                  </a:lnTo>
                  <a:lnTo>
                    <a:pt x="44" y="124"/>
                  </a:lnTo>
                  <a:lnTo>
                    <a:pt x="44" y="124"/>
                  </a:lnTo>
                  <a:lnTo>
                    <a:pt x="40" y="124"/>
                  </a:lnTo>
                  <a:lnTo>
                    <a:pt x="36" y="124"/>
                  </a:lnTo>
                  <a:lnTo>
                    <a:pt x="32" y="124"/>
                  </a:lnTo>
                  <a:lnTo>
                    <a:pt x="28" y="124"/>
                  </a:lnTo>
                  <a:lnTo>
                    <a:pt x="20" y="124"/>
                  </a:lnTo>
                  <a:lnTo>
                    <a:pt x="20" y="124"/>
                  </a:lnTo>
                  <a:lnTo>
                    <a:pt x="16" y="124"/>
                  </a:lnTo>
                  <a:lnTo>
                    <a:pt x="16" y="124"/>
                  </a:lnTo>
                  <a:lnTo>
                    <a:pt x="8" y="124"/>
                  </a:lnTo>
                  <a:lnTo>
                    <a:pt x="4" y="124"/>
                  </a:lnTo>
                  <a:lnTo>
                    <a:pt x="4" y="124"/>
                  </a:lnTo>
                  <a:lnTo>
                    <a:pt x="4" y="128"/>
                  </a:lnTo>
                  <a:lnTo>
                    <a:pt x="0" y="128"/>
                  </a:lnTo>
                  <a:lnTo>
                    <a:pt x="0" y="128"/>
                  </a:lnTo>
                  <a:lnTo>
                    <a:pt x="0" y="132"/>
                  </a:lnTo>
                  <a:lnTo>
                    <a:pt x="0" y="132"/>
                  </a:lnTo>
                  <a:lnTo>
                    <a:pt x="0" y="132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6" name="Freeform 167">
              <a:extLst>
                <a:ext uri="{FF2B5EF4-FFF2-40B4-BE49-F238E27FC236}">
                  <a16:creationId xmlns:a16="http://schemas.microsoft.com/office/drawing/2014/main" id="{2E7F6EAA-4E02-6A48-AE45-5809ABA06C0E}"/>
                </a:ext>
              </a:extLst>
            </p:cNvPr>
            <p:cNvSpPr>
              <a:spLocks/>
            </p:cNvSpPr>
            <p:nvPr>
              <p:custDataLst>
                <p:tags r:id="rId86"/>
              </p:custDataLst>
            </p:nvPr>
          </p:nvSpPr>
          <p:spPr bwMode="gray">
            <a:xfrm>
              <a:off x="4210284" y="6153492"/>
              <a:ext cx="225648" cy="231951"/>
            </a:xfrm>
            <a:custGeom>
              <a:avLst/>
              <a:gdLst/>
              <a:ahLst/>
              <a:cxnLst>
                <a:cxn ang="0">
                  <a:pos x="127" y="140"/>
                </a:cxn>
                <a:cxn ang="0">
                  <a:pos x="115" y="140"/>
                </a:cxn>
                <a:cxn ang="0">
                  <a:pos x="103" y="148"/>
                </a:cxn>
                <a:cxn ang="0">
                  <a:pos x="95" y="160"/>
                </a:cxn>
                <a:cxn ang="0">
                  <a:pos x="88" y="172"/>
                </a:cxn>
                <a:cxn ang="0">
                  <a:pos x="76" y="180"/>
                </a:cxn>
                <a:cxn ang="0">
                  <a:pos x="64" y="180"/>
                </a:cxn>
                <a:cxn ang="0">
                  <a:pos x="56" y="180"/>
                </a:cxn>
                <a:cxn ang="0">
                  <a:pos x="44" y="172"/>
                </a:cxn>
                <a:cxn ang="0">
                  <a:pos x="28" y="176"/>
                </a:cxn>
                <a:cxn ang="0">
                  <a:pos x="8" y="160"/>
                </a:cxn>
                <a:cxn ang="0">
                  <a:pos x="4" y="148"/>
                </a:cxn>
                <a:cxn ang="0">
                  <a:pos x="0" y="124"/>
                </a:cxn>
                <a:cxn ang="0">
                  <a:pos x="0" y="104"/>
                </a:cxn>
                <a:cxn ang="0">
                  <a:pos x="16" y="88"/>
                </a:cxn>
                <a:cxn ang="0">
                  <a:pos x="32" y="88"/>
                </a:cxn>
                <a:cxn ang="0">
                  <a:pos x="32" y="68"/>
                </a:cxn>
                <a:cxn ang="0">
                  <a:pos x="32" y="52"/>
                </a:cxn>
                <a:cxn ang="0">
                  <a:pos x="40" y="52"/>
                </a:cxn>
                <a:cxn ang="0">
                  <a:pos x="44" y="60"/>
                </a:cxn>
                <a:cxn ang="0">
                  <a:pos x="52" y="64"/>
                </a:cxn>
                <a:cxn ang="0">
                  <a:pos x="68" y="68"/>
                </a:cxn>
                <a:cxn ang="0">
                  <a:pos x="80" y="64"/>
                </a:cxn>
                <a:cxn ang="0">
                  <a:pos x="88" y="76"/>
                </a:cxn>
                <a:cxn ang="0">
                  <a:pos x="99" y="84"/>
                </a:cxn>
                <a:cxn ang="0">
                  <a:pos x="107" y="96"/>
                </a:cxn>
                <a:cxn ang="0">
                  <a:pos x="119" y="96"/>
                </a:cxn>
                <a:cxn ang="0">
                  <a:pos x="119" y="84"/>
                </a:cxn>
                <a:cxn ang="0">
                  <a:pos x="115" y="76"/>
                </a:cxn>
                <a:cxn ang="0">
                  <a:pos x="103" y="72"/>
                </a:cxn>
                <a:cxn ang="0">
                  <a:pos x="99" y="60"/>
                </a:cxn>
                <a:cxn ang="0">
                  <a:pos x="103" y="48"/>
                </a:cxn>
                <a:cxn ang="0">
                  <a:pos x="103" y="32"/>
                </a:cxn>
                <a:cxn ang="0">
                  <a:pos x="103" y="16"/>
                </a:cxn>
                <a:cxn ang="0">
                  <a:pos x="107" y="4"/>
                </a:cxn>
                <a:cxn ang="0">
                  <a:pos x="127" y="0"/>
                </a:cxn>
                <a:cxn ang="0">
                  <a:pos x="135" y="8"/>
                </a:cxn>
                <a:cxn ang="0">
                  <a:pos x="151" y="12"/>
                </a:cxn>
                <a:cxn ang="0">
                  <a:pos x="159" y="20"/>
                </a:cxn>
                <a:cxn ang="0">
                  <a:pos x="171" y="28"/>
                </a:cxn>
                <a:cxn ang="0">
                  <a:pos x="171" y="36"/>
                </a:cxn>
                <a:cxn ang="0">
                  <a:pos x="175" y="48"/>
                </a:cxn>
                <a:cxn ang="0">
                  <a:pos x="175" y="56"/>
                </a:cxn>
                <a:cxn ang="0">
                  <a:pos x="171" y="72"/>
                </a:cxn>
                <a:cxn ang="0">
                  <a:pos x="167" y="80"/>
                </a:cxn>
                <a:cxn ang="0">
                  <a:pos x="167" y="96"/>
                </a:cxn>
                <a:cxn ang="0">
                  <a:pos x="167" y="108"/>
                </a:cxn>
                <a:cxn ang="0">
                  <a:pos x="155" y="116"/>
                </a:cxn>
                <a:cxn ang="0">
                  <a:pos x="143" y="120"/>
                </a:cxn>
                <a:cxn ang="0">
                  <a:pos x="131" y="124"/>
                </a:cxn>
              </a:cxnLst>
              <a:rect l="0" t="0" r="r" b="b"/>
              <a:pathLst>
                <a:path w="179" h="184">
                  <a:moveTo>
                    <a:pt x="127" y="128"/>
                  </a:moveTo>
                  <a:lnTo>
                    <a:pt x="127" y="132"/>
                  </a:lnTo>
                  <a:lnTo>
                    <a:pt x="127" y="136"/>
                  </a:lnTo>
                  <a:lnTo>
                    <a:pt x="127" y="140"/>
                  </a:lnTo>
                  <a:lnTo>
                    <a:pt x="123" y="140"/>
                  </a:lnTo>
                  <a:lnTo>
                    <a:pt x="119" y="136"/>
                  </a:lnTo>
                  <a:lnTo>
                    <a:pt x="119" y="140"/>
                  </a:lnTo>
                  <a:lnTo>
                    <a:pt x="115" y="140"/>
                  </a:lnTo>
                  <a:lnTo>
                    <a:pt x="111" y="140"/>
                  </a:lnTo>
                  <a:lnTo>
                    <a:pt x="107" y="144"/>
                  </a:lnTo>
                  <a:lnTo>
                    <a:pt x="107" y="148"/>
                  </a:lnTo>
                  <a:lnTo>
                    <a:pt x="103" y="148"/>
                  </a:lnTo>
                  <a:lnTo>
                    <a:pt x="103" y="152"/>
                  </a:lnTo>
                  <a:lnTo>
                    <a:pt x="103" y="156"/>
                  </a:lnTo>
                  <a:lnTo>
                    <a:pt x="99" y="156"/>
                  </a:lnTo>
                  <a:lnTo>
                    <a:pt x="95" y="160"/>
                  </a:lnTo>
                  <a:lnTo>
                    <a:pt x="92" y="160"/>
                  </a:lnTo>
                  <a:lnTo>
                    <a:pt x="92" y="164"/>
                  </a:lnTo>
                  <a:lnTo>
                    <a:pt x="88" y="168"/>
                  </a:lnTo>
                  <a:lnTo>
                    <a:pt x="88" y="172"/>
                  </a:lnTo>
                  <a:lnTo>
                    <a:pt x="84" y="172"/>
                  </a:lnTo>
                  <a:lnTo>
                    <a:pt x="84" y="176"/>
                  </a:lnTo>
                  <a:lnTo>
                    <a:pt x="80" y="180"/>
                  </a:lnTo>
                  <a:lnTo>
                    <a:pt x="76" y="180"/>
                  </a:lnTo>
                  <a:lnTo>
                    <a:pt x="76" y="184"/>
                  </a:lnTo>
                  <a:lnTo>
                    <a:pt x="72" y="184"/>
                  </a:lnTo>
                  <a:lnTo>
                    <a:pt x="68" y="180"/>
                  </a:lnTo>
                  <a:lnTo>
                    <a:pt x="64" y="180"/>
                  </a:lnTo>
                  <a:lnTo>
                    <a:pt x="64" y="184"/>
                  </a:lnTo>
                  <a:lnTo>
                    <a:pt x="60" y="184"/>
                  </a:lnTo>
                  <a:lnTo>
                    <a:pt x="60" y="180"/>
                  </a:lnTo>
                  <a:lnTo>
                    <a:pt x="56" y="180"/>
                  </a:lnTo>
                  <a:lnTo>
                    <a:pt x="52" y="180"/>
                  </a:lnTo>
                  <a:lnTo>
                    <a:pt x="48" y="176"/>
                  </a:lnTo>
                  <a:lnTo>
                    <a:pt x="48" y="172"/>
                  </a:lnTo>
                  <a:lnTo>
                    <a:pt x="44" y="172"/>
                  </a:lnTo>
                  <a:lnTo>
                    <a:pt x="40" y="172"/>
                  </a:lnTo>
                  <a:lnTo>
                    <a:pt x="36" y="172"/>
                  </a:lnTo>
                  <a:lnTo>
                    <a:pt x="32" y="172"/>
                  </a:lnTo>
                  <a:lnTo>
                    <a:pt x="28" y="176"/>
                  </a:lnTo>
                  <a:lnTo>
                    <a:pt x="24" y="176"/>
                  </a:lnTo>
                  <a:lnTo>
                    <a:pt x="20" y="172"/>
                  </a:lnTo>
                  <a:lnTo>
                    <a:pt x="12" y="164"/>
                  </a:lnTo>
                  <a:lnTo>
                    <a:pt x="8" y="160"/>
                  </a:lnTo>
                  <a:lnTo>
                    <a:pt x="8" y="156"/>
                  </a:lnTo>
                  <a:lnTo>
                    <a:pt x="4" y="156"/>
                  </a:lnTo>
                  <a:lnTo>
                    <a:pt x="4" y="152"/>
                  </a:lnTo>
                  <a:lnTo>
                    <a:pt x="4" y="148"/>
                  </a:lnTo>
                  <a:lnTo>
                    <a:pt x="0" y="148"/>
                  </a:lnTo>
                  <a:lnTo>
                    <a:pt x="0" y="144"/>
                  </a:lnTo>
                  <a:lnTo>
                    <a:pt x="0" y="136"/>
                  </a:lnTo>
                  <a:lnTo>
                    <a:pt x="0" y="124"/>
                  </a:lnTo>
                  <a:lnTo>
                    <a:pt x="0" y="120"/>
                  </a:lnTo>
                  <a:lnTo>
                    <a:pt x="0" y="116"/>
                  </a:lnTo>
                  <a:lnTo>
                    <a:pt x="0" y="108"/>
                  </a:lnTo>
                  <a:lnTo>
                    <a:pt x="0" y="104"/>
                  </a:lnTo>
                  <a:lnTo>
                    <a:pt x="0" y="96"/>
                  </a:lnTo>
                  <a:lnTo>
                    <a:pt x="0" y="88"/>
                  </a:lnTo>
                  <a:lnTo>
                    <a:pt x="8" y="88"/>
                  </a:lnTo>
                  <a:lnTo>
                    <a:pt x="16" y="88"/>
                  </a:lnTo>
                  <a:lnTo>
                    <a:pt x="20" y="88"/>
                  </a:lnTo>
                  <a:lnTo>
                    <a:pt x="24" y="88"/>
                  </a:lnTo>
                  <a:lnTo>
                    <a:pt x="28" y="88"/>
                  </a:lnTo>
                  <a:lnTo>
                    <a:pt x="32" y="88"/>
                  </a:lnTo>
                  <a:lnTo>
                    <a:pt x="32" y="84"/>
                  </a:lnTo>
                  <a:lnTo>
                    <a:pt x="32" y="80"/>
                  </a:lnTo>
                  <a:lnTo>
                    <a:pt x="32" y="76"/>
                  </a:lnTo>
                  <a:lnTo>
                    <a:pt x="32" y="68"/>
                  </a:lnTo>
                  <a:lnTo>
                    <a:pt x="32" y="64"/>
                  </a:lnTo>
                  <a:lnTo>
                    <a:pt x="32" y="60"/>
                  </a:lnTo>
                  <a:lnTo>
                    <a:pt x="32" y="56"/>
                  </a:lnTo>
                  <a:lnTo>
                    <a:pt x="32" y="52"/>
                  </a:lnTo>
                  <a:lnTo>
                    <a:pt x="32" y="48"/>
                  </a:lnTo>
                  <a:lnTo>
                    <a:pt x="32" y="52"/>
                  </a:lnTo>
                  <a:lnTo>
                    <a:pt x="36" y="52"/>
                  </a:lnTo>
                  <a:lnTo>
                    <a:pt x="40" y="52"/>
                  </a:lnTo>
                  <a:lnTo>
                    <a:pt x="40" y="56"/>
                  </a:lnTo>
                  <a:lnTo>
                    <a:pt x="36" y="60"/>
                  </a:lnTo>
                  <a:lnTo>
                    <a:pt x="40" y="60"/>
                  </a:lnTo>
                  <a:lnTo>
                    <a:pt x="44" y="60"/>
                  </a:lnTo>
                  <a:lnTo>
                    <a:pt x="48" y="56"/>
                  </a:lnTo>
                  <a:lnTo>
                    <a:pt x="52" y="56"/>
                  </a:lnTo>
                  <a:lnTo>
                    <a:pt x="52" y="60"/>
                  </a:lnTo>
                  <a:lnTo>
                    <a:pt x="52" y="64"/>
                  </a:lnTo>
                  <a:lnTo>
                    <a:pt x="56" y="64"/>
                  </a:lnTo>
                  <a:lnTo>
                    <a:pt x="60" y="68"/>
                  </a:lnTo>
                  <a:lnTo>
                    <a:pt x="64" y="68"/>
                  </a:lnTo>
                  <a:lnTo>
                    <a:pt x="68" y="68"/>
                  </a:lnTo>
                  <a:lnTo>
                    <a:pt x="72" y="72"/>
                  </a:lnTo>
                  <a:lnTo>
                    <a:pt x="76" y="72"/>
                  </a:lnTo>
                  <a:lnTo>
                    <a:pt x="76" y="68"/>
                  </a:lnTo>
                  <a:lnTo>
                    <a:pt x="80" y="64"/>
                  </a:lnTo>
                  <a:lnTo>
                    <a:pt x="80" y="68"/>
                  </a:lnTo>
                  <a:lnTo>
                    <a:pt x="84" y="68"/>
                  </a:lnTo>
                  <a:lnTo>
                    <a:pt x="84" y="72"/>
                  </a:lnTo>
                  <a:lnTo>
                    <a:pt x="88" y="76"/>
                  </a:lnTo>
                  <a:lnTo>
                    <a:pt x="92" y="76"/>
                  </a:lnTo>
                  <a:lnTo>
                    <a:pt x="95" y="80"/>
                  </a:lnTo>
                  <a:lnTo>
                    <a:pt x="99" y="80"/>
                  </a:lnTo>
                  <a:lnTo>
                    <a:pt x="99" y="84"/>
                  </a:lnTo>
                  <a:lnTo>
                    <a:pt x="99" y="88"/>
                  </a:lnTo>
                  <a:lnTo>
                    <a:pt x="103" y="88"/>
                  </a:lnTo>
                  <a:lnTo>
                    <a:pt x="107" y="92"/>
                  </a:lnTo>
                  <a:lnTo>
                    <a:pt x="107" y="96"/>
                  </a:lnTo>
                  <a:lnTo>
                    <a:pt x="111" y="96"/>
                  </a:lnTo>
                  <a:lnTo>
                    <a:pt x="115" y="96"/>
                  </a:lnTo>
                  <a:lnTo>
                    <a:pt x="115" y="92"/>
                  </a:lnTo>
                  <a:lnTo>
                    <a:pt x="119" y="96"/>
                  </a:lnTo>
                  <a:lnTo>
                    <a:pt x="115" y="96"/>
                  </a:lnTo>
                  <a:lnTo>
                    <a:pt x="119" y="96"/>
                  </a:lnTo>
                  <a:lnTo>
                    <a:pt x="119" y="92"/>
                  </a:lnTo>
                  <a:lnTo>
                    <a:pt x="119" y="84"/>
                  </a:lnTo>
                  <a:lnTo>
                    <a:pt x="119" y="80"/>
                  </a:lnTo>
                  <a:lnTo>
                    <a:pt x="119" y="76"/>
                  </a:lnTo>
                  <a:lnTo>
                    <a:pt x="119" y="72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1" y="76"/>
                  </a:lnTo>
                  <a:lnTo>
                    <a:pt x="107" y="76"/>
                  </a:lnTo>
                  <a:lnTo>
                    <a:pt x="103" y="72"/>
                  </a:lnTo>
                  <a:lnTo>
                    <a:pt x="103" y="68"/>
                  </a:lnTo>
                  <a:lnTo>
                    <a:pt x="99" y="68"/>
                  </a:lnTo>
                  <a:lnTo>
                    <a:pt x="99" y="64"/>
                  </a:lnTo>
                  <a:lnTo>
                    <a:pt x="99" y="60"/>
                  </a:lnTo>
                  <a:lnTo>
                    <a:pt x="99" y="56"/>
                  </a:lnTo>
                  <a:lnTo>
                    <a:pt x="99" y="52"/>
                  </a:lnTo>
                  <a:lnTo>
                    <a:pt x="99" y="48"/>
                  </a:lnTo>
                  <a:lnTo>
                    <a:pt x="103" y="48"/>
                  </a:lnTo>
                  <a:lnTo>
                    <a:pt x="103" y="44"/>
                  </a:lnTo>
                  <a:lnTo>
                    <a:pt x="103" y="40"/>
                  </a:lnTo>
                  <a:lnTo>
                    <a:pt x="103" y="36"/>
                  </a:lnTo>
                  <a:lnTo>
                    <a:pt x="103" y="32"/>
                  </a:lnTo>
                  <a:lnTo>
                    <a:pt x="103" y="28"/>
                  </a:lnTo>
                  <a:lnTo>
                    <a:pt x="99" y="24"/>
                  </a:lnTo>
                  <a:lnTo>
                    <a:pt x="99" y="20"/>
                  </a:lnTo>
                  <a:lnTo>
                    <a:pt x="103" y="16"/>
                  </a:lnTo>
                  <a:lnTo>
                    <a:pt x="103" y="12"/>
                  </a:lnTo>
                  <a:lnTo>
                    <a:pt x="107" y="12"/>
                  </a:lnTo>
                  <a:lnTo>
                    <a:pt x="107" y="8"/>
                  </a:lnTo>
                  <a:lnTo>
                    <a:pt x="107" y="4"/>
                  </a:lnTo>
                  <a:lnTo>
                    <a:pt x="111" y="4"/>
                  </a:lnTo>
                  <a:lnTo>
                    <a:pt x="115" y="4"/>
                  </a:lnTo>
                  <a:lnTo>
                    <a:pt x="123" y="4"/>
                  </a:lnTo>
                  <a:lnTo>
                    <a:pt x="127" y="0"/>
                  </a:lnTo>
                  <a:lnTo>
                    <a:pt x="131" y="0"/>
                  </a:lnTo>
                  <a:lnTo>
                    <a:pt x="135" y="0"/>
                  </a:lnTo>
                  <a:lnTo>
                    <a:pt x="135" y="4"/>
                  </a:lnTo>
                  <a:lnTo>
                    <a:pt x="135" y="8"/>
                  </a:lnTo>
                  <a:lnTo>
                    <a:pt x="139" y="8"/>
                  </a:lnTo>
                  <a:lnTo>
                    <a:pt x="143" y="8"/>
                  </a:lnTo>
                  <a:lnTo>
                    <a:pt x="147" y="12"/>
                  </a:lnTo>
                  <a:lnTo>
                    <a:pt x="151" y="12"/>
                  </a:lnTo>
                  <a:lnTo>
                    <a:pt x="151" y="16"/>
                  </a:lnTo>
                  <a:lnTo>
                    <a:pt x="155" y="16"/>
                  </a:lnTo>
                  <a:lnTo>
                    <a:pt x="159" y="16"/>
                  </a:lnTo>
                  <a:lnTo>
                    <a:pt x="159" y="20"/>
                  </a:lnTo>
                  <a:lnTo>
                    <a:pt x="163" y="20"/>
                  </a:lnTo>
                  <a:lnTo>
                    <a:pt x="167" y="24"/>
                  </a:lnTo>
                  <a:lnTo>
                    <a:pt x="167" y="28"/>
                  </a:lnTo>
                  <a:lnTo>
                    <a:pt x="171" y="28"/>
                  </a:lnTo>
                  <a:lnTo>
                    <a:pt x="171" y="32"/>
                  </a:lnTo>
                  <a:lnTo>
                    <a:pt x="175" y="32"/>
                  </a:lnTo>
                  <a:lnTo>
                    <a:pt x="171" y="32"/>
                  </a:lnTo>
                  <a:lnTo>
                    <a:pt x="171" y="36"/>
                  </a:lnTo>
                  <a:lnTo>
                    <a:pt x="175" y="36"/>
                  </a:lnTo>
                  <a:lnTo>
                    <a:pt x="175" y="40"/>
                  </a:lnTo>
                  <a:lnTo>
                    <a:pt x="179" y="44"/>
                  </a:lnTo>
                  <a:lnTo>
                    <a:pt x="175" y="48"/>
                  </a:lnTo>
                  <a:lnTo>
                    <a:pt x="171" y="48"/>
                  </a:lnTo>
                  <a:lnTo>
                    <a:pt x="171" y="52"/>
                  </a:lnTo>
                  <a:lnTo>
                    <a:pt x="175" y="52"/>
                  </a:lnTo>
                  <a:lnTo>
                    <a:pt x="175" y="56"/>
                  </a:lnTo>
                  <a:lnTo>
                    <a:pt x="171" y="60"/>
                  </a:lnTo>
                  <a:lnTo>
                    <a:pt x="171" y="64"/>
                  </a:lnTo>
                  <a:lnTo>
                    <a:pt x="171" y="68"/>
                  </a:lnTo>
                  <a:lnTo>
                    <a:pt x="171" y="72"/>
                  </a:lnTo>
                  <a:lnTo>
                    <a:pt x="175" y="76"/>
                  </a:lnTo>
                  <a:lnTo>
                    <a:pt x="175" y="80"/>
                  </a:lnTo>
                  <a:lnTo>
                    <a:pt x="171" y="80"/>
                  </a:lnTo>
                  <a:lnTo>
                    <a:pt x="167" y="80"/>
                  </a:lnTo>
                  <a:lnTo>
                    <a:pt x="167" y="84"/>
                  </a:lnTo>
                  <a:lnTo>
                    <a:pt x="167" y="88"/>
                  </a:lnTo>
                  <a:lnTo>
                    <a:pt x="167" y="92"/>
                  </a:lnTo>
                  <a:lnTo>
                    <a:pt x="167" y="96"/>
                  </a:lnTo>
                  <a:lnTo>
                    <a:pt x="167" y="100"/>
                  </a:lnTo>
                  <a:lnTo>
                    <a:pt x="163" y="100"/>
                  </a:lnTo>
                  <a:lnTo>
                    <a:pt x="167" y="104"/>
                  </a:lnTo>
                  <a:lnTo>
                    <a:pt x="167" y="108"/>
                  </a:lnTo>
                  <a:lnTo>
                    <a:pt x="171" y="108"/>
                  </a:lnTo>
                  <a:lnTo>
                    <a:pt x="167" y="108"/>
                  </a:lnTo>
                  <a:lnTo>
                    <a:pt x="159" y="112"/>
                  </a:lnTo>
                  <a:lnTo>
                    <a:pt x="155" y="116"/>
                  </a:lnTo>
                  <a:lnTo>
                    <a:pt x="151" y="116"/>
                  </a:lnTo>
                  <a:lnTo>
                    <a:pt x="147" y="116"/>
                  </a:lnTo>
                  <a:lnTo>
                    <a:pt x="147" y="120"/>
                  </a:lnTo>
                  <a:lnTo>
                    <a:pt x="143" y="120"/>
                  </a:lnTo>
                  <a:lnTo>
                    <a:pt x="139" y="120"/>
                  </a:lnTo>
                  <a:lnTo>
                    <a:pt x="135" y="120"/>
                  </a:lnTo>
                  <a:lnTo>
                    <a:pt x="135" y="124"/>
                  </a:lnTo>
                  <a:lnTo>
                    <a:pt x="131" y="124"/>
                  </a:lnTo>
                  <a:lnTo>
                    <a:pt x="127" y="124"/>
                  </a:lnTo>
                  <a:lnTo>
                    <a:pt x="127" y="12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7" name="Freeform 168">
              <a:extLst>
                <a:ext uri="{FF2B5EF4-FFF2-40B4-BE49-F238E27FC236}">
                  <a16:creationId xmlns:a16="http://schemas.microsoft.com/office/drawing/2014/main" id="{D3874CB3-9388-0B4C-8766-D3E5BB47B05A}"/>
                </a:ext>
              </a:extLst>
            </p:cNvPr>
            <p:cNvSpPr>
              <a:spLocks/>
            </p:cNvSpPr>
            <p:nvPr>
              <p:custDataLst>
                <p:tags r:id="rId87"/>
              </p:custDataLst>
            </p:nvPr>
          </p:nvSpPr>
          <p:spPr bwMode="gray">
            <a:xfrm>
              <a:off x="4275835" y="6324934"/>
              <a:ext cx="150012" cy="166400"/>
            </a:xfrm>
            <a:custGeom>
              <a:avLst/>
              <a:gdLst/>
              <a:ahLst/>
              <a:cxnLst>
                <a:cxn ang="0">
                  <a:pos x="95" y="124"/>
                </a:cxn>
                <a:cxn ang="0">
                  <a:pos x="91" y="128"/>
                </a:cxn>
                <a:cxn ang="0">
                  <a:pos x="87" y="128"/>
                </a:cxn>
                <a:cxn ang="0">
                  <a:pos x="79" y="128"/>
                </a:cxn>
                <a:cxn ang="0">
                  <a:pos x="75" y="128"/>
                </a:cxn>
                <a:cxn ang="0">
                  <a:pos x="67" y="124"/>
                </a:cxn>
                <a:cxn ang="0">
                  <a:pos x="59" y="124"/>
                </a:cxn>
                <a:cxn ang="0">
                  <a:pos x="55" y="124"/>
                </a:cxn>
                <a:cxn ang="0">
                  <a:pos x="55" y="120"/>
                </a:cxn>
                <a:cxn ang="0">
                  <a:pos x="55" y="116"/>
                </a:cxn>
                <a:cxn ang="0">
                  <a:pos x="47" y="116"/>
                </a:cxn>
                <a:cxn ang="0">
                  <a:pos x="43" y="116"/>
                </a:cxn>
                <a:cxn ang="0">
                  <a:pos x="40" y="112"/>
                </a:cxn>
                <a:cxn ang="0">
                  <a:pos x="36" y="104"/>
                </a:cxn>
                <a:cxn ang="0">
                  <a:pos x="36" y="100"/>
                </a:cxn>
                <a:cxn ang="0">
                  <a:pos x="32" y="92"/>
                </a:cxn>
                <a:cxn ang="0">
                  <a:pos x="32" y="92"/>
                </a:cxn>
                <a:cxn ang="0">
                  <a:pos x="28" y="84"/>
                </a:cxn>
                <a:cxn ang="0">
                  <a:pos x="20" y="80"/>
                </a:cxn>
                <a:cxn ang="0">
                  <a:pos x="16" y="76"/>
                </a:cxn>
                <a:cxn ang="0">
                  <a:pos x="12" y="72"/>
                </a:cxn>
                <a:cxn ang="0">
                  <a:pos x="12" y="64"/>
                </a:cxn>
                <a:cxn ang="0">
                  <a:pos x="8" y="56"/>
                </a:cxn>
                <a:cxn ang="0">
                  <a:pos x="4" y="52"/>
                </a:cxn>
                <a:cxn ang="0">
                  <a:pos x="0" y="48"/>
                </a:cxn>
                <a:cxn ang="0">
                  <a:pos x="0" y="44"/>
                </a:cxn>
                <a:cxn ang="0">
                  <a:pos x="4" y="44"/>
                </a:cxn>
                <a:cxn ang="0">
                  <a:pos x="12" y="48"/>
                </a:cxn>
                <a:cxn ang="0">
                  <a:pos x="16" y="44"/>
                </a:cxn>
                <a:cxn ang="0">
                  <a:pos x="24" y="48"/>
                </a:cxn>
                <a:cxn ang="0">
                  <a:pos x="28" y="44"/>
                </a:cxn>
                <a:cxn ang="0">
                  <a:pos x="40" y="28"/>
                </a:cxn>
                <a:cxn ang="0">
                  <a:pos x="51" y="20"/>
                </a:cxn>
                <a:cxn ang="0">
                  <a:pos x="51" y="12"/>
                </a:cxn>
                <a:cxn ang="0">
                  <a:pos x="55" y="8"/>
                </a:cxn>
                <a:cxn ang="0">
                  <a:pos x="67" y="4"/>
                </a:cxn>
                <a:cxn ang="0">
                  <a:pos x="75" y="4"/>
                </a:cxn>
                <a:cxn ang="0">
                  <a:pos x="83" y="8"/>
                </a:cxn>
                <a:cxn ang="0">
                  <a:pos x="91" y="12"/>
                </a:cxn>
                <a:cxn ang="0">
                  <a:pos x="95" y="12"/>
                </a:cxn>
                <a:cxn ang="0">
                  <a:pos x="103" y="16"/>
                </a:cxn>
                <a:cxn ang="0">
                  <a:pos x="107" y="16"/>
                </a:cxn>
                <a:cxn ang="0">
                  <a:pos x="111" y="24"/>
                </a:cxn>
                <a:cxn ang="0">
                  <a:pos x="115" y="24"/>
                </a:cxn>
                <a:cxn ang="0">
                  <a:pos x="115" y="28"/>
                </a:cxn>
                <a:cxn ang="0">
                  <a:pos x="115" y="32"/>
                </a:cxn>
                <a:cxn ang="0">
                  <a:pos x="115" y="36"/>
                </a:cxn>
                <a:cxn ang="0">
                  <a:pos x="115" y="44"/>
                </a:cxn>
                <a:cxn ang="0">
                  <a:pos x="115" y="48"/>
                </a:cxn>
                <a:cxn ang="0">
                  <a:pos x="115" y="56"/>
                </a:cxn>
                <a:cxn ang="0">
                  <a:pos x="115" y="60"/>
                </a:cxn>
                <a:cxn ang="0">
                  <a:pos x="111" y="60"/>
                </a:cxn>
                <a:cxn ang="0">
                  <a:pos x="115" y="64"/>
                </a:cxn>
                <a:cxn ang="0">
                  <a:pos x="115" y="76"/>
                </a:cxn>
                <a:cxn ang="0">
                  <a:pos x="115" y="84"/>
                </a:cxn>
                <a:cxn ang="0">
                  <a:pos x="111" y="92"/>
                </a:cxn>
                <a:cxn ang="0">
                  <a:pos x="107" y="100"/>
                </a:cxn>
                <a:cxn ang="0">
                  <a:pos x="107" y="108"/>
                </a:cxn>
              </a:cxnLst>
              <a:rect l="0" t="0" r="r" b="b"/>
              <a:pathLst>
                <a:path w="119" h="132">
                  <a:moveTo>
                    <a:pt x="107" y="108"/>
                  </a:move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99" y="120"/>
                  </a:lnTo>
                  <a:lnTo>
                    <a:pt x="95" y="124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91" y="132"/>
                  </a:lnTo>
                  <a:lnTo>
                    <a:pt x="91" y="128"/>
                  </a:lnTo>
                  <a:lnTo>
                    <a:pt x="91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7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83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9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5" y="128"/>
                  </a:lnTo>
                  <a:lnTo>
                    <a:pt x="71" y="128"/>
                  </a:lnTo>
                  <a:lnTo>
                    <a:pt x="71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7" y="124"/>
                  </a:lnTo>
                  <a:lnTo>
                    <a:pt x="63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9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4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20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5" y="116"/>
                  </a:lnTo>
                  <a:lnTo>
                    <a:pt x="51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7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3" y="116"/>
                  </a:lnTo>
                  <a:lnTo>
                    <a:pt x="40" y="116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12"/>
                  </a:lnTo>
                  <a:lnTo>
                    <a:pt x="40" y="108"/>
                  </a:lnTo>
                  <a:lnTo>
                    <a:pt x="40" y="108"/>
                  </a:lnTo>
                  <a:lnTo>
                    <a:pt x="36" y="108"/>
                  </a:lnTo>
                  <a:lnTo>
                    <a:pt x="36" y="108"/>
                  </a:lnTo>
                  <a:lnTo>
                    <a:pt x="36" y="104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100"/>
                  </a:lnTo>
                  <a:lnTo>
                    <a:pt x="36" y="96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6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92"/>
                  </a:lnTo>
                  <a:lnTo>
                    <a:pt x="32" y="88"/>
                  </a:lnTo>
                  <a:lnTo>
                    <a:pt x="32" y="88"/>
                  </a:lnTo>
                  <a:lnTo>
                    <a:pt x="28" y="88"/>
                  </a:lnTo>
                  <a:lnTo>
                    <a:pt x="28" y="84"/>
                  </a:lnTo>
                  <a:lnTo>
                    <a:pt x="28" y="84"/>
                  </a:lnTo>
                  <a:lnTo>
                    <a:pt x="24" y="84"/>
                  </a:lnTo>
                  <a:lnTo>
                    <a:pt x="20" y="84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20" y="80"/>
                  </a:lnTo>
                  <a:lnTo>
                    <a:pt x="16" y="80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6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6"/>
                  </a:lnTo>
                  <a:lnTo>
                    <a:pt x="12" y="72"/>
                  </a:lnTo>
                  <a:lnTo>
                    <a:pt x="12" y="72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8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12" y="64"/>
                  </a:lnTo>
                  <a:lnTo>
                    <a:pt x="8" y="64"/>
                  </a:lnTo>
                  <a:lnTo>
                    <a:pt x="8" y="64"/>
                  </a:lnTo>
                  <a:lnTo>
                    <a:pt x="8" y="60"/>
                  </a:lnTo>
                  <a:lnTo>
                    <a:pt x="8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6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4" y="52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8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0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4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4"/>
                  </a:lnTo>
                  <a:lnTo>
                    <a:pt x="8" y="48"/>
                  </a:lnTo>
                  <a:lnTo>
                    <a:pt x="8" y="48"/>
                  </a:lnTo>
                  <a:lnTo>
                    <a:pt x="12" y="48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2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16" y="44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0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8"/>
                  </a:lnTo>
                  <a:lnTo>
                    <a:pt x="24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28" y="44"/>
                  </a:lnTo>
                  <a:lnTo>
                    <a:pt x="32" y="40"/>
                  </a:lnTo>
                  <a:lnTo>
                    <a:pt x="32" y="36"/>
                  </a:lnTo>
                  <a:lnTo>
                    <a:pt x="36" y="36"/>
                  </a:lnTo>
                  <a:lnTo>
                    <a:pt x="36" y="32"/>
                  </a:lnTo>
                  <a:lnTo>
                    <a:pt x="36" y="32"/>
                  </a:lnTo>
                  <a:lnTo>
                    <a:pt x="40" y="28"/>
                  </a:lnTo>
                  <a:lnTo>
                    <a:pt x="40" y="28"/>
                  </a:lnTo>
                  <a:lnTo>
                    <a:pt x="40" y="24"/>
                  </a:lnTo>
                  <a:lnTo>
                    <a:pt x="43" y="24"/>
                  </a:lnTo>
                  <a:lnTo>
                    <a:pt x="43" y="24"/>
                  </a:lnTo>
                  <a:lnTo>
                    <a:pt x="47" y="20"/>
                  </a:lnTo>
                  <a:lnTo>
                    <a:pt x="51" y="20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6"/>
                  </a:lnTo>
                  <a:lnTo>
                    <a:pt x="51" y="12"/>
                  </a:lnTo>
                  <a:lnTo>
                    <a:pt x="55" y="12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5" y="8"/>
                  </a:lnTo>
                  <a:lnTo>
                    <a:pt x="59" y="4"/>
                  </a:lnTo>
                  <a:lnTo>
                    <a:pt x="59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3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4"/>
                  </a:lnTo>
                  <a:lnTo>
                    <a:pt x="67" y="0"/>
                  </a:lnTo>
                  <a:lnTo>
                    <a:pt x="71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4"/>
                  </a:lnTo>
                  <a:lnTo>
                    <a:pt x="75" y="8"/>
                  </a:lnTo>
                  <a:lnTo>
                    <a:pt x="83" y="8"/>
                  </a:lnTo>
                  <a:lnTo>
                    <a:pt x="87" y="8"/>
                  </a:lnTo>
                  <a:lnTo>
                    <a:pt x="87" y="8"/>
                  </a:lnTo>
                  <a:lnTo>
                    <a:pt x="91" y="8"/>
                  </a:lnTo>
                  <a:lnTo>
                    <a:pt x="91" y="8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1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5" y="12"/>
                  </a:lnTo>
                  <a:lnTo>
                    <a:pt x="99" y="12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99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3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16"/>
                  </a:lnTo>
                  <a:lnTo>
                    <a:pt x="107" y="20"/>
                  </a:lnTo>
                  <a:lnTo>
                    <a:pt x="111" y="20"/>
                  </a:lnTo>
                  <a:lnTo>
                    <a:pt x="111" y="20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1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4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28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2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36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0"/>
                  </a:lnTo>
                  <a:lnTo>
                    <a:pt x="115" y="44"/>
                  </a:lnTo>
                  <a:lnTo>
                    <a:pt x="115" y="44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48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5" y="52"/>
                  </a:lnTo>
                  <a:lnTo>
                    <a:pt x="119" y="52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56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5" y="60"/>
                  </a:lnTo>
                  <a:lnTo>
                    <a:pt x="111" y="60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1" y="64"/>
                  </a:lnTo>
                  <a:lnTo>
                    <a:pt x="115" y="64"/>
                  </a:lnTo>
                  <a:lnTo>
                    <a:pt x="115" y="68"/>
                  </a:lnTo>
                  <a:lnTo>
                    <a:pt x="115" y="72"/>
                  </a:lnTo>
                  <a:lnTo>
                    <a:pt x="115" y="72"/>
                  </a:lnTo>
                  <a:lnTo>
                    <a:pt x="111" y="72"/>
                  </a:lnTo>
                  <a:lnTo>
                    <a:pt x="111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76"/>
                  </a:lnTo>
                  <a:lnTo>
                    <a:pt x="115" y="80"/>
                  </a:lnTo>
                  <a:lnTo>
                    <a:pt x="115" y="80"/>
                  </a:lnTo>
                  <a:lnTo>
                    <a:pt x="115" y="84"/>
                  </a:lnTo>
                  <a:lnTo>
                    <a:pt x="115" y="84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5" y="88"/>
                  </a:lnTo>
                  <a:lnTo>
                    <a:pt x="111" y="92"/>
                  </a:lnTo>
                  <a:lnTo>
                    <a:pt x="111" y="96"/>
                  </a:lnTo>
                  <a:lnTo>
                    <a:pt x="111" y="96"/>
                  </a:lnTo>
                  <a:lnTo>
                    <a:pt x="107" y="96"/>
                  </a:lnTo>
                  <a:lnTo>
                    <a:pt x="107" y="96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0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4"/>
                  </a:lnTo>
                  <a:lnTo>
                    <a:pt x="107" y="108"/>
                  </a:lnTo>
                  <a:lnTo>
                    <a:pt x="107" y="108"/>
                  </a:lnTo>
                  <a:lnTo>
                    <a:pt x="107" y="108"/>
                  </a:lnTo>
                  <a:close/>
                </a:path>
              </a:pathLst>
            </a:custGeom>
            <a:grpFill/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98" name="Freeform 186">
              <a:extLst>
                <a:ext uri="{FF2B5EF4-FFF2-40B4-BE49-F238E27FC236}">
                  <a16:creationId xmlns:a16="http://schemas.microsoft.com/office/drawing/2014/main" id="{47D93B2F-2F99-0746-A696-9E11C0FACED5}"/>
                </a:ext>
              </a:extLst>
            </p:cNvPr>
            <p:cNvSpPr>
              <a:spLocks noEditPoints="1"/>
            </p:cNvSpPr>
            <p:nvPr>
              <p:custDataLst>
                <p:tags r:id="rId88"/>
              </p:custDataLst>
            </p:nvPr>
          </p:nvSpPr>
          <p:spPr bwMode="gray">
            <a:xfrm>
              <a:off x="4109435" y="6481249"/>
              <a:ext cx="407175" cy="634083"/>
            </a:xfrm>
            <a:custGeom>
              <a:avLst/>
              <a:gdLst/>
              <a:ahLst/>
              <a:cxnLst>
                <a:cxn ang="0">
                  <a:pos x="12" y="123"/>
                </a:cxn>
                <a:cxn ang="0">
                  <a:pos x="28" y="131"/>
                </a:cxn>
                <a:cxn ang="0">
                  <a:pos x="44" y="123"/>
                </a:cxn>
                <a:cxn ang="0">
                  <a:pos x="52" y="99"/>
                </a:cxn>
                <a:cxn ang="0">
                  <a:pos x="52" y="60"/>
                </a:cxn>
                <a:cxn ang="0">
                  <a:pos x="60" y="64"/>
                </a:cxn>
                <a:cxn ang="0">
                  <a:pos x="64" y="83"/>
                </a:cxn>
                <a:cxn ang="0">
                  <a:pos x="72" y="91"/>
                </a:cxn>
                <a:cxn ang="0">
                  <a:pos x="84" y="80"/>
                </a:cxn>
                <a:cxn ang="0">
                  <a:pos x="96" y="64"/>
                </a:cxn>
                <a:cxn ang="0">
                  <a:pos x="116" y="68"/>
                </a:cxn>
                <a:cxn ang="0">
                  <a:pos x="128" y="72"/>
                </a:cxn>
                <a:cxn ang="0">
                  <a:pos x="136" y="64"/>
                </a:cxn>
                <a:cxn ang="0">
                  <a:pos x="152" y="48"/>
                </a:cxn>
                <a:cxn ang="0">
                  <a:pos x="156" y="28"/>
                </a:cxn>
                <a:cxn ang="0">
                  <a:pos x="175" y="12"/>
                </a:cxn>
                <a:cxn ang="0">
                  <a:pos x="191" y="0"/>
                </a:cxn>
                <a:cxn ang="0">
                  <a:pos x="211" y="4"/>
                </a:cxn>
                <a:cxn ang="0">
                  <a:pos x="227" y="24"/>
                </a:cxn>
                <a:cxn ang="0">
                  <a:pos x="231" y="44"/>
                </a:cxn>
                <a:cxn ang="0">
                  <a:pos x="231" y="64"/>
                </a:cxn>
                <a:cxn ang="0">
                  <a:pos x="223" y="68"/>
                </a:cxn>
                <a:cxn ang="0">
                  <a:pos x="215" y="87"/>
                </a:cxn>
                <a:cxn ang="0">
                  <a:pos x="219" y="99"/>
                </a:cxn>
                <a:cxn ang="0">
                  <a:pos x="235" y="91"/>
                </a:cxn>
                <a:cxn ang="0">
                  <a:pos x="243" y="103"/>
                </a:cxn>
                <a:cxn ang="0">
                  <a:pos x="239" y="123"/>
                </a:cxn>
                <a:cxn ang="0">
                  <a:pos x="223" y="139"/>
                </a:cxn>
                <a:cxn ang="0">
                  <a:pos x="215" y="159"/>
                </a:cxn>
                <a:cxn ang="0">
                  <a:pos x="203" y="179"/>
                </a:cxn>
                <a:cxn ang="0">
                  <a:pos x="191" y="191"/>
                </a:cxn>
                <a:cxn ang="0">
                  <a:pos x="175" y="207"/>
                </a:cxn>
                <a:cxn ang="0">
                  <a:pos x="160" y="219"/>
                </a:cxn>
                <a:cxn ang="0">
                  <a:pos x="144" y="227"/>
                </a:cxn>
                <a:cxn ang="0">
                  <a:pos x="132" y="231"/>
                </a:cxn>
                <a:cxn ang="0">
                  <a:pos x="104" y="231"/>
                </a:cxn>
                <a:cxn ang="0">
                  <a:pos x="84" y="235"/>
                </a:cxn>
                <a:cxn ang="0">
                  <a:pos x="64" y="239"/>
                </a:cxn>
                <a:cxn ang="0">
                  <a:pos x="44" y="247"/>
                </a:cxn>
                <a:cxn ang="0">
                  <a:pos x="32" y="235"/>
                </a:cxn>
                <a:cxn ang="0">
                  <a:pos x="28" y="239"/>
                </a:cxn>
                <a:cxn ang="0">
                  <a:pos x="28" y="227"/>
                </a:cxn>
                <a:cxn ang="0">
                  <a:pos x="24" y="207"/>
                </a:cxn>
                <a:cxn ang="0">
                  <a:pos x="24" y="191"/>
                </a:cxn>
                <a:cxn ang="0">
                  <a:pos x="16" y="175"/>
                </a:cxn>
                <a:cxn ang="0">
                  <a:pos x="8" y="151"/>
                </a:cxn>
                <a:cxn ang="0">
                  <a:pos x="0" y="127"/>
                </a:cxn>
                <a:cxn ang="0">
                  <a:pos x="191" y="143"/>
                </a:cxn>
                <a:cxn ang="0">
                  <a:pos x="187" y="127"/>
                </a:cxn>
                <a:cxn ang="0">
                  <a:pos x="172" y="131"/>
                </a:cxn>
                <a:cxn ang="0">
                  <a:pos x="160" y="147"/>
                </a:cxn>
                <a:cxn ang="0">
                  <a:pos x="168" y="163"/>
                </a:cxn>
                <a:cxn ang="0">
                  <a:pos x="183" y="155"/>
                </a:cxn>
                <a:cxn ang="0">
                  <a:pos x="319" y="503"/>
                </a:cxn>
              </a:cxnLst>
              <a:rect l="0" t="0" r="r" b="b"/>
              <a:pathLst>
                <a:path w="323" h="503">
                  <a:moveTo>
                    <a:pt x="8" y="115"/>
                  </a:moveTo>
                  <a:lnTo>
                    <a:pt x="8" y="119"/>
                  </a:lnTo>
                  <a:lnTo>
                    <a:pt x="12" y="119"/>
                  </a:lnTo>
                  <a:lnTo>
                    <a:pt x="12" y="115"/>
                  </a:lnTo>
                  <a:lnTo>
                    <a:pt x="12" y="119"/>
                  </a:lnTo>
                  <a:lnTo>
                    <a:pt x="12" y="123"/>
                  </a:lnTo>
                  <a:lnTo>
                    <a:pt x="12" y="127"/>
                  </a:lnTo>
                  <a:lnTo>
                    <a:pt x="16" y="127"/>
                  </a:lnTo>
                  <a:lnTo>
                    <a:pt x="20" y="127"/>
                  </a:lnTo>
                  <a:lnTo>
                    <a:pt x="20" y="131"/>
                  </a:lnTo>
                  <a:lnTo>
                    <a:pt x="24" y="131"/>
                  </a:lnTo>
                  <a:lnTo>
                    <a:pt x="28" y="131"/>
                  </a:lnTo>
                  <a:lnTo>
                    <a:pt x="32" y="127"/>
                  </a:lnTo>
                  <a:lnTo>
                    <a:pt x="36" y="131"/>
                  </a:lnTo>
                  <a:lnTo>
                    <a:pt x="40" y="131"/>
                  </a:lnTo>
                  <a:lnTo>
                    <a:pt x="40" y="127"/>
                  </a:lnTo>
                  <a:lnTo>
                    <a:pt x="44" y="127"/>
                  </a:lnTo>
                  <a:lnTo>
                    <a:pt x="44" y="123"/>
                  </a:lnTo>
                  <a:lnTo>
                    <a:pt x="48" y="123"/>
                  </a:lnTo>
                  <a:lnTo>
                    <a:pt x="52" y="119"/>
                  </a:lnTo>
                  <a:lnTo>
                    <a:pt x="52" y="115"/>
                  </a:lnTo>
                  <a:lnTo>
                    <a:pt x="52" y="111"/>
                  </a:lnTo>
                  <a:lnTo>
                    <a:pt x="52" y="103"/>
                  </a:lnTo>
                  <a:lnTo>
                    <a:pt x="52" y="99"/>
                  </a:lnTo>
                  <a:lnTo>
                    <a:pt x="52" y="95"/>
                  </a:lnTo>
                  <a:lnTo>
                    <a:pt x="52" y="83"/>
                  </a:lnTo>
                  <a:lnTo>
                    <a:pt x="52" y="72"/>
                  </a:lnTo>
                  <a:lnTo>
                    <a:pt x="52" y="68"/>
                  </a:lnTo>
                  <a:lnTo>
                    <a:pt x="52" y="64"/>
                  </a:lnTo>
                  <a:lnTo>
                    <a:pt x="52" y="60"/>
                  </a:lnTo>
                  <a:lnTo>
                    <a:pt x="52" y="56"/>
                  </a:lnTo>
                  <a:lnTo>
                    <a:pt x="52" y="52"/>
                  </a:lnTo>
                  <a:lnTo>
                    <a:pt x="56" y="52"/>
                  </a:lnTo>
                  <a:lnTo>
                    <a:pt x="56" y="56"/>
                  </a:lnTo>
                  <a:lnTo>
                    <a:pt x="60" y="60"/>
                  </a:lnTo>
                  <a:lnTo>
                    <a:pt x="60" y="64"/>
                  </a:lnTo>
                  <a:lnTo>
                    <a:pt x="64" y="68"/>
                  </a:lnTo>
                  <a:lnTo>
                    <a:pt x="60" y="68"/>
                  </a:lnTo>
                  <a:lnTo>
                    <a:pt x="64" y="72"/>
                  </a:lnTo>
                  <a:lnTo>
                    <a:pt x="64" y="76"/>
                  </a:lnTo>
                  <a:lnTo>
                    <a:pt x="64" y="80"/>
                  </a:lnTo>
                  <a:lnTo>
                    <a:pt x="64" y="83"/>
                  </a:lnTo>
                  <a:lnTo>
                    <a:pt x="60" y="83"/>
                  </a:lnTo>
                  <a:lnTo>
                    <a:pt x="60" y="87"/>
                  </a:lnTo>
                  <a:lnTo>
                    <a:pt x="60" y="91"/>
                  </a:lnTo>
                  <a:lnTo>
                    <a:pt x="64" y="91"/>
                  </a:lnTo>
                  <a:lnTo>
                    <a:pt x="68" y="91"/>
                  </a:lnTo>
                  <a:lnTo>
                    <a:pt x="72" y="91"/>
                  </a:lnTo>
                  <a:lnTo>
                    <a:pt x="76" y="91"/>
                  </a:lnTo>
                  <a:lnTo>
                    <a:pt x="80" y="91"/>
                  </a:lnTo>
                  <a:lnTo>
                    <a:pt x="80" y="87"/>
                  </a:lnTo>
                  <a:lnTo>
                    <a:pt x="84" y="87"/>
                  </a:lnTo>
                  <a:lnTo>
                    <a:pt x="84" y="83"/>
                  </a:lnTo>
                  <a:lnTo>
                    <a:pt x="84" y="80"/>
                  </a:lnTo>
                  <a:lnTo>
                    <a:pt x="88" y="80"/>
                  </a:lnTo>
                  <a:lnTo>
                    <a:pt x="92" y="76"/>
                  </a:lnTo>
                  <a:lnTo>
                    <a:pt x="92" y="72"/>
                  </a:lnTo>
                  <a:lnTo>
                    <a:pt x="92" y="68"/>
                  </a:lnTo>
                  <a:lnTo>
                    <a:pt x="96" y="68"/>
                  </a:lnTo>
                  <a:lnTo>
                    <a:pt x="96" y="64"/>
                  </a:lnTo>
                  <a:lnTo>
                    <a:pt x="96" y="60"/>
                  </a:lnTo>
                  <a:lnTo>
                    <a:pt x="100" y="60"/>
                  </a:lnTo>
                  <a:lnTo>
                    <a:pt x="104" y="60"/>
                  </a:lnTo>
                  <a:lnTo>
                    <a:pt x="108" y="64"/>
                  </a:lnTo>
                  <a:lnTo>
                    <a:pt x="112" y="68"/>
                  </a:lnTo>
                  <a:lnTo>
                    <a:pt x="116" y="68"/>
                  </a:lnTo>
                  <a:lnTo>
                    <a:pt x="116" y="72"/>
                  </a:lnTo>
                  <a:lnTo>
                    <a:pt x="120" y="72"/>
                  </a:lnTo>
                  <a:lnTo>
                    <a:pt x="120" y="68"/>
                  </a:lnTo>
                  <a:lnTo>
                    <a:pt x="120" y="72"/>
                  </a:lnTo>
                  <a:lnTo>
                    <a:pt x="124" y="72"/>
                  </a:lnTo>
                  <a:lnTo>
                    <a:pt x="128" y="72"/>
                  </a:lnTo>
                  <a:lnTo>
                    <a:pt x="128" y="68"/>
                  </a:lnTo>
                  <a:lnTo>
                    <a:pt x="128" y="72"/>
                  </a:lnTo>
                  <a:lnTo>
                    <a:pt x="132" y="72"/>
                  </a:lnTo>
                  <a:lnTo>
                    <a:pt x="132" y="68"/>
                  </a:lnTo>
                  <a:lnTo>
                    <a:pt x="136" y="68"/>
                  </a:lnTo>
                  <a:lnTo>
                    <a:pt x="136" y="64"/>
                  </a:lnTo>
                  <a:lnTo>
                    <a:pt x="140" y="60"/>
                  </a:lnTo>
                  <a:lnTo>
                    <a:pt x="140" y="56"/>
                  </a:lnTo>
                  <a:lnTo>
                    <a:pt x="140" y="52"/>
                  </a:lnTo>
                  <a:lnTo>
                    <a:pt x="144" y="48"/>
                  </a:lnTo>
                  <a:lnTo>
                    <a:pt x="148" y="48"/>
                  </a:lnTo>
                  <a:lnTo>
                    <a:pt x="152" y="48"/>
                  </a:lnTo>
                  <a:lnTo>
                    <a:pt x="152" y="44"/>
                  </a:lnTo>
                  <a:lnTo>
                    <a:pt x="156" y="44"/>
                  </a:lnTo>
                  <a:lnTo>
                    <a:pt x="156" y="40"/>
                  </a:lnTo>
                  <a:lnTo>
                    <a:pt x="156" y="36"/>
                  </a:lnTo>
                  <a:lnTo>
                    <a:pt x="156" y="32"/>
                  </a:lnTo>
                  <a:lnTo>
                    <a:pt x="156" y="28"/>
                  </a:lnTo>
                  <a:lnTo>
                    <a:pt x="160" y="28"/>
                  </a:lnTo>
                  <a:lnTo>
                    <a:pt x="164" y="24"/>
                  </a:lnTo>
                  <a:lnTo>
                    <a:pt x="168" y="24"/>
                  </a:lnTo>
                  <a:lnTo>
                    <a:pt x="168" y="20"/>
                  </a:lnTo>
                  <a:lnTo>
                    <a:pt x="172" y="16"/>
                  </a:lnTo>
                  <a:lnTo>
                    <a:pt x="175" y="12"/>
                  </a:lnTo>
                  <a:lnTo>
                    <a:pt x="175" y="8"/>
                  </a:lnTo>
                  <a:lnTo>
                    <a:pt x="179" y="8"/>
                  </a:lnTo>
                  <a:lnTo>
                    <a:pt x="183" y="8"/>
                  </a:lnTo>
                  <a:lnTo>
                    <a:pt x="187" y="8"/>
                  </a:lnTo>
                  <a:lnTo>
                    <a:pt x="187" y="4"/>
                  </a:lnTo>
                  <a:lnTo>
                    <a:pt x="191" y="0"/>
                  </a:lnTo>
                  <a:lnTo>
                    <a:pt x="195" y="0"/>
                  </a:lnTo>
                  <a:lnTo>
                    <a:pt x="199" y="0"/>
                  </a:lnTo>
                  <a:lnTo>
                    <a:pt x="203" y="0"/>
                  </a:lnTo>
                  <a:lnTo>
                    <a:pt x="203" y="4"/>
                  </a:lnTo>
                  <a:lnTo>
                    <a:pt x="207" y="4"/>
                  </a:lnTo>
                  <a:lnTo>
                    <a:pt x="211" y="4"/>
                  </a:lnTo>
                  <a:lnTo>
                    <a:pt x="215" y="4"/>
                  </a:lnTo>
                  <a:lnTo>
                    <a:pt x="219" y="4"/>
                  </a:lnTo>
                  <a:lnTo>
                    <a:pt x="223" y="4"/>
                  </a:lnTo>
                  <a:lnTo>
                    <a:pt x="223" y="8"/>
                  </a:lnTo>
                  <a:lnTo>
                    <a:pt x="227" y="20"/>
                  </a:lnTo>
                  <a:lnTo>
                    <a:pt x="227" y="24"/>
                  </a:lnTo>
                  <a:lnTo>
                    <a:pt x="227" y="28"/>
                  </a:lnTo>
                  <a:lnTo>
                    <a:pt x="227" y="32"/>
                  </a:lnTo>
                  <a:lnTo>
                    <a:pt x="231" y="32"/>
                  </a:lnTo>
                  <a:lnTo>
                    <a:pt x="231" y="36"/>
                  </a:lnTo>
                  <a:lnTo>
                    <a:pt x="231" y="40"/>
                  </a:lnTo>
                  <a:lnTo>
                    <a:pt x="231" y="44"/>
                  </a:lnTo>
                  <a:lnTo>
                    <a:pt x="235" y="44"/>
                  </a:lnTo>
                  <a:lnTo>
                    <a:pt x="231" y="48"/>
                  </a:lnTo>
                  <a:lnTo>
                    <a:pt x="231" y="52"/>
                  </a:lnTo>
                  <a:lnTo>
                    <a:pt x="231" y="56"/>
                  </a:lnTo>
                  <a:lnTo>
                    <a:pt x="235" y="56"/>
                  </a:lnTo>
                  <a:lnTo>
                    <a:pt x="231" y="64"/>
                  </a:lnTo>
                  <a:lnTo>
                    <a:pt x="231" y="68"/>
                  </a:lnTo>
                  <a:lnTo>
                    <a:pt x="231" y="72"/>
                  </a:lnTo>
                  <a:lnTo>
                    <a:pt x="231" y="76"/>
                  </a:lnTo>
                  <a:lnTo>
                    <a:pt x="231" y="72"/>
                  </a:lnTo>
                  <a:lnTo>
                    <a:pt x="227" y="72"/>
                  </a:lnTo>
                  <a:lnTo>
                    <a:pt x="223" y="68"/>
                  </a:lnTo>
                  <a:lnTo>
                    <a:pt x="219" y="72"/>
                  </a:lnTo>
                  <a:lnTo>
                    <a:pt x="219" y="76"/>
                  </a:lnTo>
                  <a:lnTo>
                    <a:pt x="219" y="80"/>
                  </a:lnTo>
                  <a:lnTo>
                    <a:pt x="215" y="80"/>
                  </a:lnTo>
                  <a:lnTo>
                    <a:pt x="215" y="83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5" y="87"/>
                  </a:lnTo>
                  <a:lnTo>
                    <a:pt x="215" y="91"/>
                  </a:lnTo>
                  <a:lnTo>
                    <a:pt x="219" y="91"/>
                  </a:lnTo>
                  <a:lnTo>
                    <a:pt x="219" y="95"/>
                  </a:lnTo>
                  <a:lnTo>
                    <a:pt x="219" y="99"/>
                  </a:lnTo>
                  <a:lnTo>
                    <a:pt x="223" y="99"/>
                  </a:lnTo>
                  <a:lnTo>
                    <a:pt x="227" y="99"/>
                  </a:lnTo>
                  <a:lnTo>
                    <a:pt x="231" y="99"/>
                  </a:lnTo>
                  <a:lnTo>
                    <a:pt x="231" y="95"/>
                  </a:lnTo>
                  <a:lnTo>
                    <a:pt x="231" y="91"/>
                  </a:lnTo>
                  <a:lnTo>
                    <a:pt x="235" y="91"/>
                  </a:lnTo>
                  <a:lnTo>
                    <a:pt x="239" y="91"/>
                  </a:lnTo>
                  <a:lnTo>
                    <a:pt x="243" y="91"/>
                  </a:lnTo>
                  <a:lnTo>
                    <a:pt x="247" y="91"/>
                  </a:lnTo>
                  <a:lnTo>
                    <a:pt x="247" y="95"/>
                  </a:lnTo>
                  <a:lnTo>
                    <a:pt x="243" y="99"/>
                  </a:lnTo>
                  <a:lnTo>
                    <a:pt x="243" y="103"/>
                  </a:lnTo>
                  <a:lnTo>
                    <a:pt x="243" y="107"/>
                  </a:lnTo>
                  <a:lnTo>
                    <a:pt x="243" y="111"/>
                  </a:lnTo>
                  <a:lnTo>
                    <a:pt x="243" y="115"/>
                  </a:lnTo>
                  <a:lnTo>
                    <a:pt x="239" y="115"/>
                  </a:lnTo>
                  <a:lnTo>
                    <a:pt x="239" y="119"/>
                  </a:lnTo>
                  <a:lnTo>
                    <a:pt x="239" y="123"/>
                  </a:lnTo>
                  <a:lnTo>
                    <a:pt x="235" y="127"/>
                  </a:lnTo>
                  <a:lnTo>
                    <a:pt x="235" y="131"/>
                  </a:lnTo>
                  <a:lnTo>
                    <a:pt x="231" y="131"/>
                  </a:lnTo>
                  <a:lnTo>
                    <a:pt x="227" y="131"/>
                  </a:lnTo>
                  <a:lnTo>
                    <a:pt x="227" y="135"/>
                  </a:lnTo>
                  <a:lnTo>
                    <a:pt x="223" y="139"/>
                  </a:lnTo>
                  <a:lnTo>
                    <a:pt x="219" y="143"/>
                  </a:lnTo>
                  <a:lnTo>
                    <a:pt x="219" y="147"/>
                  </a:lnTo>
                  <a:lnTo>
                    <a:pt x="219" y="151"/>
                  </a:lnTo>
                  <a:lnTo>
                    <a:pt x="215" y="151"/>
                  </a:lnTo>
                  <a:lnTo>
                    <a:pt x="215" y="155"/>
                  </a:lnTo>
                  <a:lnTo>
                    <a:pt x="215" y="159"/>
                  </a:lnTo>
                  <a:lnTo>
                    <a:pt x="211" y="159"/>
                  </a:lnTo>
                  <a:lnTo>
                    <a:pt x="211" y="167"/>
                  </a:lnTo>
                  <a:lnTo>
                    <a:pt x="207" y="167"/>
                  </a:lnTo>
                  <a:lnTo>
                    <a:pt x="207" y="171"/>
                  </a:lnTo>
                  <a:lnTo>
                    <a:pt x="203" y="175"/>
                  </a:lnTo>
                  <a:lnTo>
                    <a:pt x="203" y="179"/>
                  </a:lnTo>
                  <a:lnTo>
                    <a:pt x="199" y="179"/>
                  </a:lnTo>
                  <a:lnTo>
                    <a:pt x="199" y="183"/>
                  </a:lnTo>
                  <a:lnTo>
                    <a:pt x="195" y="183"/>
                  </a:lnTo>
                  <a:lnTo>
                    <a:pt x="195" y="187"/>
                  </a:lnTo>
                  <a:lnTo>
                    <a:pt x="191" y="187"/>
                  </a:lnTo>
                  <a:lnTo>
                    <a:pt x="191" y="191"/>
                  </a:lnTo>
                  <a:lnTo>
                    <a:pt x="187" y="191"/>
                  </a:lnTo>
                  <a:lnTo>
                    <a:pt x="187" y="195"/>
                  </a:lnTo>
                  <a:lnTo>
                    <a:pt x="183" y="199"/>
                  </a:lnTo>
                  <a:lnTo>
                    <a:pt x="179" y="203"/>
                  </a:lnTo>
                  <a:lnTo>
                    <a:pt x="179" y="207"/>
                  </a:lnTo>
                  <a:lnTo>
                    <a:pt x="175" y="207"/>
                  </a:lnTo>
                  <a:lnTo>
                    <a:pt x="175" y="211"/>
                  </a:lnTo>
                  <a:lnTo>
                    <a:pt x="172" y="211"/>
                  </a:lnTo>
                  <a:lnTo>
                    <a:pt x="168" y="211"/>
                  </a:lnTo>
                  <a:lnTo>
                    <a:pt x="168" y="215"/>
                  </a:lnTo>
                  <a:lnTo>
                    <a:pt x="164" y="219"/>
                  </a:lnTo>
                  <a:lnTo>
                    <a:pt x="160" y="219"/>
                  </a:lnTo>
                  <a:lnTo>
                    <a:pt x="160" y="223"/>
                  </a:lnTo>
                  <a:lnTo>
                    <a:pt x="156" y="223"/>
                  </a:lnTo>
                  <a:lnTo>
                    <a:pt x="152" y="223"/>
                  </a:lnTo>
                  <a:lnTo>
                    <a:pt x="152" y="227"/>
                  </a:lnTo>
                  <a:lnTo>
                    <a:pt x="148" y="227"/>
                  </a:lnTo>
                  <a:lnTo>
                    <a:pt x="144" y="227"/>
                  </a:lnTo>
                  <a:lnTo>
                    <a:pt x="140" y="227"/>
                  </a:lnTo>
                  <a:lnTo>
                    <a:pt x="136" y="227"/>
                  </a:lnTo>
                  <a:lnTo>
                    <a:pt x="136" y="231"/>
                  </a:lnTo>
                  <a:lnTo>
                    <a:pt x="140" y="231"/>
                  </a:lnTo>
                  <a:lnTo>
                    <a:pt x="136" y="231"/>
                  </a:lnTo>
                  <a:lnTo>
                    <a:pt x="132" y="231"/>
                  </a:lnTo>
                  <a:lnTo>
                    <a:pt x="128" y="231"/>
                  </a:lnTo>
                  <a:lnTo>
                    <a:pt x="124" y="235"/>
                  </a:lnTo>
                  <a:lnTo>
                    <a:pt x="120" y="235"/>
                  </a:lnTo>
                  <a:lnTo>
                    <a:pt x="112" y="231"/>
                  </a:lnTo>
                  <a:lnTo>
                    <a:pt x="108" y="231"/>
                  </a:lnTo>
                  <a:lnTo>
                    <a:pt x="104" y="231"/>
                  </a:lnTo>
                  <a:lnTo>
                    <a:pt x="100" y="231"/>
                  </a:lnTo>
                  <a:lnTo>
                    <a:pt x="96" y="231"/>
                  </a:lnTo>
                  <a:lnTo>
                    <a:pt x="92" y="231"/>
                  </a:lnTo>
                  <a:lnTo>
                    <a:pt x="88" y="231"/>
                  </a:lnTo>
                  <a:lnTo>
                    <a:pt x="84" y="231"/>
                  </a:lnTo>
                  <a:lnTo>
                    <a:pt x="84" y="235"/>
                  </a:lnTo>
                  <a:lnTo>
                    <a:pt x="80" y="235"/>
                  </a:lnTo>
                  <a:lnTo>
                    <a:pt x="80" y="239"/>
                  </a:lnTo>
                  <a:lnTo>
                    <a:pt x="76" y="239"/>
                  </a:lnTo>
                  <a:lnTo>
                    <a:pt x="72" y="239"/>
                  </a:lnTo>
                  <a:lnTo>
                    <a:pt x="68" y="239"/>
                  </a:lnTo>
                  <a:lnTo>
                    <a:pt x="64" y="239"/>
                  </a:lnTo>
                  <a:lnTo>
                    <a:pt x="60" y="239"/>
                  </a:lnTo>
                  <a:lnTo>
                    <a:pt x="60" y="243"/>
                  </a:lnTo>
                  <a:lnTo>
                    <a:pt x="56" y="243"/>
                  </a:lnTo>
                  <a:lnTo>
                    <a:pt x="52" y="247"/>
                  </a:lnTo>
                  <a:lnTo>
                    <a:pt x="48" y="247"/>
                  </a:lnTo>
                  <a:lnTo>
                    <a:pt x="44" y="247"/>
                  </a:lnTo>
                  <a:lnTo>
                    <a:pt x="44" y="243"/>
                  </a:lnTo>
                  <a:lnTo>
                    <a:pt x="40" y="243"/>
                  </a:lnTo>
                  <a:lnTo>
                    <a:pt x="40" y="239"/>
                  </a:lnTo>
                  <a:lnTo>
                    <a:pt x="36" y="239"/>
                  </a:lnTo>
                  <a:lnTo>
                    <a:pt x="32" y="239"/>
                  </a:lnTo>
                  <a:lnTo>
                    <a:pt x="32" y="235"/>
                  </a:lnTo>
                  <a:lnTo>
                    <a:pt x="36" y="235"/>
                  </a:lnTo>
                  <a:lnTo>
                    <a:pt x="32" y="235"/>
                  </a:lnTo>
                  <a:lnTo>
                    <a:pt x="32" y="231"/>
                  </a:lnTo>
                  <a:lnTo>
                    <a:pt x="28" y="231"/>
                  </a:lnTo>
                  <a:lnTo>
                    <a:pt x="28" y="235"/>
                  </a:lnTo>
                  <a:lnTo>
                    <a:pt x="28" y="239"/>
                  </a:lnTo>
                  <a:lnTo>
                    <a:pt x="28" y="235"/>
                  </a:lnTo>
                  <a:lnTo>
                    <a:pt x="24" y="231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31"/>
                  </a:lnTo>
                  <a:lnTo>
                    <a:pt x="28" y="227"/>
                  </a:lnTo>
                  <a:lnTo>
                    <a:pt x="28" y="223"/>
                  </a:lnTo>
                  <a:lnTo>
                    <a:pt x="24" y="219"/>
                  </a:lnTo>
                  <a:lnTo>
                    <a:pt x="24" y="215"/>
                  </a:lnTo>
                  <a:lnTo>
                    <a:pt x="20" y="211"/>
                  </a:lnTo>
                  <a:lnTo>
                    <a:pt x="20" y="207"/>
                  </a:lnTo>
                  <a:lnTo>
                    <a:pt x="24" y="207"/>
                  </a:lnTo>
                  <a:lnTo>
                    <a:pt x="24" y="203"/>
                  </a:lnTo>
                  <a:lnTo>
                    <a:pt x="28" y="203"/>
                  </a:lnTo>
                  <a:lnTo>
                    <a:pt x="28" y="199"/>
                  </a:lnTo>
                  <a:lnTo>
                    <a:pt x="28" y="195"/>
                  </a:lnTo>
                  <a:lnTo>
                    <a:pt x="24" y="195"/>
                  </a:lnTo>
                  <a:lnTo>
                    <a:pt x="24" y="191"/>
                  </a:lnTo>
                  <a:lnTo>
                    <a:pt x="24" y="187"/>
                  </a:lnTo>
                  <a:lnTo>
                    <a:pt x="24" y="183"/>
                  </a:lnTo>
                  <a:lnTo>
                    <a:pt x="20" y="183"/>
                  </a:lnTo>
                  <a:lnTo>
                    <a:pt x="20" y="179"/>
                  </a:lnTo>
                  <a:lnTo>
                    <a:pt x="20" y="175"/>
                  </a:lnTo>
                  <a:lnTo>
                    <a:pt x="16" y="175"/>
                  </a:lnTo>
                  <a:lnTo>
                    <a:pt x="16" y="171"/>
                  </a:lnTo>
                  <a:lnTo>
                    <a:pt x="12" y="167"/>
                  </a:lnTo>
                  <a:lnTo>
                    <a:pt x="12" y="163"/>
                  </a:lnTo>
                  <a:lnTo>
                    <a:pt x="12" y="159"/>
                  </a:lnTo>
                  <a:lnTo>
                    <a:pt x="8" y="155"/>
                  </a:lnTo>
                  <a:lnTo>
                    <a:pt x="8" y="151"/>
                  </a:lnTo>
                  <a:lnTo>
                    <a:pt x="8" y="147"/>
                  </a:lnTo>
                  <a:lnTo>
                    <a:pt x="8" y="143"/>
                  </a:lnTo>
                  <a:lnTo>
                    <a:pt x="4" y="139"/>
                  </a:lnTo>
                  <a:lnTo>
                    <a:pt x="4" y="135"/>
                  </a:lnTo>
                  <a:lnTo>
                    <a:pt x="0" y="131"/>
                  </a:lnTo>
                  <a:lnTo>
                    <a:pt x="0" y="127"/>
                  </a:lnTo>
                  <a:lnTo>
                    <a:pt x="0" y="123"/>
                  </a:lnTo>
                  <a:lnTo>
                    <a:pt x="4" y="123"/>
                  </a:lnTo>
                  <a:lnTo>
                    <a:pt x="4" y="119"/>
                  </a:lnTo>
                  <a:lnTo>
                    <a:pt x="4" y="115"/>
                  </a:lnTo>
                  <a:lnTo>
                    <a:pt x="8" y="115"/>
                  </a:lnTo>
                  <a:close/>
                  <a:moveTo>
                    <a:pt x="191" y="143"/>
                  </a:moveTo>
                  <a:lnTo>
                    <a:pt x="191" y="139"/>
                  </a:lnTo>
                  <a:lnTo>
                    <a:pt x="195" y="139"/>
                  </a:lnTo>
                  <a:lnTo>
                    <a:pt x="191" y="135"/>
                  </a:lnTo>
                  <a:lnTo>
                    <a:pt x="191" y="131"/>
                  </a:lnTo>
                  <a:lnTo>
                    <a:pt x="187" y="131"/>
                  </a:lnTo>
                  <a:lnTo>
                    <a:pt x="187" y="127"/>
                  </a:lnTo>
                  <a:lnTo>
                    <a:pt x="183" y="127"/>
                  </a:lnTo>
                  <a:lnTo>
                    <a:pt x="183" y="123"/>
                  </a:lnTo>
                  <a:lnTo>
                    <a:pt x="179" y="123"/>
                  </a:lnTo>
                  <a:lnTo>
                    <a:pt x="179" y="127"/>
                  </a:lnTo>
                  <a:lnTo>
                    <a:pt x="175" y="127"/>
                  </a:lnTo>
                  <a:lnTo>
                    <a:pt x="172" y="131"/>
                  </a:lnTo>
                  <a:lnTo>
                    <a:pt x="168" y="131"/>
                  </a:lnTo>
                  <a:lnTo>
                    <a:pt x="168" y="135"/>
                  </a:lnTo>
                  <a:lnTo>
                    <a:pt x="164" y="139"/>
                  </a:lnTo>
                  <a:lnTo>
                    <a:pt x="164" y="143"/>
                  </a:lnTo>
                  <a:lnTo>
                    <a:pt x="160" y="143"/>
                  </a:lnTo>
                  <a:lnTo>
                    <a:pt x="160" y="147"/>
                  </a:lnTo>
                  <a:lnTo>
                    <a:pt x="160" y="151"/>
                  </a:lnTo>
                  <a:lnTo>
                    <a:pt x="164" y="151"/>
                  </a:lnTo>
                  <a:lnTo>
                    <a:pt x="164" y="155"/>
                  </a:lnTo>
                  <a:lnTo>
                    <a:pt x="164" y="159"/>
                  </a:lnTo>
                  <a:lnTo>
                    <a:pt x="168" y="159"/>
                  </a:lnTo>
                  <a:lnTo>
                    <a:pt x="168" y="163"/>
                  </a:lnTo>
                  <a:lnTo>
                    <a:pt x="172" y="163"/>
                  </a:lnTo>
                  <a:lnTo>
                    <a:pt x="175" y="163"/>
                  </a:lnTo>
                  <a:lnTo>
                    <a:pt x="175" y="159"/>
                  </a:lnTo>
                  <a:lnTo>
                    <a:pt x="175" y="155"/>
                  </a:lnTo>
                  <a:lnTo>
                    <a:pt x="179" y="155"/>
                  </a:lnTo>
                  <a:lnTo>
                    <a:pt x="183" y="155"/>
                  </a:lnTo>
                  <a:lnTo>
                    <a:pt x="187" y="151"/>
                  </a:lnTo>
                  <a:lnTo>
                    <a:pt x="191" y="151"/>
                  </a:lnTo>
                  <a:lnTo>
                    <a:pt x="191" y="147"/>
                  </a:lnTo>
                  <a:lnTo>
                    <a:pt x="191" y="143"/>
                  </a:lnTo>
                  <a:close/>
                  <a:moveTo>
                    <a:pt x="323" y="503"/>
                  </a:moveTo>
                  <a:lnTo>
                    <a:pt x="319" y="503"/>
                  </a:lnTo>
                  <a:lnTo>
                    <a:pt x="319" y="499"/>
                  </a:lnTo>
                  <a:lnTo>
                    <a:pt x="323" y="499"/>
                  </a:lnTo>
                  <a:lnTo>
                    <a:pt x="323" y="503"/>
                  </a:lnTo>
                  <a:close/>
                </a:path>
              </a:pathLst>
            </a:custGeom>
            <a:solidFill>
              <a:srgbClr val="97D700"/>
            </a:solidFill>
            <a:ln w="9525" cmpd="sng">
              <a:solidFill>
                <a:schemeClr val="bg1"/>
              </a:solidFill>
              <a:round/>
              <a:headEnd/>
              <a:tailEnd/>
            </a:ln>
          </p:spPr>
          <p:txBody>
            <a:bodyPr lIns="37783" tIns="37783" rIns="37783" bIns="37783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grpSp>
          <p:nvGrpSpPr>
            <p:cNvPr id="99" name="Group 464">
              <a:extLst>
                <a:ext uri="{FF2B5EF4-FFF2-40B4-BE49-F238E27FC236}">
                  <a16:creationId xmlns:a16="http://schemas.microsoft.com/office/drawing/2014/main" id="{7E97AA85-A640-224A-A79E-40EEEFA9D1BD}"/>
                </a:ext>
              </a:extLst>
            </p:cNvPr>
            <p:cNvGrpSpPr/>
            <p:nvPr>
              <p:custDataLst>
                <p:tags r:id="rId89"/>
              </p:custDataLst>
            </p:nvPr>
          </p:nvGrpSpPr>
          <p:grpSpPr bwMode="gray">
            <a:xfrm>
              <a:off x="4038844" y="4815990"/>
              <a:ext cx="935368" cy="1217743"/>
              <a:chOff x="4818063" y="3268663"/>
              <a:chExt cx="1177924" cy="1533525"/>
            </a:xfrm>
            <a:grpFill/>
          </p:grpSpPr>
          <p:grpSp>
            <p:nvGrpSpPr>
              <p:cNvPr id="105" name="Group 195">
                <a:extLst>
                  <a:ext uri="{FF2B5EF4-FFF2-40B4-BE49-F238E27FC236}">
                    <a16:creationId xmlns:a16="http://schemas.microsoft.com/office/drawing/2014/main" id="{8427B676-0F81-044B-A642-40E237F31F1C}"/>
                  </a:ext>
                </a:extLst>
              </p:cNvPr>
              <p:cNvGrpSpPr>
                <a:grpSpLocks/>
              </p:cNvGrpSpPr>
              <p:nvPr>
                <p:custDataLst>
                  <p:tags r:id="rId90"/>
                </p:custDataLst>
              </p:nvPr>
            </p:nvGrpSpPr>
            <p:grpSpPr bwMode="gray">
              <a:xfrm>
                <a:off x="4818063" y="4294188"/>
                <a:ext cx="525462" cy="508000"/>
                <a:chOff x="3035" y="2705"/>
                <a:chExt cx="331" cy="320"/>
              </a:xfrm>
              <a:grpFill/>
            </p:grpSpPr>
            <p:sp>
              <p:nvSpPr>
                <p:cNvPr id="108" name="Freeform 196">
                  <a:extLst>
                    <a:ext uri="{FF2B5EF4-FFF2-40B4-BE49-F238E27FC236}">
                      <a16:creationId xmlns:a16="http://schemas.microsoft.com/office/drawing/2014/main" id="{155AE840-48D1-BE4A-A714-738A939504B1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035" y="2705"/>
                  <a:ext cx="36" cy="36"/>
                </a:xfrm>
                <a:custGeom>
                  <a:avLst/>
                  <a:gdLst/>
                  <a:ahLst/>
                  <a:cxnLst>
                    <a:cxn ang="0">
                      <a:pos x="4" y="8"/>
                    </a:cxn>
                    <a:cxn ang="0">
                      <a:pos x="4" y="8"/>
                    </a:cxn>
                    <a:cxn ang="0">
                      <a:pos x="0" y="8"/>
                    </a:cxn>
                    <a:cxn ang="0">
                      <a:pos x="4" y="4"/>
                    </a:cxn>
                    <a:cxn ang="0">
                      <a:pos x="8" y="0"/>
                    </a:cxn>
                    <a:cxn ang="0">
                      <a:pos x="12" y="0"/>
                    </a:cxn>
                    <a:cxn ang="0">
                      <a:pos x="12" y="4"/>
                    </a:cxn>
                    <a:cxn ang="0">
                      <a:pos x="16" y="4"/>
                    </a:cxn>
                    <a:cxn ang="0">
                      <a:pos x="20" y="8"/>
                    </a:cxn>
                    <a:cxn ang="0">
                      <a:pos x="20" y="8"/>
                    </a:cxn>
                    <a:cxn ang="0">
                      <a:pos x="20" y="8"/>
                    </a:cxn>
                    <a:cxn ang="0">
                      <a:pos x="20" y="12"/>
                    </a:cxn>
                    <a:cxn ang="0">
                      <a:pos x="20" y="16"/>
                    </a:cxn>
                    <a:cxn ang="0">
                      <a:pos x="20" y="16"/>
                    </a:cxn>
                    <a:cxn ang="0">
                      <a:pos x="24" y="16"/>
                    </a:cxn>
                    <a:cxn ang="0">
                      <a:pos x="24" y="16"/>
                    </a:cxn>
                    <a:cxn ang="0">
                      <a:pos x="28" y="16"/>
                    </a:cxn>
                    <a:cxn ang="0">
                      <a:pos x="32" y="20"/>
                    </a:cxn>
                    <a:cxn ang="0">
                      <a:pos x="36" y="20"/>
                    </a:cxn>
                    <a:cxn ang="0">
                      <a:pos x="36" y="20"/>
                    </a:cxn>
                    <a:cxn ang="0">
                      <a:pos x="36" y="20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6" y="24"/>
                    </a:cxn>
                    <a:cxn ang="0">
                      <a:pos x="32" y="28"/>
                    </a:cxn>
                    <a:cxn ang="0">
                      <a:pos x="32" y="28"/>
                    </a:cxn>
                    <a:cxn ang="0">
                      <a:pos x="28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28"/>
                    </a:cxn>
                    <a:cxn ang="0">
                      <a:pos x="24" y="32"/>
                    </a:cxn>
                    <a:cxn ang="0">
                      <a:pos x="24" y="32"/>
                    </a:cxn>
                    <a:cxn ang="0">
                      <a:pos x="20" y="32"/>
                    </a:cxn>
                    <a:cxn ang="0">
                      <a:pos x="20" y="32"/>
                    </a:cxn>
                    <a:cxn ang="0">
                      <a:pos x="20" y="32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20" y="36"/>
                    </a:cxn>
                    <a:cxn ang="0">
                      <a:pos x="16" y="36"/>
                    </a:cxn>
                    <a:cxn ang="0">
                      <a:pos x="16" y="36"/>
                    </a:cxn>
                    <a:cxn ang="0">
                      <a:pos x="16" y="32"/>
                    </a:cxn>
                    <a:cxn ang="0">
                      <a:pos x="12" y="24"/>
                    </a:cxn>
                    <a:cxn ang="0">
                      <a:pos x="8" y="20"/>
                    </a:cxn>
                    <a:cxn ang="0">
                      <a:pos x="8" y="20"/>
                    </a:cxn>
                    <a:cxn ang="0">
                      <a:pos x="8" y="20"/>
                    </a:cxn>
                  </a:cxnLst>
                  <a:rect l="0" t="0" r="r" b="b"/>
                  <a:pathLst>
                    <a:path w="36" h="36">
                      <a:moveTo>
                        <a:pt x="8" y="12"/>
                      </a:moveTo>
                      <a:lnTo>
                        <a:pt x="8" y="12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4" y="8"/>
                      </a:lnTo>
                      <a:lnTo>
                        <a:pt x="0" y="8"/>
                      </a:lnTo>
                      <a:lnTo>
                        <a:pt x="0" y="4"/>
                      </a:lnTo>
                      <a:lnTo>
                        <a:pt x="0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4" y="4"/>
                      </a:lnTo>
                      <a:lnTo>
                        <a:pt x="8" y="4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8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0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16" y="4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8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2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4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28" y="16"/>
                      </a:lnTo>
                      <a:lnTo>
                        <a:pt x="32" y="16"/>
                      </a:lnTo>
                      <a:lnTo>
                        <a:pt x="32" y="16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2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4"/>
                      </a:lnTo>
                      <a:lnTo>
                        <a:pt x="36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32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8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28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4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2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20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6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32"/>
                      </a:lnTo>
                      <a:lnTo>
                        <a:pt x="16" y="28"/>
                      </a:lnTo>
                      <a:lnTo>
                        <a:pt x="12" y="28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12" y="24"/>
                      </a:lnTo>
                      <a:lnTo>
                        <a:pt x="8" y="24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20"/>
                      </a:lnTo>
                      <a:lnTo>
                        <a:pt x="8" y="16"/>
                      </a:lnTo>
                      <a:lnTo>
                        <a:pt x="8" y="12"/>
                      </a:lnTo>
                      <a:lnTo>
                        <a:pt x="8" y="12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  <p:sp>
              <p:nvSpPr>
                <p:cNvPr id="109" name="Freeform 197">
                  <a:extLst>
                    <a:ext uri="{FF2B5EF4-FFF2-40B4-BE49-F238E27FC236}">
                      <a16:creationId xmlns:a16="http://schemas.microsoft.com/office/drawing/2014/main" id="{4582F396-9B92-C441-8C1D-3D3A92435DF0}"/>
                    </a:ext>
                  </a:extLst>
                </p:cNvPr>
                <p:cNvSpPr>
                  <a:spLocks/>
                </p:cNvSpPr>
                <p:nvPr/>
              </p:nvSpPr>
              <p:spPr bwMode="gray">
                <a:xfrm>
                  <a:off x="3318" y="2965"/>
                  <a:ext cx="48" cy="60"/>
                </a:xfrm>
                <a:custGeom>
                  <a:avLst/>
                  <a:gdLst/>
                  <a:ahLst/>
                  <a:cxnLst>
                    <a:cxn ang="0">
                      <a:pos x="28" y="0"/>
                    </a:cxn>
                    <a:cxn ang="0">
                      <a:pos x="32" y="0"/>
                    </a:cxn>
                    <a:cxn ang="0">
                      <a:pos x="36" y="4"/>
                    </a:cxn>
                    <a:cxn ang="0">
                      <a:pos x="36" y="4"/>
                    </a:cxn>
                    <a:cxn ang="0">
                      <a:pos x="40" y="8"/>
                    </a:cxn>
                    <a:cxn ang="0">
                      <a:pos x="40" y="8"/>
                    </a:cxn>
                    <a:cxn ang="0">
                      <a:pos x="44" y="12"/>
                    </a:cxn>
                    <a:cxn ang="0">
                      <a:pos x="40" y="8"/>
                    </a:cxn>
                    <a:cxn ang="0">
                      <a:pos x="48" y="8"/>
                    </a:cxn>
                    <a:cxn ang="0">
                      <a:pos x="44" y="12"/>
                    </a:cxn>
                    <a:cxn ang="0">
                      <a:pos x="40" y="16"/>
                    </a:cxn>
                    <a:cxn ang="0">
                      <a:pos x="36" y="16"/>
                    </a:cxn>
                    <a:cxn ang="0">
                      <a:pos x="40" y="24"/>
                    </a:cxn>
                    <a:cxn ang="0">
                      <a:pos x="36" y="28"/>
                    </a:cxn>
                    <a:cxn ang="0">
                      <a:pos x="36" y="32"/>
                    </a:cxn>
                    <a:cxn ang="0">
                      <a:pos x="32" y="32"/>
                    </a:cxn>
                    <a:cxn ang="0">
                      <a:pos x="32" y="40"/>
                    </a:cxn>
                    <a:cxn ang="0">
                      <a:pos x="24" y="40"/>
                    </a:cxn>
                    <a:cxn ang="0">
                      <a:pos x="28" y="44"/>
                    </a:cxn>
                    <a:cxn ang="0">
                      <a:pos x="28" y="44"/>
                    </a:cxn>
                    <a:cxn ang="0">
                      <a:pos x="32" y="44"/>
                    </a:cxn>
                    <a:cxn ang="0">
                      <a:pos x="28" y="48"/>
                    </a:cxn>
                    <a:cxn ang="0">
                      <a:pos x="24" y="52"/>
                    </a:cxn>
                    <a:cxn ang="0">
                      <a:pos x="20" y="48"/>
                    </a:cxn>
                    <a:cxn ang="0">
                      <a:pos x="20" y="56"/>
                    </a:cxn>
                    <a:cxn ang="0">
                      <a:pos x="16" y="60"/>
                    </a:cxn>
                    <a:cxn ang="0">
                      <a:pos x="20" y="56"/>
                    </a:cxn>
                    <a:cxn ang="0">
                      <a:pos x="16" y="52"/>
                    </a:cxn>
                    <a:cxn ang="0">
                      <a:pos x="16" y="52"/>
                    </a:cxn>
                    <a:cxn ang="0">
                      <a:pos x="12" y="48"/>
                    </a:cxn>
                    <a:cxn ang="0">
                      <a:pos x="8" y="52"/>
                    </a:cxn>
                    <a:cxn ang="0">
                      <a:pos x="4" y="56"/>
                    </a:cxn>
                    <a:cxn ang="0">
                      <a:pos x="4" y="52"/>
                    </a:cxn>
                    <a:cxn ang="0">
                      <a:pos x="0" y="48"/>
                    </a:cxn>
                    <a:cxn ang="0">
                      <a:pos x="0" y="40"/>
                    </a:cxn>
                    <a:cxn ang="0">
                      <a:pos x="0" y="32"/>
                    </a:cxn>
                    <a:cxn ang="0">
                      <a:pos x="4" y="28"/>
                    </a:cxn>
                    <a:cxn ang="0">
                      <a:pos x="0" y="20"/>
                    </a:cxn>
                    <a:cxn ang="0">
                      <a:pos x="4" y="12"/>
                    </a:cxn>
                    <a:cxn ang="0">
                      <a:pos x="8" y="8"/>
                    </a:cxn>
                    <a:cxn ang="0">
                      <a:pos x="12" y="4"/>
                    </a:cxn>
                    <a:cxn ang="0">
                      <a:pos x="16" y="0"/>
                    </a:cxn>
                    <a:cxn ang="0">
                      <a:pos x="20" y="4"/>
                    </a:cxn>
                    <a:cxn ang="0">
                      <a:pos x="24" y="0"/>
                    </a:cxn>
                  </a:cxnLst>
                  <a:rect l="0" t="0" r="r" b="b"/>
                  <a:pathLst>
                    <a:path w="48" h="60">
                      <a:moveTo>
                        <a:pt x="24" y="0"/>
                      </a:moveTo>
                      <a:lnTo>
                        <a:pt x="28" y="0"/>
                      </a:lnTo>
                      <a:lnTo>
                        <a:pt x="28" y="4"/>
                      </a:lnTo>
                      <a:lnTo>
                        <a:pt x="32" y="0"/>
                      </a:lnTo>
                      <a:lnTo>
                        <a:pt x="32" y="4"/>
                      </a:lnTo>
                      <a:lnTo>
                        <a:pt x="36" y="4"/>
                      </a:lnTo>
                      <a:lnTo>
                        <a:pt x="36" y="0"/>
                      </a:lnTo>
                      <a:lnTo>
                        <a:pt x="36" y="4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36" y="8"/>
                      </a:lnTo>
                      <a:lnTo>
                        <a:pt x="40" y="8"/>
                      </a:lnTo>
                      <a:lnTo>
                        <a:pt x="40" y="12"/>
                      </a:lnTo>
                      <a:lnTo>
                        <a:pt x="44" y="12"/>
                      </a:lnTo>
                      <a:lnTo>
                        <a:pt x="40" y="12"/>
                      </a:lnTo>
                      <a:lnTo>
                        <a:pt x="40" y="8"/>
                      </a:lnTo>
                      <a:lnTo>
                        <a:pt x="44" y="8"/>
                      </a:lnTo>
                      <a:lnTo>
                        <a:pt x="48" y="8"/>
                      </a:lnTo>
                      <a:lnTo>
                        <a:pt x="48" y="12"/>
                      </a:lnTo>
                      <a:lnTo>
                        <a:pt x="44" y="12"/>
                      </a:lnTo>
                      <a:lnTo>
                        <a:pt x="44" y="16"/>
                      </a:lnTo>
                      <a:lnTo>
                        <a:pt x="40" y="16"/>
                      </a:lnTo>
                      <a:lnTo>
                        <a:pt x="40" y="12"/>
                      </a:lnTo>
                      <a:lnTo>
                        <a:pt x="36" y="16"/>
                      </a:lnTo>
                      <a:lnTo>
                        <a:pt x="36" y="20"/>
                      </a:lnTo>
                      <a:lnTo>
                        <a:pt x="40" y="24"/>
                      </a:lnTo>
                      <a:lnTo>
                        <a:pt x="36" y="24"/>
                      </a:lnTo>
                      <a:lnTo>
                        <a:pt x="36" y="28"/>
                      </a:lnTo>
                      <a:lnTo>
                        <a:pt x="32" y="32"/>
                      </a:lnTo>
                      <a:lnTo>
                        <a:pt x="36" y="32"/>
                      </a:lnTo>
                      <a:lnTo>
                        <a:pt x="36" y="36"/>
                      </a:lnTo>
                      <a:lnTo>
                        <a:pt x="32" y="32"/>
                      </a:lnTo>
                      <a:lnTo>
                        <a:pt x="32" y="36"/>
                      </a:lnTo>
                      <a:lnTo>
                        <a:pt x="32" y="40"/>
                      </a:lnTo>
                      <a:lnTo>
                        <a:pt x="28" y="40"/>
                      </a:lnTo>
                      <a:lnTo>
                        <a:pt x="24" y="40"/>
                      </a:lnTo>
                      <a:lnTo>
                        <a:pt x="28" y="40"/>
                      </a:lnTo>
                      <a:lnTo>
                        <a:pt x="28" y="44"/>
                      </a:lnTo>
                      <a:lnTo>
                        <a:pt x="24" y="44"/>
                      </a:lnTo>
                      <a:lnTo>
                        <a:pt x="28" y="44"/>
                      </a:lnTo>
                      <a:lnTo>
                        <a:pt x="32" y="48"/>
                      </a:lnTo>
                      <a:lnTo>
                        <a:pt x="32" y="44"/>
                      </a:lnTo>
                      <a:lnTo>
                        <a:pt x="32" y="48"/>
                      </a:lnTo>
                      <a:lnTo>
                        <a:pt x="28" y="48"/>
                      </a:lnTo>
                      <a:lnTo>
                        <a:pt x="28" y="52"/>
                      </a:lnTo>
                      <a:lnTo>
                        <a:pt x="24" y="52"/>
                      </a:lnTo>
                      <a:lnTo>
                        <a:pt x="24" y="48"/>
                      </a:lnTo>
                      <a:lnTo>
                        <a:pt x="20" y="48"/>
                      </a:lnTo>
                      <a:lnTo>
                        <a:pt x="20" y="52"/>
                      </a:lnTo>
                      <a:lnTo>
                        <a:pt x="20" y="56"/>
                      </a:lnTo>
                      <a:lnTo>
                        <a:pt x="20" y="60"/>
                      </a:lnTo>
                      <a:lnTo>
                        <a:pt x="16" y="60"/>
                      </a:lnTo>
                      <a:lnTo>
                        <a:pt x="20" y="60"/>
                      </a:lnTo>
                      <a:lnTo>
                        <a:pt x="20" y="56"/>
                      </a:lnTo>
                      <a:lnTo>
                        <a:pt x="20" y="52"/>
                      </a:lnTo>
                      <a:lnTo>
                        <a:pt x="16" y="52"/>
                      </a:lnTo>
                      <a:lnTo>
                        <a:pt x="16" y="48"/>
                      </a:lnTo>
                      <a:lnTo>
                        <a:pt x="16" y="52"/>
                      </a:lnTo>
                      <a:lnTo>
                        <a:pt x="12" y="52"/>
                      </a:lnTo>
                      <a:lnTo>
                        <a:pt x="12" y="48"/>
                      </a:lnTo>
                      <a:lnTo>
                        <a:pt x="8" y="48"/>
                      </a:lnTo>
                      <a:lnTo>
                        <a:pt x="8" y="52"/>
                      </a:lnTo>
                      <a:lnTo>
                        <a:pt x="4" y="52"/>
                      </a:lnTo>
                      <a:lnTo>
                        <a:pt x="4" y="56"/>
                      </a:lnTo>
                      <a:lnTo>
                        <a:pt x="0" y="52"/>
                      </a:lnTo>
                      <a:lnTo>
                        <a:pt x="4" y="52"/>
                      </a:lnTo>
                      <a:lnTo>
                        <a:pt x="4" y="48"/>
                      </a:lnTo>
                      <a:lnTo>
                        <a:pt x="0" y="48"/>
                      </a:lnTo>
                      <a:lnTo>
                        <a:pt x="0" y="44"/>
                      </a:lnTo>
                      <a:lnTo>
                        <a:pt x="0" y="40"/>
                      </a:lnTo>
                      <a:lnTo>
                        <a:pt x="0" y="36"/>
                      </a:lnTo>
                      <a:lnTo>
                        <a:pt x="0" y="32"/>
                      </a:lnTo>
                      <a:lnTo>
                        <a:pt x="4" y="32"/>
                      </a:lnTo>
                      <a:lnTo>
                        <a:pt x="4" y="28"/>
                      </a:lnTo>
                      <a:lnTo>
                        <a:pt x="4" y="24"/>
                      </a:lnTo>
                      <a:lnTo>
                        <a:pt x="0" y="20"/>
                      </a:lnTo>
                      <a:lnTo>
                        <a:pt x="4" y="16"/>
                      </a:lnTo>
                      <a:lnTo>
                        <a:pt x="4" y="12"/>
                      </a:lnTo>
                      <a:lnTo>
                        <a:pt x="4" y="8"/>
                      </a:lnTo>
                      <a:lnTo>
                        <a:pt x="8" y="8"/>
                      </a:lnTo>
                      <a:lnTo>
                        <a:pt x="12" y="8"/>
                      </a:lnTo>
                      <a:lnTo>
                        <a:pt x="12" y="4"/>
                      </a:lnTo>
                      <a:lnTo>
                        <a:pt x="16" y="4"/>
                      </a:lnTo>
                      <a:lnTo>
                        <a:pt x="16" y="0"/>
                      </a:lnTo>
                      <a:lnTo>
                        <a:pt x="16" y="4"/>
                      </a:lnTo>
                      <a:lnTo>
                        <a:pt x="20" y="4"/>
                      </a:lnTo>
                      <a:lnTo>
                        <a:pt x="24" y="4"/>
                      </a:lnTo>
                      <a:lnTo>
                        <a:pt x="24" y="0"/>
                      </a:lnTo>
                      <a:close/>
                    </a:path>
                  </a:pathLst>
                </a:custGeom>
                <a:grpFill/>
                <a:ln w="9525" cmpd="sng">
                  <a:solidFill>
                    <a:schemeClr val="bg1"/>
                  </a:solidFill>
                  <a:round/>
                  <a:headEnd/>
                  <a:tailEnd/>
                </a:ln>
              </p:spPr>
              <p:txBody>
                <a:bodyPr lIns="37783" tIns="37783" rIns="37783" bIns="37783"/>
                <a:lstStyle/>
                <a:p>
                  <a:pPr marL="0" marR="0" lvl="0" indent="0" algn="l" defTabSz="914400" rtl="0" eaLnBrk="1" fontAlgn="auto" latinLnBrk="0" hangingPunct="1">
                    <a:lnSpc>
                      <a:spcPct val="100000"/>
                    </a:lnSpc>
                    <a:spcBef>
                      <a:spcPts val="0"/>
                    </a:spcBef>
                    <a:spcAft>
                      <a:spcPts val="0"/>
                    </a:spcAft>
                    <a:buClrTx/>
                    <a:buSzTx/>
                    <a:buFontTx/>
                    <a:buNone/>
                    <a:tabLst/>
                    <a:defRPr/>
                  </a:pPr>
                  <a:endParaRPr kumimoji="0" lang="en-US" sz="14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Gill Sans MT"/>
                    <a:ea typeface="+mn-ea"/>
                    <a:cs typeface="+mn-cs"/>
                  </a:endParaRPr>
                </a:p>
              </p:txBody>
            </p:sp>
          </p:grpSp>
          <p:sp>
            <p:nvSpPr>
              <p:cNvPr id="106" name="Freeform 207">
                <a:extLst>
                  <a:ext uri="{FF2B5EF4-FFF2-40B4-BE49-F238E27FC236}">
                    <a16:creationId xmlns:a16="http://schemas.microsoft.com/office/drawing/2014/main" id="{584BFAAA-09D5-034D-AFD9-6DF152162FE4}"/>
                  </a:ext>
                </a:extLst>
              </p:cNvPr>
              <p:cNvSpPr>
                <a:spLocks/>
              </p:cNvSpPr>
              <p:nvPr>
                <p:custDataLst>
                  <p:tags r:id="rId91"/>
                </p:custDataLst>
              </p:nvPr>
            </p:nvSpPr>
            <p:spPr bwMode="gray">
              <a:xfrm>
                <a:off x="5629275" y="3268663"/>
                <a:ext cx="195262" cy="347663"/>
              </a:xfrm>
              <a:custGeom>
                <a:avLst/>
                <a:gdLst/>
                <a:ahLst/>
                <a:cxnLst>
                  <a:cxn ang="0">
                    <a:pos x="40" y="155"/>
                  </a:cxn>
                  <a:cxn ang="0">
                    <a:pos x="52" y="143"/>
                  </a:cxn>
                  <a:cxn ang="0">
                    <a:pos x="48" y="139"/>
                  </a:cxn>
                  <a:cxn ang="0">
                    <a:pos x="40" y="127"/>
                  </a:cxn>
                  <a:cxn ang="0">
                    <a:pos x="32" y="115"/>
                  </a:cxn>
                  <a:cxn ang="0">
                    <a:pos x="24" y="99"/>
                  </a:cxn>
                  <a:cxn ang="0">
                    <a:pos x="16" y="88"/>
                  </a:cxn>
                  <a:cxn ang="0">
                    <a:pos x="12" y="80"/>
                  </a:cxn>
                  <a:cxn ang="0">
                    <a:pos x="12" y="68"/>
                  </a:cxn>
                  <a:cxn ang="0">
                    <a:pos x="12" y="72"/>
                  </a:cxn>
                  <a:cxn ang="0">
                    <a:pos x="4" y="56"/>
                  </a:cxn>
                  <a:cxn ang="0">
                    <a:pos x="8" y="48"/>
                  </a:cxn>
                  <a:cxn ang="0">
                    <a:pos x="12" y="32"/>
                  </a:cxn>
                  <a:cxn ang="0">
                    <a:pos x="16" y="28"/>
                  </a:cxn>
                  <a:cxn ang="0">
                    <a:pos x="32" y="24"/>
                  </a:cxn>
                  <a:cxn ang="0">
                    <a:pos x="40" y="16"/>
                  </a:cxn>
                  <a:cxn ang="0">
                    <a:pos x="48" y="12"/>
                  </a:cxn>
                  <a:cxn ang="0">
                    <a:pos x="64" y="4"/>
                  </a:cxn>
                  <a:cxn ang="0">
                    <a:pos x="75" y="4"/>
                  </a:cxn>
                  <a:cxn ang="0">
                    <a:pos x="91" y="4"/>
                  </a:cxn>
                  <a:cxn ang="0">
                    <a:pos x="99" y="16"/>
                  </a:cxn>
                  <a:cxn ang="0">
                    <a:pos x="95" y="36"/>
                  </a:cxn>
                  <a:cxn ang="0">
                    <a:pos x="83" y="36"/>
                  </a:cxn>
                  <a:cxn ang="0">
                    <a:pos x="68" y="40"/>
                  </a:cxn>
                  <a:cxn ang="0">
                    <a:pos x="68" y="52"/>
                  </a:cxn>
                  <a:cxn ang="0">
                    <a:pos x="68" y="56"/>
                  </a:cxn>
                  <a:cxn ang="0">
                    <a:pos x="56" y="60"/>
                  </a:cxn>
                  <a:cxn ang="0">
                    <a:pos x="68" y="72"/>
                  </a:cxn>
                  <a:cxn ang="0">
                    <a:pos x="79" y="88"/>
                  </a:cxn>
                  <a:cxn ang="0">
                    <a:pos x="91" y="92"/>
                  </a:cxn>
                  <a:cxn ang="0">
                    <a:pos x="87" y="107"/>
                  </a:cxn>
                  <a:cxn ang="0">
                    <a:pos x="87" y="119"/>
                  </a:cxn>
                  <a:cxn ang="0">
                    <a:pos x="91" y="119"/>
                  </a:cxn>
                  <a:cxn ang="0">
                    <a:pos x="95" y="107"/>
                  </a:cxn>
                  <a:cxn ang="0">
                    <a:pos x="111" y="111"/>
                  </a:cxn>
                  <a:cxn ang="0">
                    <a:pos x="119" y="123"/>
                  </a:cxn>
                  <a:cxn ang="0">
                    <a:pos x="115" y="135"/>
                  </a:cxn>
                  <a:cxn ang="0">
                    <a:pos x="107" y="131"/>
                  </a:cxn>
                  <a:cxn ang="0">
                    <a:pos x="95" y="131"/>
                  </a:cxn>
                  <a:cxn ang="0">
                    <a:pos x="95" y="135"/>
                  </a:cxn>
                  <a:cxn ang="0">
                    <a:pos x="91" y="151"/>
                  </a:cxn>
                  <a:cxn ang="0">
                    <a:pos x="95" y="151"/>
                  </a:cxn>
                  <a:cxn ang="0">
                    <a:pos x="107" y="155"/>
                  </a:cxn>
                  <a:cxn ang="0">
                    <a:pos x="99" y="159"/>
                  </a:cxn>
                  <a:cxn ang="0">
                    <a:pos x="107" y="167"/>
                  </a:cxn>
                  <a:cxn ang="0">
                    <a:pos x="107" y="183"/>
                  </a:cxn>
                  <a:cxn ang="0">
                    <a:pos x="111" y="203"/>
                  </a:cxn>
                  <a:cxn ang="0">
                    <a:pos x="103" y="215"/>
                  </a:cxn>
                  <a:cxn ang="0">
                    <a:pos x="107" y="211"/>
                  </a:cxn>
                  <a:cxn ang="0">
                    <a:pos x="87" y="215"/>
                  </a:cxn>
                  <a:cxn ang="0">
                    <a:pos x="72" y="215"/>
                  </a:cxn>
                  <a:cxn ang="0">
                    <a:pos x="56" y="203"/>
                  </a:cxn>
                  <a:cxn ang="0">
                    <a:pos x="36" y="199"/>
                  </a:cxn>
                  <a:cxn ang="0">
                    <a:pos x="32" y="175"/>
                  </a:cxn>
                  <a:cxn ang="0">
                    <a:pos x="36" y="171"/>
                  </a:cxn>
                </a:cxnLst>
                <a:rect l="0" t="0" r="r" b="b"/>
                <a:pathLst>
                  <a:path w="123" h="219">
                    <a:moveTo>
                      <a:pt x="40" y="167"/>
                    </a:moveTo>
                    <a:lnTo>
                      <a:pt x="40" y="163"/>
                    </a:lnTo>
                    <a:lnTo>
                      <a:pt x="44" y="163"/>
                    </a:lnTo>
                    <a:lnTo>
                      <a:pt x="40" y="159"/>
                    </a:lnTo>
                    <a:lnTo>
                      <a:pt x="40" y="155"/>
                    </a:lnTo>
                    <a:lnTo>
                      <a:pt x="44" y="151"/>
                    </a:lnTo>
                    <a:lnTo>
                      <a:pt x="44" y="147"/>
                    </a:lnTo>
                    <a:lnTo>
                      <a:pt x="44" y="143"/>
                    </a:lnTo>
                    <a:lnTo>
                      <a:pt x="48" y="143"/>
                    </a:lnTo>
                    <a:lnTo>
                      <a:pt x="52" y="143"/>
                    </a:lnTo>
                    <a:lnTo>
                      <a:pt x="56" y="143"/>
                    </a:lnTo>
                    <a:lnTo>
                      <a:pt x="56" y="139"/>
                    </a:lnTo>
                    <a:lnTo>
                      <a:pt x="52" y="135"/>
                    </a:lnTo>
                    <a:lnTo>
                      <a:pt x="48" y="135"/>
                    </a:lnTo>
                    <a:lnTo>
                      <a:pt x="48" y="139"/>
                    </a:lnTo>
                    <a:lnTo>
                      <a:pt x="48" y="135"/>
                    </a:lnTo>
                    <a:lnTo>
                      <a:pt x="44" y="135"/>
                    </a:lnTo>
                    <a:lnTo>
                      <a:pt x="44" y="131"/>
                    </a:lnTo>
                    <a:lnTo>
                      <a:pt x="40" y="131"/>
                    </a:lnTo>
                    <a:lnTo>
                      <a:pt x="40" y="127"/>
                    </a:lnTo>
                    <a:lnTo>
                      <a:pt x="40" y="123"/>
                    </a:lnTo>
                    <a:lnTo>
                      <a:pt x="36" y="123"/>
                    </a:lnTo>
                    <a:lnTo>
                      <a:pt x="36" y="119"/>
                    </a:lnTo>
                    <a:lnTo>
                      <a:pt x="36" y="115"/>
                    </a:lnTo>
                    <a:lnTo>
                      <a:pt x="32" y="115"/>
                    </a:lnTo>
                    <a:lnTo>
                      <a:pt x="32" y="111"/>
                    </a:lnTo>
                    <a:lnTo>
                      <a:pt x="28" y="111"/>
                    </a:lnTo>
                    <a:lnTo>
                      <a:pt x="28" y="107"/>
                    </a:lnTo>
                    <a:lnTo>
                      <a:pt x="24" y="107"/>
                    </a:lnTo>
                    <a:lnTo>
                      <a:pt x="24" y="99"/>
                    </a:lnTo>
                    <a:lnTo>
                      <a:pt x="20" y="99"/>
                    </a:lnTo>
                    <a:lnTo>
                      <a:pt x="20" y="96"/>
                    </a:lnTo>
                    <a:lnTo>
                      <a:pt x="16" y="96"/>
                    </a:lnTo>
                    <a:lnTo>
                      <a:pt x="16" y="92"/>
                    </a:lnTo>
                    <a:lnTo>
                      <a:pt x="16" y="88"/>
                    </a:lnTo>
                    <a:lnTo>
                      <a:pt x="12" y="88"/>
                    </a:lnTo>
                    <a:lnTo>
                      <a:pt x="12" y="84"/>
                    </a:lnTo>
                    <a:lnTo>
                      <a:pt x="12" y="80"/>
                    </a:lnTo>
                    <a:lnTo>
                      <a:pt x="16" y="80"/>
                    </a:lnTo>
                    <a:lnTo>
                      <a:pt x="12" y="80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6" y="72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72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76"/>
                    </a:lnTo>
                    <a:lnTo>
                      <a:pt x="12" y="72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8" y="60"/>
                    </a:lnTo>
                    <a:lnTo>
                      <a:pt x="4" y="56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4" y="52"/>
                    </a:lnTo>
                    <a:lnTo>
                      <a:pt x="4" y="48"/>
                    </a:lnTo>
                    <a:lnTo>
                      <a:pt x="8" y="48"/>
                    </a:lnTo>
                    <a:lnTo>
                      <a:pt x="8" y="44"/>
                    </a:lnTo>
                    <a:lnTo>
                      <a:pt x="12" y="40"/>
                    </a:lnTo>
                    <a:lnTo>
                      <a:pt x="12" y="36"/>
                    </a:lnTo>
                    <a:lnTo>
                      <a:pt x="16" y="32"/>
                    </a:lnTo>
                    <a:lnTo>
                      <a:pt x="12" y="32"/>
                    </a:lnTo>
                    <a:lnTo>
                      <a:pt x="12" y="28"/>
                    </a:lnTo>
                    <a:lnTo>
                      <a:pt x="16" y="32"/>
                    </a:lnTo>
                    <a:lnTo>
                      <a:pt x="16" y="28"/>
                    </a:lnTo>
                    <a:lnTo>
                      <a:pt x="12" y="28"/>
                    </a:lnTo>
                    <a:lnTo>
                      <a:pt x="16" y="28"/>
                    </a:lnTo>
                    <a:lnTo>
                      <a:pt x="20" y="32"/>
                    </a:lnTo>
                    <a:lnTo>
                      <a:pt x="20" y="28"/>
                    </a:lnTo>
                    <a:lnTo>
                      <a:pt x="24" y="28"/>
                    </a:lnTo>
                    <a:lnTo>
                      <a:pt x="28" y="24"/>
                    </a:lnTo>
                    <a:lnTo>
                      <a:pt x="32" y="24"/>
                    </a:lnTo>
                    <a:lnTo>
                      <a:pt x="32" y="28"/>
                    </a:lnTo>
                    <a:lnTo>
                      <a:pt x="32" y="24"/>
                    </a:lnTo>
                    <a:lnTo>
                      <a:pt x="32" y="20"/>
                    </a:lnTo>
                    <a:lnTo>
                      <a:pt x="36" y="20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0" y="16"/>
                    </a:lnTo>
                    <a:lnTo>
                      <a:pt x="40" y="12"/>
                    </a:lnTo>
                    <a:lnTo>
                      <a:pt x="44" y="12"/>
                    </a:lnTo>
                    <a:lnTo>
                      <a:pt x="48" y="12"/>
                    </a:lnTo>
                    <a:lnTo>
                      <a:pt x="52" y="8"/>
                    </a:lnTo>
                    <a:lnTo>
                      <a:pt x="56" y="8"/>
                    </a:lnTo>
                    <a:lnTo>
                      <a:pt x="56" y="4"/>
                    </a:lnTo>
                    <a:lnTo>
                      <a:pt x="60" y="4"/>
                    </a:lnTo>
                    <a:lnTo>
                      <a:pt x="64" y="4"/>
                    </a:lnTo>
                    <a:lnTo>
                      <a:pt x="64" y="0"/>
                    </a:lnTo>
                    <a:lnTo>
                      <a:pt x="68" y="0"/>
                    </a:lnTo>
                    <a:lnTo>
                      <a:pt x="72" y="0"/>
                    </a:lnTo>
                    <a:lnTo>
                      <a:pt x="75" y="0"/>
                    </a:lnTo>
                    <a:lnTo>
                      <a:pt x="75" y="4"/>
                    </a:lnTo>
                    <a:lnTo>
                      <a:pt x="79" y="4"/>
                    </a:lnTo>
                    <a:lnTo>
                      <a:pt x="83" y="4"/>
                    </a:lnTo>
                    <a:lnTo>
                      <a:pt x="87" y="4"/>
                    </a:lnTo>
                    <a:lnTo>
                      <a:pt x="87" y="0"/>
                    </a:lnTo>
                    <a:lnTo>
                      <a:pt x="91" y="4"/>
                    </a:lnTo>
                    <a:lnTo>
                      <a:pt x="95" y="4"/>
                    </a:lnTo>
                    <a:lnTo>
                      <a:pt x="99" y="4"/>
                    </a:lnTo>
                    <a:lnTo>
                      <a:pt x="99" y="8"/>
                    </a:lnTo>
                    <a:lnTo>
                      <a:pt x="95" y="12"/>
                    </a:lnTo>
                    <a:lnTo>
                      <a:pt x="99" y="16"/>
                    </a:lnTo>
                    <a:lnTo>
                      <a:pt x="99" y="20"/>
                    </a:lnTo>
                    <a:lnTo>
                      <a:pt x="95" y="24"/>
                    </a:lnTo>
                    <a:lnTo>
                      <a:pt x="95" y="28"/>
                    </a:lnTo>
                    <a:lnTo>
                      <a:pt x="91" y="32"/>
                    </a:lnTo>
                    <a:lnTo>
                      <a:pt x="95" y="36"/>
                    </a:lnTo>
                    <a:lnTo>
                      <a:pt x="99" y="36"/>
                    </a:lnTo>
                    <a:lnTo>
                      <a:pt x="95" y="36"/>
                    </a:lnTo>
                    <a:lnTo>
                      <a:pt x="91" y="36"/>
                    </a:lnTo>
                    <a:lnTo>
                      <a:pt x="87" y="36"/>
                    </a:lnTo>
                    <a:lnTo>
                      <a:pt x="83" y="36"/>
                    </a:lnTo>
                    <a:lnTo>
                      <a:pt x="79" y="36"/>
                    </a:lnTo>
                    <a:lnTo>
                      <a:pt x="75" y="36"/>
                    </a:lnTo>
                    <a:lnTo>
                      <a:pt x="72" y="36"/>
                    </a:lnTo>
                    <a:lnTo>
                      <a:pt x="72" y="40"/>
                    </a:lnTo>
                    <a:lnTo>
                      <a:pt x="68" y="40"/>
                    </a:lnTo>
                    <a:lnTo>
                      <a:pt x="68" y="44"/>
                    </a:lnTo>
                    <a:lnTo>
                      <a:pt x="64" y="44"/>
                    </a:lnTo>
                    <a:lnTo>
                      <a:pt x="64" y="48"/>
                    </a:lnTo>
                    <a:lnTo>
                      <a:pt x="68" y="48"/>
                    </a:lnTo>
                    <a:lnTo>
                      <a:pt x="68" y="52"/>
                    </a:lnTo>
                    <a:lnTo>
                      <a:pt x="72" y="52"/>
                    </a:lnTo>
                    <a:lnTo>
                      <a:pt x="75" y="52"/>
                    </a:lnTo>
                    <a:lnTo>
                      <a:pt x="75" y="56"/>
                    </a:lnTo>
                    <a:lnTo>
                      <a:pt x="72" y="56"/>
                    </a:lnTo>
                    <a:lnTo>
                      <a:pt x="68" y="56"/>
                    </a:lnTo>
                    <a:lnTo>
                      <a:pt x="64" y="52"/>
                    </a:lnTo>
                    <a:lnTo>
                      <a:pt x="60" y="52"/>
                    </a:lnTo>
                    <a:lnTo>
                      <a:pt x="56" y="52"/>
                    </a:lnTo>
                    <a:lnTo>
                      <a:pt x="56" y="56"/>
                    </a:lnTo>
                    <a:lnTo>
                      <a:pt x="56" y="60"/>
                    </a:lnTo>
                    <a:lnTo>
                      <a:pt x="60" y="60"/>
                    </a:lnTo>
                    <a:lnTo>
                      <a:pt x="64" y="60"/>
                    </a:lnTo>
                    <a:lnTo>
                      <a:pt x="64" y="64"/>
                    </a:lnTo>
                    <a:lnTo>
                      <a:pt x="68" y="68"/>
                    </a:lnTo>
                    <a:lnTo>
                      <a:pt x="68" y="72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2" y="84"/>
                    </a:lnTo>
                    <a:lnTo>
                      <a:pt x="75" y="84"/>
                    </a:lnTo>
                    <a:lnTo>
                      <a:pt x="79" y="88"/>
                    </a:lnTo>
                    <a:lnTo>
                      <a:pt x="79" y="92"/>
                    </a:lnTo>
                    <a:lnTo>
                      <a:pt x="79" y="88"/>
                    </a:lnTo>
                    <a:lnTo>
                      <a:pt x="83" y="88"/>
                    </a:lnTo>
                    <a:lnTo>
                      <a:pt x="87" y="92"/>
                    </a:lnTo>
                    <a:lnTo>
                      <a:pt x="91" y="92"/>
                    </a:lnTo>
                    <a:lnTo>
                      <a:pt x="91" y="96"/>
                    </a:lnTo>
                    <a:lnTo>
                      <a:pt x="91" y="99"/>
                    </a:lnTo>
                    <a:lnTo>
                      <a:pt x="87" y="99"/>
                    </a:lnTo>
                    <a:lnTo>
                      <a:pt x="87" y="103"/>
                    </a:lnTo>
                    <a:lnTo>
                      <a:pt x="87" y="107"/>
                    </a:lnTo>
                    <a:lnTo>
                      <a:pt x="87" y="111"/>
                    </a:lnTo>
                    <a:lnTo>
                      <a:pt x="87" y="115"/>
                    </a:lnTo>
                    <a:lnTo>
                      <a:pt x="91" y="115"/>
                    </a:lnTo>
                    <a:lnTo>
                      <a:pt x="87" y="115"/>
                    </a:lnTo>
                    <a:lnTo>
                      <a:pt x="87" y="119"/>
                    </a:lnTo>
                    <a:lnTo>
                      <a:pt x="91" y="119"/>
                    </a:lnTo>
                    <a:lnTo>
                      <a:pt x="91" y="123"/>
                    </a:lnTo>
                    <a:lnTo>
                      <a:pt x="95" y="127"/>
                    </a:lnTo>
                    <a:lnTo>
                      <a:pt x="95" y="123"/>
                    </a:lnTo>
                    <a:lnTo>
                      <a:pt x="91" y="119"/>
                    </a:lnTo>
                    <a:lnTo>
                      <a:pt x="95" y="119"/>
                    </a:lnTo>
                    <a:lnTo>
                      <a:pt x="95" y="115"/>
                    </a:lnTo>
                    <a:lnTo>
                      <a:pt x="91" y="115"/>
                    </a:lnTo>
                    <a:lnTo>
                      <a:pt x="95" y="111"/>
                    </a:lnTo>
                    <a:lnTo>
                      <a:pt x="95" y="107"/>
                    </a:lnTo>
                    <a:lnTo>
                      <a:pt x="99" y="107"/>
                    </a:lnTo>
                    <a:lnTo>
                      <a:pt x="103" y="103"/>
                    </a:lnTo>
                    <a:lnTo>
                      <a:pt x="107" y="103"/>
                    </a:lnTo>
                    <a:lnTo>
                      <a:pt x="111" y="107"/>
                    </a:lnTo>
                    <a:lnTo>
                      <a:pt x="111" y="111"/>
                    </a:lnTo>
                    <a:lnTo>
                      <a:pt x="111" y="115"/>
                    </a:lnTo>
                    <a:lnTo>
                      <a:pt x="111" y="119"/>
                    </a:lnTo>
                    <a:lnTo>
                      <a:pt x="115" y="119"/>
                    </a:lnTo>
                    <a:lnTo>
                      <a:pt x="115" y="123"/>
                    </a:lnTo>
                    <a:lnTo>
                      <a:pt x="119" y="123"/>
                    </a:lnTo>
                    <a:lnTo>
                      <a:pt x="123" y="127"/>
                    </a:lnTo>
                    <a:lnTo>
                      <a:pt x="123" y="131"/>
                    </a:lnTo>
                    <a:lnTo>
                      <a:pt x="119" y="131"/>
                    </a:lnTo>
                    <a:lnTo>
                      <a:pt x="115" y="131"/>
                    </a:lnTo>
                    <a:lnTo>
                      <a:pt x="115" y="135"/>
                    </a:lnTo>
                    <a:lnTo>
                      <a:pt x="119" y="135"/>
                    </a:lnTo>
                    <a:lnTo>
                      <a:pt x="115" y="135"/>
                    </a:lnTo>
                    <a:lnTo>
                      <a:pt x="111" y="135"/>
                    </a:lnTo>
                    <a:lnTo>
                      <a:pt x="107" y="135"/>
                    </a:lnTo>
                    <a:lnTo>
                      <a:pt x="107" y="131"/>
                    </a:lnTo>
                    <a:lnTo>
                      <a:pt x="103" y="131"/>
                    </a:lnTo>
                    <a:lnTo>
                      <a:pt x="103" y="135"/>
                    </a:lnTo>
                    <a:lnTo>
                      <a:pt x="103" y="131"/>
                    </a:lnTo>
                    <a:lnTo>
                      <a:pt x="99" y="131"/>
                    </a:lnTo>
                    <a:lnTo>
                      <a:pt x="95" y="131"/>
                    </a:lnTo>
                    <a:lnTo>
                      <a:pt x="95" y="127"/>
                    </a:lnTo>
                    <a:lnTo>
                      <a:pt x="95" y="131"/>
                    </a:lnTo>
                    <a:lnTo>
                      <a:pt x="95" y="135"/>
                    </a:lnTo>
                    <a:lnTo>
                      <a:pt x="91" y="135"/>
                    </a:lnTo>
                    <a:lnTo>
                      <a:pt x="95" y="135"/>
                    </a:lnTo>
                    <a:lnTo>
                      <a:pt x="91" y="135"/>
                    </a:lnTo>
                    <a:lnTo>
                      <a:pt x="91" y="139"/>
                    </a:lnTo>
                    <a:lnTo>
                      <a:pt x="91" y="143"/>
                    </a:lnTo>
                    <a:lnTo>
                      <a:pt x="91" y="147"/>
                    </a:lnTo>
                    <a:lnTo>
                      <a:pt x="91" y="151"/>
                    </a:lnTo>
                    <a:lnTo>
                      <a:pt x="95" y="151"/>
                    </a:lnTo>
                    <a:lnTo>
                      <a:pt x="95" y="155"/>
                    </a:lnTo>
                    <a:lnTo>
                      <a:pt x="95" y="151"/>
                    </a:lnTo>
                    <a:lnTo>
                      <a:pt x="95" y="147"/>
                    </a:lnTo>
                    <a:lnTo>
                      <a:pt x="95" y="151"/>
                    </a:lnTo>
                    <a:lnTo>
                      <a:pt x="99" y="151"/>
                    </a:lnTo>
                    <a:lnTo>
                      <a:pt x="103" y="147"/>
                    </a:lnTo>
                    <a:lnTo>
                      <a:pt x="103" y="151"/>
                    </a:lnTo>
                    <a:lnTo>
                      <a:pt x="103" y="155"/>
                    </a:lnTo>
                    <a:lnTo>
                      <a:pt x="107" y="155"/>
                    </a:lnTo>
                    <a:lnTo>
                      <a:pt x="107" y="159"/>
                    </a:lnTo>
                    <a:lnTo>
                      <a:pt x="103" y="159"/>
                    </a:lnTo>
                    <a:lnTo>
                      <a:pt x="99" y="159"/>
                    </a:lnTo>
                    <a:lnTo>
                      <a:pt x="99" y="155"/>
                    </a:lnTo>
                    <a:lnTo>
                      <a:pt x="99" y="159"/>
                    </a:lnTo>
                    <a:lnTo>
                      <a:pt x="99" y="163"/>
                    </a:lnTo>
                    <a:lnTo>
                      <a:pt x="99" y="167"/>
                    </a:lnTo>
                    <a:lnTo>
                      <a:pt x="99" y="163"/>
                    </a:lnTo>
                    <a:lnTo>
                      <a:pt x="103" y="163"/>
                    </a:lnTo>
                    <a:lnTo>
                      <a:pt x="107" y="167"/>
                    </a:lnTo>
                    <a:lnTo>
                      <a:pt x="111" y="171"/>
                    </a:lnTo>
                    <a:lnTo>
                      <a:pt x="111" y="175"/>
                    </a:lnTo>
                    <a:lnTo>
                      <a:pt x="107" y="175"/>
                    </a:lnTo>
                    <a:lnTo>
                      <a:pt x="107" y="179"/>
                    </a:lnTo>
                    <a:lnTo>
                      <a:pt x="107" y="183"/>
                    </a:lnTo>
                    <a:lnTo>
                      <a:pt x="107" y="187"/>
                    </a:lnTo>
                    <a:lnTo>
                      <a:pt x="107" y="191"/>
                    </a:lnTo>
                    <a:lnTo>
                      <a:pt x="107" y="195"/>
                    </a:lnTo>
                    <a:lnTo>
                      <a:pt x="107" y="199"/>
                    </a:lnTo>
                    <a:lnTo>
                      <a:pt x="111" y="203"/>
                    </a:lnTo>
                    <a:lnTo>
                      <a:pt x="111" y="207"/>
                    </a:lnTo>
                    <a:lnTo>
                      <a:pt x="111" y="211"/>
                    </a:lnTo>
                    <a:lnTo>
                      <a:pt x="111" y="215"/>
                    </a:lnTo>
                    <a:lnTo>
                      <a:pt x="107" y="215"/>
                    </a:lnTo>
                    <a:lnTo>
                      <a:pt x="103" y="215"/>
                    </a:lnTo>
                    <a:lnTo>
                      <a:pt x="107" y="211"/>
                    </a:lnTo>
                    <a:lnTo>
                      <a:pt x="107" y="215"/>
                    </a:lnTo>
                    <a:lnTo>
                      <a:pt x="107" y="211"/>
                    </a:lnTo>
                    <a:lnTo>
                      <a:pt x="111" y="211"/>
                    </a:lnTo>
                    <a:lnTo>
                      <a:pt x="107" y="211"/>
                    </a:lnTo>
                    <a:lnTo>
                      <a:pt x="103" y="211"/>
                    </a:lnTo>
                    <a:lnTo>
                      <a:pt x="99" y="215"/>
                    </a:lnTo>
                    <a:lnTo>
                      <a:pt x="95" y="215"/>
                    </a:lnTo>
                    <a:lnTo>
                      <a:pt x="91" y="215"/>
                    </a:lnTo>
                    <a:lnTo>
                      <a:pt x="87" y="215"/>
                    </a:lnTo>
                    <a:lnTo>
                      <a:pt x="83" y="219"/>
                    </a:lnTo>
                    <a:lnTo>
                      <a:pt x="79" y="219"/>
                    </a:lnTo>
                    <a:lnTo>
                      <a:pt x="75" y="219"/>
                    </a:lnTo>
                    <a:lnTo>
                      <a:pt x="72" y="219"/>
                    </a:lnTo>
                    <a:lnTo>
                      <a:pt x="72" y="215"/>
                    </a:lnTo>
                    <a:lnTo>
                      <a:pt x="68" y="215"/>
                    </a:lnTo>
                    <a:lnTo>
                      <a:pt x="64" y="215"/>
                    </a:lnTo>
                    <a:lnTo>
                      <a:pt x="60" y="211"/>
                    </a:lnTo>
                    <a:lnTo>
                      <a:pt x="56" y="207"/>
                    </a:lnTo>
                    <a:lnTo>
                      <a:pt x="56" y="203"/>
                    </a:lnTo>
                    <a:lnTo>
                      <a:pt x="52" y="203"/>
                    </a:lnTo>
                    <a:lnTo>
                      <a:pt x="48" y="203"/>
                    </a:lnTo>
                    <a:lnTo>
                      <a:pt x="44" y="199"/>
                    </a:lnTo>
                    <a:lnTo>
                      <a:pt x="40" y="199"/>
                    </a:lnTo>
                    <a:lnTo>
                      <a:pt x="36" y="199"/>
                    </a:lnTo>
                    <a:lnTo>
                      <a:pt x="36" y="195"/>
                    </a:lnTo>
                    <a:lnTo>
                      <a:pt x="36" y="191"/>
                    </a:lnTo>
                    <a:lnTo>
                      <a:pt x="32" y="183"/>
                    </a:lnTo>
                    <a:lnTo>
                      <a:pt x="32" y="179"/>
                    </a:lnTo>
                    <a:lnTo>
                      <a:pt x="32" y="175"/>
                    </a:lnTo>
                    <a:lnTo>
                      <a:pt x="36" y="171"/>
                    </a:lnTo>
                    <a:lnTo>
                      <a:pt x="36" y="167"/>
                    </a:lnTo>
                    <a:lnTo>
                      <a:pt x="40" y="167"/>
                    </a:lnTo>
                    <a:lnTo>
                      <a:pt x="36" y="167"/>
                    </a:lnTo>
                    <a:lnTo>
                      <a:pt x="36" y="171"/>
                    </a:lnTo>
                    <a:lnTo>
                      <a:pt x="40" y="171"/>
                    </a:lnTo>
                    <a:lnTo>
                      <a:pt x="40" y="167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  <p:sp>
            <p:nvSpPr>
              <p:cNvPr id="107" name="Freeform 208">
                <a:extLst>
                  <a:ext uri="{FF2B5EF4-FFF2-40B4-BE49-F238E27FC236}">
                    <a16:creationId xmlns:a16="http://schemas.microsoft.com/office/drawing/2014/main" id="{EE0BD18F-62D4-D64F-83A9-9C8CB5141389}"/>
                  </a:ext>
                </a:extLst>
              </p:cNvPr>
              <p:cNvSpPr>
                <a:spLocks/>
              </p:cNvSpPr>
              <p:nvPr>
                <p:custDataLst>
                  <p:tags r:id="rId92"/>
                </p:custDataLst>
              </p:nvPr>
            </p:nvSpPr>
            <p:spPr bwMode="gray">
              <a:xfrm>
                <a:off x="5907087" y="3275013"/>
                <a:ext cx="88900" cy="120650"/>
              </a:xfrm>
              <a:custGeom>
                <a:avLst/>
                <a:gdLst/>
                <a:ahLst/>
                <a:cxnLst>
                  <a:cxn ang="0">
                    <a:pos x="44" y="20"/>
                  </a:cxn>
                  <a:cxn ang="0">
                    <a:pos x="40" y="24"/>
                  </a:cxn>
                  <a:cxn ang="0">
                    <a:pos x="44" y="28"/>
                  </a:cxn>
                  <a:cxn ang="0">
                    <a:pos x="48" y="24"/>
                  </a:cxn>
                  <a:cxn ang="0">
                    <a:pos x="44" y="28"/>
                  </a:cxn>
                  <a:cxn ang="0">
                    <a:pos x="48" y="36"/>
                  </a:cxn>
                  <a:cxn ang="0">
                    <a:pos x="56" y="36"/>
                  </a:cxn>
                  <a:cxn ang="0">
                    <a:pos x="52" y="40"/>
                  </a:cxn>
                  <a:cxn ang="0">
                    <a:pos x="52" y="44"/>
                  </a:cxn>
                  <a:cxn ang="0">
                    <a:pos x="48" y="48"/>
                  </a:cxn>
                  <a:cxn ang="0">
                    <a:pos x="44" y="52"/>
                  </a:cxn>
                  <a:cxn ang="0">
                    <a:pos x="44" y="52"/>
                  </a:cxn>
                  <a:cxn ang="0">
                    <a:pos x="44" y="60"/>
                  </a:cxn>
                  <a:cxn ang="0">
                    <a:pos x="40" y="56"/>
                  </a:cxn>
                  <a:cxn ang="0">
                    <a:pos x="36" y="60"/>
                  </a:cxn>
                  <a:cxn ang="0">
                    <a:pos x="40" y="64"/>
                  </a:cxn>
                  <a:cxn ang="0">
                    <a:pos x="44" y="68"/>
                  </a:cxn>
                  <a:cxn ang="0">
                    <a:pos x="36" y="72"/>
                  </a:cxn>
                  <a:cxn ang="0">
                    <a:pos x="32" y="68"/>
                  </a:cxn>
                  <a:cxn ang="0">
                    <a:pos x="28" y="72"/>
                  </a:cxn>
                  <a:cxn ang="0">
                    <a:pos x="24" y="76"/>
                  </a:cxn>
                  <a:cxn ang="0">
                    <a:pos x="20" y="72"/>
                  </a:cxn>
                  <a:cxn ang="0">
                    <a:pos x="20" y="68"/>
                  </a:cxn>
                  <a:cxn ang="0">
                    <a:pos x="16" y="64"/>
                  </a:cxn>
                  <a:cxn ang="0">
                    <a:pos x="12" y="68"/>
                  </a:cxn>
                  <a:cxn ang="0">
                    <a:pos x="8" y="64"/>
                  </a:cxn>
                  <a:cxn ang="0">
                    <a:pos x="8" y="64"/>
                  </a:cxn>
                  <a:cxn ang="0">
                    <a:pos x="12" y="68"/>
                  </a:cxn>
                  <a:cxn ang="0">
                    <a:pos x="4" y="68"/>
                  </a:cxn>
                  <a:cxn ang="0">
                    <a:pos x="0" y="64"/>
                  </a:cxn>
                  <a:cxn ang="0">
                    <a:pos x="0" y="56"/>
                  </a:cxn>
                  <a:cxn ang="0">
                    <a:pos x="0" y="48"/>
                  </a:cxn>
                  <a:cxn ang="0">
                    <a:pos x="0" y="40"/>
                  </a:cxn>
                  <a:cxn ang="0">
                    <a:pos x="4" y="32"/>
                  </a:cxn>
                  <a:cxn ang="0">
                    <a:pos x="4" y="24"/>
                  </a:cxn>
                  <a:cxn ang="0">
                    <a:pos x="8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16" y="20"/>
                  </a:cxn>
                  <a:cxn ang="0">
                    <a:pos x="20" y="24"/>
                  </a:cxn>
                  <a:cxn ang="0">
                    <a:pos x="20" y="16"/>
                  </a:cxn>
                  <a:cxn ang="0">
                    <a:pos x="24" y="12"/>
                  </a:cxn>
                  <a:cxn ang="0">
                    <a:pos x="28" y="16"/>
                  </a:cxn>
                  <a:cxn ang="0">
                    <a:pos x="24" y="12"/>
                  </a:cxn>
                  <a:cxn ang="0">
                    <a:pos x="24" y="4"/>
                  </a:cxn>
                  <a:cxn ang="0">
                    <a:pos x="32" y="4"/>
                  </a:cxn>
                  <a:cxn ang="0">
                    <a:pos x="36" y="4"/>
                  </a:cxn>
                  <a:cxn ang="0">
                    <a:pos x="36" y="0"/>
                  </a:cxn>
                  <a:cxn ang="0">
                    <a:pos x="40" y="4"/>
                  </a:cxn>
                  <a:cxn ang="0">
                    <a:pos x="44" y="8"/>
                  </a:cxn>
                  <a:cxn ang="0">
                    <a:pos x="48" y="4"/>
                  </a:cxn>
                  <a:cxn ang="0">
                    <a:pos x="52" y="0"/>
                  </a:cxn>
                  <a:cxn ang="0">
                    <a:pos x="52" y="8"/>
                  </a:cxn>
                  <a:cxn ang="0">
                    <a:pos x="44" y="12"/>
                  </a:cxn>
                  <a:cxn ang="0">
                    <a:pos x="40" y="16"/>
                  </a:cxn>
                </a:cxnLst>
                <a:rect l="0" t="0" r="r" b="b"/>
                <a:pathLst>
                  <a:path w="56" h="76">
                    <a:moveTo>
                      <a:pt x="40" y="16"/>
                    </a:moveTo>
                    <a:lnTo>
                      <a:pt x="44" y="20"/>
                    </a:lnTo>
                    <a:lnTo>
                      <a:pt x="44" y="24"/>
                    </a:lnTo>
                    <a:lnTo>
                      <a:pt x="40" y="24"/>
                    </a:lnTo>
                    <a:lnTo>
                      <a:pt x="40" y="28"/>
                    </a:lnTo>
                    <a:lnTo>
                      <a:pt x="44" y="28"/>
                    </a:lnTo>
                    <a:lnTo>
                      <a:pt x="44" y="24"/>
                    </a:lnTo>
                    <a:lnTo>
                      <a:pt x="48" y="24"/>
                    </a:lnTo>
                    <a:lnTo>
                      <a:pt x="48" y="28"/>
                    </a:lnTo>
                    <a:lnTo>
                      <a:pt x="44" y="28"/>
                    </a:lnTo>
                    <a:lnTo>
                      <a:pt x="48" y="32"/>
                    </a:lnTo>
                    <a:lnTo>
                      <a:pt x="48" y="36"/>
                    </a:lnTo>
                    <a:lnTo>
                      <a:pt x="52" y="36"/>
                    </a:lnTo>
                    <a:lnTo>
                      <a:pt x="56" y="36"/>
                    </a:lnTo>
                    <a:lnTo>
                      <a:pt x="52" y="36"/>
                    </a:lnTo>
                    <a:lnTo>
                      <a:pt x="52" y="40"/>
                    </a:lnTo>
                    <a:lnTo>
                      <a:pt x="56" y="40"/>
                    </a:lnTo>
                    <a:lnTo>
                      <a:pt x="52" y="44"/>
                    </a:lnTo>
                    <a:lnTo>
                      <a:pt x="48" y="44"/>
                    </a:lnTo>
                    <a:lnTo>
                      <a:pt x="48" y="48"/>
                    </a:lnTo>
                    <a:lnTo>
                      <a:pt x="44" y="48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52"/>
                    </a:lnTo>
                    <a:lnTo>
                      <a:pt x="44" y="56"/>
                    </a:lnTo>
                    <a:lnTo>
                      <a:pt x="44" y="60"/>
                    </a:lnTo>
                    <a:lnTo>
                      <a:pt x="44" y="56"/>
                    </a:lnTo>
                    <a:lnTo>
                      <a:pt x="40" y="56"/>
                    </a:lnTo>
                    <a:lnTo>
                      <a:pt x="40" y="60"/>
                    </a:lnTo>
                    <a:lnTo>
                      <a:pt x="36" y="60"/>
                    </a:lnTo>
                    <a:lnTo>
                      <a:pt x="36" y="64"/>
                    </a:lnTo>
                    <a:lnTo>
                      <a:pt x="40" y="64"/>
                    </a:lnTo>
                    <a:lnTo>
                      <a:pt x="44" y="64"/>
                    </a:lnTo>
                    <a:lnTo>
                      <a:pt x="44" y="68"/>
                    </a:lnTo>
                    <a:lnTo>
                      <a:pt x="40" y="68"/>
                    </a:lnTo>
                    <a:lnTo>
                      <a:pt x="36" y="72"/>
                    </a:lnTo>
                    <a:lnTo>
                      <a:pt x="36" y="68"/>
                    </a:lnTo>
                    <a:lnTo>
                      <a:pt x="32" y="68"/>
                    </a:lnTo>
                    <a:lnTo>
                      <a:pt x="32" y="72"/>
                    </a:lnTo>
                    <a:lnTo>
                      <a:pt x="28" y="72"/>
                    </a:lnTo>
                    <a:lnTo>
                      <a:pt x="24" y="72"/>
                    </a:lnTo>
                    <a:lnTo>
                      <a:pt x="24" y="76"/>
                    </a:lnTo>
                    <a:lnTo>
                      <a:pt x="24" y="72"/>
                    </a:lnTo>
                    <a:lnTo>
                      <a:pt x="20" y="72"/>
                    </a:lnTo>
                    <a:lnTo>
                      <a:pt x="24" y="68"/>
                    </a:lnTo>
                    <a:lnTo>
                      <a:pt x="20" y="68"/>
                    </a:lnTo>
                    <a:lnTo>
                      <a:pt x="16" y="68"/>
                    </a:lnTo>
                    <a:lnTo>
                      <a:pt x="16" y="64"/>
                    </a:lnTo>
                    <a:lnTo>
                      <a:pt x="16" y="68"/>
                    </a:lnTo>
                    <a:lnTo>
                      <a:pt x="12" y="68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12" y="64"/>
                    </a:lnTo>
                    <a:lnTo>
                      <a:pt x="8" y="64"/>
                    </a:lnTo>
                    <a:lnTo>
                      <a:pt x="12" y="64"/>
                    </a:lnTo>
                    <a:lnTo>
                      <a:pt x="12" y="68"/>
                    </a:lnTo>
                    <a:lnTo>
                      <a:pt x="8" y="68"/>
                    </a:lnTo>
                    <a:lnTo>
                      <a:pt x="4" y="68"/>
                    </a:lnTo>
                    <a:lnTo>
                      <a:pt x="0" y="68"/>
                    </a:lnTo>
                    <a:lnTo>
                      <a:pt x="0" y="64"/>
                    </a:lnTo>
                    <a:lnTo>
                      <a:pt x="4" y="60"/>
                    </a:lnTo>
                    <a:lnTo>
                      <a:pt x="0" y="56"/>
                    </a:lnTo>
                    <a:lnTo>
                      <a:pt x="0" y="52"/>
                    </a:lnTo>
                    <a:lnTo>
                      <a:pt x="0" y="48"/>
                    </a:lnTo>
                    <a:lnTo>
                      <a:pt x="0" y="44"/>
                    </a:lnTo>
                    <a:lnTo>
                      <a:pt x="0" y="40"/>
                    </a:lnTo>
                    <a:lnTo>
                      <a:pt x="0" y="36"/>
                    </a:lnTo>
                    <a:lnTo>
                      <a:pt x="4" y="32"/>
                    </a:lnTo>
                    <a:lnTo>
                      <a:pt x="4" y="28"/>
                    </a:lnTo>
                    <a:lnTo>
                      <a:pt x="4" y="24"/>
                    </a:lnTo>
                    <a:lnTo>
                      <a:pt x="8" y="24"/>
                    </a:lnTo>
                    <a:lnTo>
                      <a:pt x="8" y="20"/>
                    </a:lnTo>
                    <a:lnTo>
                      <a:pt x="12" y="20"/>
                    </a:lnTo>
                    <a:lnTo>
                      <a:pt x="16" y="20"/>
                    </a:lnTo>
                    <a:lnTo>
                      <a:pt x="16" y="16"/>
                    </a:lnTo>
                    <a:lnTo>
                      <a:pt x="16" y="20"/>
                    </a:lnTo>
                    <a:lnTo>
                      <a:pt x="20" y="20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0" y="24"/>
                    </a:lnTo>
                    <a:lnTo>
                      <a:pt x="20" y="20"/>
                    </a:lnTo>
                    <a:lnTo>
                      <a:pt x="20" y="16"/>
                    </a:lnTo>
                    <a:lnTo>
                      <a:pt x="20" y="12"/>
                    </a:lnTo>
                    <a:lnTo>
                      <a:pt x="24" y="12"/>
                    </a:lnTo>
                    <a:lnTo>
                      <a:pt x="24" y="16"/>
                    </a:lnTo>
                    <a:lnTo>
                      <a:pt x="28" y="16"/>
                    </a:lnTo>
                    <a:lnTo>
                      <a:pt x="28" y="12"/>
                    </a:lnTo>
                    <a:lnTo>
                      <a:pt x="24" y="12"/>
                    </a:lnTo>
                    <a:lnTo>
                      <a:pt x="24" y="8"/>
                    </a:lnTo>
                    <a:lnTo>
                      <a:pt x="24" y="4"/>
                    </a:lnTo>
                    <a:lnTo>
                      <a:pt x="28" y="4"/>
                    </a:lnTo>
                    <a:lnTo>
                      <a:pt x="32" y="4"/>
                    </a:lnTo>
                    <a:lnTo>
                      <a:pt x="36" y="8"/>
                    </a:lnTo>
                    <a:lnTo>
                      <a:pt x="36" y="4"/>
                    </a:lnTo>
                    <a:lnTo>
                      <a:pt x="32" y="4"/>
                    </a:lnTo>
                    <a:lnTo>
                      <a:pt x="36" y="0"/>
                    </a:lnTo>
                    <a:lnTo>
                      <a:pt x="40" y="0"/>
                    </a:lnTo>
                    <a:lnTo>
                      <a:pt x="40" y="4"/>
                    </a:lnTo>
                    <a:lnTo>
                      <a:pt x="40" y="8"/>
                    </a:lnTo>
                    <a:lnTo>
                      <a:pt x="44" y="8"/>
                    </a:lnTo>
                    <a:lnTo>
                      <a:pt x="44" y="4"/>
                    </a:lnTo>
                    <a:lnTo>
                      <a:pt x="48" y="4"/>
                    </a:lnTo>
                    <a:lnTo>
                      <a:pt x="48" y="0"/>
                    </a:lnTo>
                    <a:lnTo>
                      <a:pt x="52" y="0"/>
                    </a:lnTo>
                    <a:lnTo>
                      <a:pt x="52" y="4"/>
                    </a:lnTo>
                    <a:lnTo>
                      <a:pt x="52" y="8"/>
                    </a:lnTo>
                    <a:lnTo>
                      <a:pt x="48" y="12"/>
                    </a:lnTo>
                    <a:lnTo>
                      <a:pt x="44" y="12"/>
                    </a:lnTo>
                    <a:lnTo>
                      <a:pt x="44" y="16"/>
                    </a:lnTo>
                    <a:lnTo>
                      <a:pt x="40" y="16"/>
                    </a:lnTo>
                    <a:close/>
                  </a:path>
                </a:pathLst>
              </a:custGeom>
              <a:grpFill/>
              <a:ln w="9525" cmpd="sng">
                <a:solidFill>
                  <a:schemeClr val="bg1"/>
                </a:solidFill>
                <a:round/>
                <a:headEnd/>
                <a:tailEnd/>
              </a:ln>
            </p:spPr>
            <p:txBody>
              <a:bodyPr lIns="37783" tIns="37783" rIns="37783" bIns="37783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Gill Sans MT"/>
                  <a:ea typeface="+mn-ea"/>
                  <a:cs typeface="+mn-cs"/>
                </a:endParaRPr>
              </a:p>
            </p:txBody>
          </p:sp>
        </p:grpSp>
        <p:sp>
          <p:nvSpPr>
            <p:cNvPr id="100" name="Freeform 198">
              <a:extLst>
                <a:ext uri="{FF2B5EF4-FFF2-40B4-BE49-F238E27FC236}">
                  <a16:creationId xmlns:a16="http://schemas.microsoft.com/office/drawing/2014/main" id="{7C99223B-6EB9-AE42-ABB0-D696E91263C9}"/>
                </a:ext>
              </a:extLst>
            </p:cNvPr>
            <p:cNvSpPr>
              <a:spLocks/>
            </p:cNvSpPr>
            <p:nvPr/>
          </p:nvSpPr>
          <p:spPr bwMode="gray">
            <a:xfrm>
              <a:off x="4064053" y="5158875"/>
              <a:ext cx="5042" cy="5042"/>
            </a:xfrm>
            <a:custGeom>
              <a:avLst/>
              <a:gdLst/>
              <a:ahLst/>
              <a:cxnLst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4" y="4"/>
                </a:cxn>
              </a:cxnLst>
              <a:rect l="0" t="0" r="r" b="b"/>
              <a:pathLst>
                <a:path w="4" h="4">
                  <a:moveTo>
                    <a:pt x="4" y="4"/>
                  </a:move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0" y="4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0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4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1" name="Freeform 265">
              <a:extLst>
                <a:ext uri="{FF2B5EF4-FFF2-40B4-BE49-F238E27FC236}">
                  <a16:creationId xmlns:a16="http://schemas.microsoft.com/office/drawing/2014/main" id="{26FA9CEC-86A4-6248-AE78-E4A9943A3234}"/>
                </a:ext>
              </a:extLst>
            </p:cNvPr>
            <p:cNvSpPr>
              <a:spLocks/>
            </p:cNvSpPr>
            <p:nvPr/>
          </p:nvSpPr>
          <p:spPr bwMode="gray">
            <a:xfrm>
              <a:off x="5175906" y="6185007"/>
              <a:ext cx="1261" cy="5042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h="4">
                  <a:moveTo>
                    <a:pt x="0" y="4"/>
                  </a:move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2" name="Freeform 336">
              <a:extLst>
                <a:ext uri="{FF2B5EF4-FFF2-40B4-BE49-F238E27FC236}">
                  <a16:creationId xmlns:a16="http://schemas.microsoft.com/office/drawing/2014/main" id="{8154BCC1-E392-E84F-98C4-6B52F9864175}"/>
                </a:ext>
              </a:extLst>
            </p:cNvPr>
            <p:cNvSpPr>
              <a:spLocks/>
            </p:cNvSpPr>
            <p:nvPr/>
          </p:nvSpPr>
          <p:spPr bwMode="gray">
            <a:xfrm>
              <a:off x="3692175" y="5153833"/>
              <a:ext cx="1261" cy="1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3" name="Freeform 337">
              <a:extLst>
                <a:ext uri="{FF2B5EF4-FFF2-40B4-BE49-F238E27FC236}">
                  <a16:creationId xmlns:a16="http://schemas.microsoft.com/office/drawing/2014/main" id="{030A6F46-EA0F-F742-8720-AA246A77599E}"/>
                </a:ext>
              </a:extLst>
            </p:cNvPr>
            <p:cNvSpPr>
              <a:spLocks/>
            </p:cNvSpPr>
            <p:nvPr/>
          </p:nvSpPr>
          <p:spPr bwMode="gray">
            <a:xfrm>
              <a:off x="4693094" y="6285856"/>
              <a:ext cx="5042" cy="1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4" y="0"/>
                </a:cxn>
                <a:cxn ang="0">
                  <a:pos x="0" y="0"/>
                </a:cxn>
              </a:cxnLst>
              <a:rect l="0" t="0" r="r" b="b"/>
              <a:pathLst>
                <a:path w="4"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4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  <p:sp>
          <p:nvSpPr>
            <p:cNvPr id="104" name="Freeform 338">
              <a:extLst>
                <a:ext uri="{FF2B5EF4-FFF2-40B4-BE49-F238E27FC236}">
                  <a16:creationId xmlns:a16="http://schemas.microsoft.com/office/drawing/2014/main" id="{0D936ECA-8366-2545-B840-1C4586002A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607373" y="6411916"/>
              <a:ext cx="1261" cy="1261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  <a:cxn ang="0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Gill Sans MT"/>
                <a:ea typeface="+mn-ea"/>
                <a:cs typeface="+mn-cs"/>
              </a:endParaRPr>
            </a:p>
          </p:txBody>
        </p:sp>
      </p:grpSp>
      <p:cxnSp>
        <p:nvCxnSpPr>
          <p:cNvPr id="163" name="Straight Connector 162"/>
          <p:cNvCxnSpPr>
            <a:cxnSpLocks/>
          </p:cNvCxnSpPr>
          <p:nvPr/>
        </p:nvCxnSpPr>
        <p:spPr>
          <a:xfrm flipV="1">
            <a:off x="2001232" y="2624651"/>
            <a:ext cx="1373844" cy="804714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Straight Connector 164"/>
          <p:cNvCxnSpPr>
            <a:cxnSpLocks/>
          </p:cNvCxnSpPr>
          <p:nvPr/>
        </p:nvCxnSpPr>
        <p:spPr>
          <a:xfrm>
            <a:off x="1904626" y="3726225"/>
            <a:ext cx="1470450" cy="917296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1" name="TextBox 180"/>
          <p:cNvSpPr txBox="1"/>
          <p:nvPr/>
        </p:nvSpPr>
        <p:spPr>
          <a:xfrm>
            <a:off x="9927403" y="3768880"/>
            <a:ext cx="228496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66658"/>
                </a:solidFill>
                <a:effectLst/>
                <a:uLnTx/>
                <a:uFillTx/>
                <a:latin typeface="Lato" panose="020F0502020204030203" pitchFamily="34" charset="0"/>
              </a:rPr>
              <a:t>Surveillance</a:t>
            </a:r>
          </a:p>
        </p:txBody>
      </p:sp>
      <p:pic>
        <p:nvPicPr>
          <p:cNvPr id="182" name="Picture 181"/>
          <p:cNvPicPr>
            <a:picLocks noChangeAspect="1"/>
          </p:cNvPicPr>
          <p:nvPr/>
        </p:nvPicPr>
        <p:blipFill>
          <a:blip r:embed="rId9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70023" y="701476"/>
            <a:ext cx="2233331" cy="1678488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3" name="TextBox 182"/>
          <p:cNvSpPr txBox="1"/>
          <p:nvPr/>
        </p:nvSpPr>
        <p:spPr>
          <a:xfrm>
            <a:off x="6197015" y="2379992"/>
            <a:ext cx="382052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66658"/>
                </a:solidFill>
                <a:effectLst/>
                <a:uLnTx/>
                <a:uFillTx/>
                <a:latin typeface="Lato" panose="020F0502020204030203" pitchFamily="34" charset="0"/>
              </a:rPr>
              <a:t>Community Engagement</a:t>
            </a:r>
          </a:p>
        </p:txBody>
      </p:sp>
      <p:sp>
        <p:nvSpPr>
          <p:cNvPr id="185" name="TextBox 184"/>
          <p:cNvSpPr txBox="1"/>
          <p:nvPr/>
        </p:nvSpPr>
        <p:spPr>
          <a:xfrm>
            <a:off x="6570001" y="5797659"/>
            <a:ext cx="344782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400" i="0" u="none" strike="noStrike" kern="1200" cap="none" spc="0" normalizeH="0" baseline="0" noProof="0" dirty="0">
                <a:ln>
                  <a:noFill/>
                </a:ln>
                <a:solidFill>
                  <a:srgbClr val="366658"/>
                </a:solidFill>
                <a:effectLst/>
                <a:uLnTx/>
                <a:uFillTx/>
                <a:latin typeface="Lato" panose="020F0502020204030203" pitchFamily="34" charset="0"/>
              </a:rPr>
              <a:t>Case Enrollment</a:t>
            </a:r>
          </a:p>
        </p:txBody>
      </p:sp>
      <p:pic>
        <p:nvPicPr>
          <p:cNvPr id="186" name="Picture 185"/>
          <p:cNvPicPr>
            <a:picLocks noChangeAspect="1"/>
          </p:cNvPicPr>
          <p:nvPr/>
        </p:nvPicPr>
        <p:blipFill>
          <a:blip r:embed="rId9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34293" y="1884477"/>
            <a:ext cx="2215089" cy="197710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87" name="Picture 186"/>
          <p:cNvPicPr>
            <a:picLocks noChangeAspect="1"/>
          </p:cNvPicPr>
          <p:nvPr/>
        </p:nvPicPr>
        <p:blipFill>
          <a:blip r:embed="rId9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58614" y="4622619"/>
            <a:ext cx="3412471" cy="1263672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89" name="Circular Arrow 188"/>
          <p:cNvSpPr/>
          <p:nvPr/>
        </p:nvSpPr>
        <p:spPr>
          <a:xfrm rot="1081135">
            <a:off x="6927504" y="1132469"/>
            <a:ext cx="4365346" cy="4593885"/>
          </a:xfrm>
          <a:prstGeom prst="circularArrow">
            <a:avLst>
              <a:gd name="adj1" fmla="val 5194"/>
              <a:gd name="adj2" fmla="val 335470"/>
              <a:gd name="adj3" fmla="val 16867551"/>
              <a:gd name="adj4" fmla="val 15196979"/>
              <a:gd name="adj5" fmla="val 6060"/>
            </a:avLst>
          </a:pr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sp>
        <p:nvSpPr>
          <p:cNvPr id="190" name="Circular Arrow 189"/>
          <p:cNvSpPr/>
          <p:nvPr/>
        </p:nvSpPr>
        <p:spPr>
          <a:xfrm>
            <a:off x="7447963" y="1277355"/>
            <a:ext cx="4365346" cy="4365346"/>
          </a:xfrm>
          <a:prstGeom prst="circularArrow">
            <a:avLst>
              <a:gd name="adj1" fmla="val 5194"/>
              <a:gd name="adj2" fmla="val 335470"/>
              <a:gd name="adj3" fmla="val 4016568"/>
              <a:gd name="adj4" fmla="val 2251715"/>
              <a:gd name="adj5" fmla="val 6060"/>
            </a:avLst>
          </a:prstGeom>
          <a:scene3d>
            <a:camera prst="orthographicFront"/>
            <a:lightRig rig="flat" dir="t"/>
          </a:scene3d>
          <a:sp3d prstMaterial="dkEdge">
            <a:bevelT w="82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2">
            <a:schemeClr val="accent1">
              <a:hueOff val="0"/>
              <a:satOff val="0"/>
              <a:lumOff val="0"/>
              <a:alphaOff val="0"/>
            </a:schemeClr>
          </a:fillRef>
          <a:effectRef idx="1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dk1"/>
          </a:fontRef>
        </p:style>
      </p:sp>
      <p:grpSp>
        <p:nvGrpSpPr>
          <p:cNvPr id="114" name="Group 113">
            <a:extLst>
              <a:ext uri="{FF2B5EF4-FFF2-40B4-BE49-F238E27FC236}">
                <a16:creationId xmlns:a16="http://schemas.microsoft.com/office/drawing/2014/main" id="{C75679BF-1909-41DF-B12E-9600F89F4951}"/>
              </a:ext>
            </a:extLst>
          </p:cNvPr>
          <p:cNvGrpSpPr/>
          <p:nvPr/>
        </p:nvGrpSpPr>
        <p:grpSpPr>
          <a:xfrm>
            <a:off x="2729748" y="1059280"/>
            <a:ext cx="5829316" cy="4365346"/>
            <a:chOff x="3460406" y="1246737"/>
            <a:chExt cx="5829316" cy="4365346"/>
          </a:xfrm>
        </p:grpSpPr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8749A6EC-6F2A-4DA7-A3A2-0C73FB6DB68D}"/>
                </a:ext>
              </a:extLst>
            </p:cNvPr>
            <p:cNvSpPr txBox="1"/>
            <p:nvPr/>
          </p:nvSpPr>
          <p:spPr>
            <a:xfrm>
              <a:off x="3460406" y="3933885"/>
              <a:ext cx="4987973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i="0" u="none" strike="noStrike" kern="1200" cap="none" spc="0" normalizeH="0" baseline="0" noProof="0" dirty="0">
                  <a:ln>
                    <a:noFill/>
                  </a:ln>
                  <a:solidFill>
                    <a:srgbClr val="366658"/>
                  </a:solidFill>
                  <a:effectLst/>
                  <a:uLnTx/>
                  <a:uFillTx/>
                  <a:latin typeface="Lato" panose="020F0502020204030203" pitchFamily="34" charset="0"/>
                </a:rPr>
                <a:t>Cause of Death Determination</a:t>
              </a:r>
            </a:p>
          </p:txBody>
        </p:sp>
        <p:pic>
          <p:nvPicPr>
            <p:cNvPr id="116" name="Picture 115">
              <a:extLst>
                <a:ext uri="{FF2B5EF4-FFF2-40B4-BE49-F238E27FC236}">
                  <a16:creationId xmlns:a16="http://schemas.microsoft.com/office/drawing/2014/main" id="{0679B9D5-A5E1-400D-8073-E418E8C4473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255234" y="2444237"/>
              <a:ext cx="2875454" cy="1529234"/>
            </a:xfrm>
            <a:prstGeom prst="ellipse">
              <a:avLst/>
            </a:prstGeom>
            <a:ln>
              <a:noFill/>
            </a:ln>
            <a:effectLst>
              <a:softEdge rad="112500"/>
            </a:effectLst>
          </p:spPr>
        </p:pic>
        <p:sp>
          <p:nvSpPr>
            <p:cNvPr id="117" name="Circular Arrow 116">
              <a:extLst>
                <a:ext uri="{FF2B5EF4-FFF2-40B4-BE49-F238E27FC236}">
                  <a16:creationId xmlns:a16="http://schemas.microsoft.com/office/drawing/2014/main" id="{25A0323C-A2EA-4040-8B67-25D5CD72601F}"/>
                </a:ext>
              </a:extLst>
            </p:cNvPr>
            <p:cNvSpPr/>
            <p:nvPr/>
          </p:nvSpPr>
          <p:spPr>
            <a:xfrm>
              <a:off x="4924376" y="1246737"/>
              <a:ext cx="4365346" cy="4365346"/>
            </a:xfrm>
            <a:prstGeom prst="circularArrow">
              <a:avLst>
                <a:gd name="adj1" fmla="val 5194"/>
                <a:gd name="adj2" fmla="val 335470"/>
                <a:gd name="adj3" fmla="val 8212815"/>
                <a:gd name="adj4" fmla="val 6447961"/>
                <a:gd name="adj5" fmla="val 6060"/>
              </a:avLst>
            </a:prstGeom>
            <a:scene3d>
              <a:camera prst="orthographicFront"/>
              <a:lightRig rig="flat" dir="t"/>
            </a:scene3d>
            <a:sp3d prstMaterial="dkEdge">
              <a:bevelT w="82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2">
              <a:schemeClr val="accent1">
                <a:hueOff val="0"/>
                <a:satOff val="0"/>
                <a:lumOff val="0"/>
                <a:alphaOff val="0"/>
              </a:schemeClr>
            </a:fillRef>
            <a:effectRef idx="1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dk1"/>
            </a:fontRef>
          </p:style>
        </p:sp>
      </p:grpSp>
    </p:spTree>
    <p:extLst>
      <p:ext uri="{BB962C8B-B14F-4D97-AF65-F5344CB8AC3E}">
        <p14:creationId xmlns:p14="http://schemas.microsoft.com/office/powerpoint/2010/main" val="33495783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Q7sGSo3UqShzX7DFXqL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Q7sGSo3UqShzX7DFXqLQ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LLqEB9Kkef6Pk7_7S7hw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r_jOv7akC0.q4QJd0qH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mCUe0YWUyh7O_5eTtxiQ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GqrI.mEEWaJieVCnzoQ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.jxprthA0iz3DG_WqMPtg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uh1UbSiDEWey0.YDkBZfg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DAebZ4lkO_AZSt6NR3xg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ceUxARYBUWzyaR0r2Mhv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GHRlkU.t0KQQr_.ASuATQ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RI9krqX0KlJmofo0Xje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QFgtoph0iQC1vZ5BGu9w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i.0wwsq02SDneHeUc0p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MpQgNAyxEizVzZfpvfA.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eHJh81cUmnaqYo5hmE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bvn4Qmfke.VsJPiqQ7qQ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ZOXnt02kWMsSNBJiWVPQ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0evs17ve0O6t0j8.NilGQ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SLrVPsXAEm6Vzvx4HsdUg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wTlDbdohEyACog.PMmTZw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OznX4S6P0uxfd7vmE1Mkg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TyjvWZsUSLE4Kv.ioT6w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AeNm4IDoUK5OQ4LFKpy_A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IUIrpLGSEi4kM2I9dPCjw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yV81Q.5uUOoUMfZRjvGFg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8AGxqbLbk6KphGE1ueehA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QTwpISH30efA7Dnld3XB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qLWtg8BnUS0JCo9VfHznw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Q7sGSo3UqShzX7DFXqLQ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Z2knjusGE.UIwd7.Gqmd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6TqRWQATEycV6RLseZQT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f.2iWcgaEGcuCzU2Bnkc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0UWGTF85kaapDfuiP4JV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tiCi5xhd0ic0QheWJ6AW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Hl6jCz90Okb_oNnlsEA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P4F79Ro_0eUGZ4iV95k4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I4si0yIk2IuU_wywu5S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CBZTRZeWkynRQ4davbgI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l2pet89KEq.AUUCBXI9A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I23ixv8ZU6gJlmCuTveO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b0_j5Icw0CART9iKRqeV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xgZeCIUk2tvzzCs1cCK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pbay4waL02YsT_3jMDT8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NSBs0pmk.FR0vY0OY2g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sdRuSNLEmGlp1Pk30.I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LCiGm7IOEK4yevxrqE4b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r3w11BdU6YTE97mkhB3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jo4fPReZ0e1zO1OEJSlY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Va0YLrNiEW4NC5AL8tU7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J7k23f2YEWuFWOr5lxW5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l57idyvM0qT8X1ir.xd4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4TLe_wOwUeLRb3Lnjebx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iBnGC55jU.TIv7eFwHr.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ROWwKvKE0iuLEBU3JMqm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L5vVgdf9UCeNKCa5iNrk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s5ICAPjk.1jh.m_Xna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UWvqfQKF0q4FFluEa.07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A_rZqB0zk25xrCwgGbpW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0qOSyRgjUypbAzoT7szH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MbHMHlPNEOsufuYoNyni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7XKU_3qN0amQj0zc1R7p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.sj6TIoUaQCezptvv_m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gYZAQ3xak.LhT1ah4eVJ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K7eLZW7o0SDuqVK.UQdg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KtMXaZbUis8sZMa6t9v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pDD1q40UiO2lI6qTmZ5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QQCuvURH0u38GxaxgG2n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kOoaRFrJUSu3XEux_3o7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pPEfiGPoE.aPcWzUBFK8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_q8Y6qVOE6LoSu.NyPRu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TZre4vaFkmK5o8LsmeV5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3kigKY8EEikNFDsZVeSV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ZWF9fvCmEOS3Fh8fLwau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hoIVCX0U2cJQ2FLuNQW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CSWG_TyW0qWNaQavpG9f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NZpAZolUipS6DzLygnC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6bE7Y57hEiHhxDzCUV0Y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UU2Yq4fEa5T5l_Z7nuh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RW4dy3DUuWPuUifAbTz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6d1Frw7EESSlxihIk7L5g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0zpKdOE.EuHg8N7R2Ryp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vOkDnkCmUOkP34SeaJ6B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CQ7sGSo3UqShzX7DFXqL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cOQj.zWky.RyK.ZP30j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rEztuaTQk6VBr527KE3d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6Kp8QyUzUOjoWze.Dzhh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W1V9LcdPESLpa2Zbkp6n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oSoBsLmUepB9_i5.yjF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mB_O6M7kCsrjzhZIory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DNfBZpSX0m2XK0Sm3gkkw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aG.ikopW0SHJYiiHsJcw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jCiD.y4kOtPO573BADO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I0xbWstUCTPVT95CxMI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qYvQUsmmEmzOXDrvk0ZIA"/>
</p:tagLst>
</file>

<file path=ppt/theme/theme1.xml><?xml version="1.0" encoding="utf-8"?>
<a:theme xmlns:a="http://schemas.openxmlformats.org/drawingml/2006/main" name="Office Theme">
  <a:themeElements>
    <a:clrScheme name="CHAMPS">
      <a:dk1>
        <a:srgbClr val="000000"/>
      </a:dk1>
      <a:lt1>
        <a:srgbClr val="FFFFFF"/>
      </a:lt1>
      <a:dk2>
        <a:srgbClr val="898A8D"/>
      </a:dk2>
      <a:lt2>
        <a:srgbClr val="CFCFCC"/>
      </a:lt2>
      <a:accent1>
        <a:srgbClr val="4C9C2E"/>
      </a:accent1>
      <a:accent2>
        <a:srgbClr val="92D400"/>
      </a:accent2>
      <a:accent3>
        <a:srgbClr val="EBE616"/>
      </a:accent3>
      <a:accent4>
        <a:srgbClr val="00A7E1"/>
      </a:accent4>
      <a:accent5>
        <a:srgbClr val="655DC5"/>
      </a:accent5>
      <a:accent6>
        <a:srgbClr val="F4426C"/>
      </a:accent6>
      <a:hlink>
        <a:srgbClr val="4C9C2E"/>
      </a:hlink>
      <a:folHlink>
        <a:srgbClr val="92D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Office Theme">
  <a:themeElements>
    <a:clrScheme name="CHAMPS">
      <a:dk1>
        <a:srgbClr val="000000"/>
      </a:dk1>
      <a:lt1>
        <a:srgbClr val="FFFFFF"/>
      </a:lt1>
      <a:dk2>
        <a:srgbClr val="898A8D"/>
      </a:dk2>
      <a:lt2>
        <a:srgbClr val="CFCFCC"/>
      </a:lt2>
      <a:accent1>
        <a:srgbClr val="4C9C2E"/>
      </a:accent1>
      <a:accent2>
        <a:srgbClr val="92D400"/>
      </a:accent2>
      <a:accent3>
        <a:srgbClr val="EBE616"/>
      </a:accent3>
      <a:accent4>
        <a:srgbClr val="00A7E1"/>
      </a:accent4>
      <a:accent5>
        <a:srgbClr val="655DC5"/>
      </a:accent5>
      <a:accent6>
        <a:srgbClr val="F4426C"/>
      </a:accent6>
      <a:hlink>
        <a:srgbClr val="4C9C2E"/>
      </a:hlink>
      <a:folHlink>
        <a:srgbClr val="92D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 PowerPoint_Master">
  <a:themeElements>
    <a:clrScheme name="CHAMPS">
      <a:dk1>
        <a:srgbClr val="000000"/>
      </a:dk1>
      <a:lt1>
        <a:srgbClr val="FFFFFF"/>
      </a:lt1>
      <a:dk2>
        <a:srgbClr val="898A8D"/>
      </a:dk2>
      <a:lt2>
        <a:srgbClr val="CFCFCC"/>
      </a:lt2>
      <a:accent1>
        <a:srgbClr val="4C9C2E"/>
      </a:accent1>
      <a:accent2>
        <a:srgbClr val="92D400"/>
      </a:accent2>
      <a:accent3>
        <a:srgbClr val="EBE616"/>
      </a:accent3>
      <a:accent4>
        <a:srgbClr val="00A7E1"/>
      </a:accent4>
      <a:accent5>
        <a:srgbClr val="655DC5"/>
      </a:accent5>
      <a:accent6>
        <a:srgbClr val="F4426C"/>
      </a:accent6>
      <a:hlink>
        <a:srgbClr val="4C9C2E"/>
      </a:hlink>
      <a:folHlink>
        <a:srgbClr val="92D4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Office Theme">
  <a:themeElements>
    <a:clrScheme name="Custom 1">
      <a:dk1>
        <a:sysClr val="windowText" lastClr="000000"/>
      </a:dk1>
      <a:lt1>
        <a:sysClr val="window" lastClr="FFFFFF"/>
      </a:lt1>
      <a:dk2>
        <a:srgbClr val="FFFFFF"/>
      </a:dk2>
      <a:lt2>
        <a:srgbClr val="FFFFFF"/>
      </a:lt2>
      <a:accent1>
        <a:srgbClr val="99CB38"/>
      </a:accent1>
      <a:accent2>
        <a:srgbClr val="63A537"/>
      </a:accent2>
      <a:accent3>
        <a:srgbClr val="37A76F"/>
      </a:accent3>
      <a:accent4>
        <a:srgbClr val="44C1A3"/>
      </a:accent4>
      <a:accent5>
        <a:srgbClr val="4EB3CF"/>
      </a:accent5>
      <a:accent6>
        <a:srgbClr val="51C3F9"/>
      </a:accent6>
      <a:hlink>
        <a:srgbClr val="EE7B08"/>
      </a:hlink>
      <a:folHlink>
        <a:srgbClr val="977B2D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392F2583103A3449F208B490C7D6E76" ma:contentTypeVersion="16" ma:contentTypeDescription="Create a new document." ma:contentTypeScope="" ma:versionID="706e4802d7fc1d68731b0e64ae6b9769">
  <xsd:schema xmlns:xsd="http://www.w3.org/2001/XMLSchema" xmlns:xs="http://www.w3.org/2001/XMLSchema" xmlns:p="http://schemas.microsoft.com/office/2006/metadata/properties" xmlns:ns2="4836ad28-d45f-4307-8b81-0dde038767d3" xmlns:ns3="91b0a300-9e38-4d9d-bb91-a0dd6a8ae3ad" targetNamespace="http://schemas.microsoft.com/office/2006/metadata/properties" ma:root="true" ma:fieldsID="7fa342c7194613c096469d0b5df6a52b" ns2:_="" ns3:_="">
    <xsd:import namespace="4836ad28-d45f-4307-8b81-0dde038767d3"/>
    <xsd:import namespace="91b0a300-9e38-4d9d-bb91-a0dd6a8ae3ad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LengthInSeconds" minOccurs="0"/>
                <xsd:element ref="ns3:MediaServiceLocation" minOccurs="0"/>
                <xsd:element ref="ns3:lcf76f155ced4ddcb4097134ff3c332f" minOccurs="0"/>
                <xsd:element ref="ns2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836ad28-d45f-4307-8b81-0dde038767d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7221ff98-30bd-42a1-9958-c128dae3f71a}" ma:internalName="TaxCatchAll" ma:showField="CatchAllData" ma:web="4836ad28-d45f-4307-8b81-0dde038767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1b0a300-9e38-4d9d-bb91-a0dd6a8ae3a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8" nillable="true" ma:displayName="Length (seconds)" ma:internalName="MediaLengthInSeconds" ma:readOnly="true">
      <xsd:simpleType>
        <xsd:restriction base="dms:Unknown"/>
      </xsd:simpleType>
    </xsd:element>
    <xsd:element name="MediaServiceLocation" ma:index="19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1" nillable="true" ma:taxonomy="true" ma:internalName="lcf76f155ced4ddcb4097134ff3c332f" ma:taxonomyFieldName="MediaServiceImageTags" ma:displayName="Image Tags" ma:readOnly="false" ma:fieldId="{5cf76f15-5ced-4ddc-b409-7134ff3c332f}" ma:taxonomyMulti="true" ma:sspId="992fa3da-db31-45ba-92de-38f16e295a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4836ad28-d45f-4307-8b81-0dde038767d3">
      <UserInfo>
        <DisplayName>Scott Dowell</DisplayName>
        <AccountId>29</AccountId>
        <AccountType/>
      </UserInfo>
      <UserInfo>
        <DisplayName>Chris Culver</DisplayName>
        <AccountId>18</AccountId>
        <AccountType/>
      </UserInfo>
    </SharedWithUsers>
    <TaxCatchAll xmlns="4836ad28-d45f-4307-8b81-0dde038767d3" xsi:nil="true"/>
    <lcf76f155ced4ddcb4097134ff3c332f xmlns="91b0a300-9e38-4d9d-bb91-a0dd6a8ae3ad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FF8F10D-786A-4B9E-B855-C139CBC8743C}">
  <ds:schemaRefs>
    <ds:schemaRef ds:uri="4836ad28-d45f-4307-8b81-0dde038767d3"/>
    <ds:schemaRef ds:uri="91b0a300-9e38-4d9d-bb91-a0dd6a8ae3a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7E716A3F-1055-4E60-8C7C-F8363824B88A}">
  <ds:schemaRefs>
    <ds:schemaRef ds:uri="4836ad28-d45f-4307-8b81-0dde038767d3"/>
    <ds:schemaRef ds:uri="753cc990-7a1d-4f07-8b38-ac268a7fd900"/>
    <ds:schemaRef ds:uri="7946fbde-259f-4430-b53e-62ef123629cb"/>
    <ds:schemaRef ds:uri="91b0a300-9e38-4d9d-bb91-a0dd6a8ae3ad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0425C58C-DFE1-4C37-AB46-7FD251BE737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51</TotalTime>
  <Words>2153</Words>
  <Application>Microsoft Office PowerPoint</Application>
  <PresentationFormat>Widescreen</PresentationFormat>
  <Paragraphs>400</Paragraphs>
  <Slides>33</Slides>
  <Notes>28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4</vt:i4>
      </vt:variant>
      <vt:variant>
        <vt:lpstr>Slide Titles</vt:lpstr>
      </vt:variant>
      <vt:variant>
        <vt:i4>33</vt:i4>
      </vt:variant>
    </vt:vector>
  </HeadingPairs>
  <TitlesOfParts>
    <vt:vector size="44" baseType="lpstr">
      <vt:lpstr>Arial</vt:lpstr>
      <vt:lpstr>Calibri</vt:lpstr>
      <vt:lpstr>Courier New</vt:lpstr>
      <vt:lpstr>Gill Sans MT</vt:lpstr>
      <vt:lpstr>Lato</vt:lpstr>
      <vt:lpstr>Trebuchet MS</vt:lpstr>
      <vt:lpstr>Wingdings</vt:lpstr>
      <vt:lpstr>Office Theme</vt:lpstr>
      <vt:lpstr>4_Office Theme</vt:lpstr>
      <vt:lpstr>5 PowerPoint_Master</vt:lpstr>
      <vt:lpstr>1_Office Them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CHAMPS Aims to Deepen Understanding of Causes and Contributors to Under-5 Deaths</vt:lpstr>
      <vt:lpstr>CHAMPS generates causes of death on under-five children using  Minimally Invasive Tissue Sampling, diagnostic testing, clinical records, verbal autopsy </vt:lpstr>
      <vt:lpstr>CHAMPS generates causes of death on under-five children using Minimally Invasive Tissue Sampling, diagnostic testing </vt:lpstr>
      <vt:lpstr>CHAMPS Aims to Deepen Understanding of Causes and Contributors to Under-5 Deaths</vt:lpstr>
      <vt:lpstr>CHAMPS Determination of Cause of Death (DeCoDe)</vt:lpstr>
      <vt:lpstr>PowerPoint Presentation</vt:lpstr>
      <vt:lpstr>PowerPoint Presentation</vt:lpstr>
      <vt:lpstr>CHAMPS Aims to Deepen Understanding of Causes and Contributors to Under-5 Deaths</vt:lpstr>
      <vt:lpstr>PowerPoint Presentation</vt:lpstr>
      <vt:lpstr>CHAMPS Enrolled (n=(9404)</vt:lpstr>
      <vt:lpstr>PowerPoint Presentation</vt:lpstr>
      <vt:lpstr>PowerPoint Presentation</vt:lpstr>
      <vt:lpstr>PowerPoint Presentation</vt:lpstr>
      <vt:lpstr>Contribution of Respiratory Distress Syndrome in Neonatal Deaths</vt:lpstr>
      <vt:lpstr>PowerPoint Presentation</vt:lpstr>
      <vt:lpstr>PowerPoint Presentation</vt:lpstr>
      <vt:lpstr>Malaria in U5 Mortality</vt:lpstr>
      <vt:lpstr>PowerPoint Presentation</vt:lpstr>
      <vt:lpstr>Pneumonia</vt:lpstr>
      <vt:lpstr>Identifying Unrecognized Burden: Klebsiella pneumoniae – Detections and in Causal chain</vt:lpstr>
      <vt:lpstr>PowerPoint Presentation</vt:lpstr>
      <vt:lpstr>PowerPoint Presentation</vt:lpstr>
      <vt:lpstr>PowerPoint Presentation</vt:lpstr>
      <vt:lpstr>Key Results Areas for Interventions: Using CHAMPS results to direct mortality prevention efforts</vt:lpstr>
      <vt:lpstr>Most Neonatal Deaths Could Have Been Prevented</vt:lpstr>
      <vt:lpstr>Data-to-Action: Improving maternal health and reducing child deaths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Karen Gold</dc:creator>
  <cp:lastModifiedBy>Mutevedzi, Portia Chipo</cp:lastModifiedBy>
  <cp:revision>95</cp:revision>
  <cp:lastPrinted>2020-11-03T22:05:29Z</cp:lastPrinted>
  <dcterms:created xsi:type="dcterms:W3CDTF">2020-04-24T17:59:08Z</dcterms:created>
  <dcterms:modified xsi:type="dcterms:W3CDTF">2022-11-30T08:35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b94a7b8-f06c-4dfe-bdcc-9b548fd58c31_Enabled">
    <vt:lpwstr>true</vt:lpwstr>
  </property>
  <property fmtid="{D5CDD505-2E9C-101B-9397-08002B2CF9AE}" pid="3" name="MSIP_Label_7b94a7b8-f06c-4dfe-bdcc-9b548fd58c31_SetDate">
    <vt:lpwstr>2020-10-26T20:08:08Z</vt:lpwstr>
  </property>
  <property fmtid="{D5CDD505-2E9C-101B-9397-08002B2CF9AE}" pid="4" name="MSIP_Label_7b94a7b8-f06c-4dfe-bdcc-9b548fd58c31_Method">
    <vt:lpwstr>Privileged</vt:lpwstr>
  </property>
  <property fmtid="{D5CDD505-2E9C-101B-9397-08002B2CF9AE}" pid="5" name="MSIP_Label_7b94a7b8-f06c-4dfe-bdcc-9b548fd58c31_Name">
    <vt:lpwstr>7b94a7b8-f06c-4dfe-bdcc-9b548fd58c31</vt:lpwstr>
  </property>
  <property fmtid="{D5CDD505-2E9C-101B-9397-08002B2CF9AE}" pid="6" name="MSIP_Label_7b94a7b8-f06c-4dfe-bdcc-9b548fd58c31_SiteId">
    <vt:lpwstr>9ce70869-60db-44fd-abe8-d2767077fc8f</vt:lpwstr>
  </property>
  <property fmtid="{D5CDD505-2E9C-101B-9397-08002B2CF9AE}" pid="7" name="MSIP_Label_7b94a7b8-f06c-4dfe-bdcc-9b548fd58c31_ActionId">
    <vt:lpwstr>f9712af4-5086-433b-bc07-413801709201</vt:lpwstr>
  </property>
  <property fmtid="{D5CDD505-2E9C-101B-9397-08002B2CF9AE}" pid="8" name="MSIP_Label_7b94a7b8-f06c-4dfe-bdcc-9b548fd58c31_ContentBits">
    <vt:lpwstr>0</vt:lpwstr>
  </property>
  <property fmtid="{D5CDD505-2E9C-101B-9397-08002B2CF9AE}" pid="9" name="ContentTypeId">
    <vt:lpwstr>0x0101005392F2583103A3449F208B490C7D6E76</vt:lpwstr>
  </property>
  <property fmtid="{D5CDD505-2E9C-101B-9397-08002B2CF9AE}" pid="10" name="MediaServiceImageTags">
    <vt:lpwstr/>
  </property>
</Properties>
</file>